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5.xml" ContentType="application/vnd.openxmlformats-officedocument.presentationml.tags+xml"/>
  <Override PartName="/ppt/notesSlides/notesSlide12.xml" ContentType="application/vnd.openxmlformats-officedocument.presentationml.notesSlide+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9.xml" ContentType="application/vnd.openxmlformats-officedocument.presentationml.tags+xml"/>
  <Override PartName="/ppt/notesSlides/notesSlide1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drawings/drawing1.xml" ContentType="application/vnd.openxmlformats-officedocument.drawingml.chartshapes+xml"/>
  <Override PartName="/ppt/notesSlides/notesSlide17.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notesSlides/notesSlide18.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2.xml" ContentType="application/vnd.openxmlformats-officedocument.themeOverride+xml"/>
  <Override PartName="/ppt/tags/tag3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9"/>
  </p:notesMasterIdLst>
  <p:handoutMasterIdLst>
    <p:handoutMasterId r:id="rId40"/>
  </p:handoutMasterIdLst>
  <p:sldIdLst>
    <p:sldId id="285" r:id="rId5"/>
    <p:sldId id="2147477840" r:id="rId6"/>
    <p:sldId id="2147477852" r:id="rId7"/>
    <p:sldId id="2147477846" r:id="rId8"/>
    <p:sldId id="2147477842" r:id="rId9"/>
    <p:sldId id="2147477989" r:id="rId10"/>
    <p:sldId id="2147477888" r:id="rId11"/>
    <p:sldId id="2147477993" r:id="rId12"/>
    <p:sldId id="2147477994" r:id="rId13"/>
    <p:sldId id="2147477892" r:id="rId14"/>
    <p:sldId id="2147477899" r:id="rId15"/>
    <p:sldId id="535" r:id="rId16"/>
    <p:sldId id="391" r:id="rId17"/>
    <p:sldId id="458" r:id="rId18"/>
    <p:sldId id="499" r:id="rId19"/>
    <p:sldId id="466" r:id="rId20"/>
    <p:sldId id="2147477882" r:id="rId21"/>
    <p:sldId id="267" r:id="rId22"/>
    <p:sldId id="310" r:id="rId23"/>
    <p:sldId id="447" r:id="rId24"/>
    <p:sldId id="429" r:id="rId25"/>
    <p:sldId id="2147477995" r:id="rId26"/>
    <p:sldId id="2147477996" r:id="rId27"/>
    <p:sldId id="461" r:id="rId28"/>
    <p:sldId id="2147477988" r:id="rId29"/>
    <p:sldId id="2147477854" r:id="rId30"/>
    <p:sldId id="2147477848" r:id="rId31"/>
    <p:sldId id="2147477849" r:id="rId32"/>
    <p:sldId id="2147477850" r:id="rId33"/>
    <p:sldId id="2147477851" r:id="rId34"/>
    <p:sldId id="2147477833" r:id="rId35"/>
    <p:sldId id="2147477837" r:id="rId36"/>
    <p:sldId id="2147477839" r:id="rId37"/>
    <p:sldId id="2147477997" r:id="rId38"/>
  </p:sldIdLst>
  <p:sldSz cx="9144000" cy="5143500" type="screen16x9"/>
  <p:notesSz cx="6858000" cy="9872663"/>
  <p:custDataLst>
    <p:tags r:id="rId41"/>
  </p:custDataLst>
  <p:defaultTextStyle>
    <a:defPPr>
      <a:defRPr lang="fr-FR"/>
    </a:defPPr>
    <a:lvl1pPr marL="0" algn="l" defTabSz="571660" rtl="0" eaLnBrk="1" latinLnBrk="0" hangingPunct="1">
      <a:defRPr lang="en-US" sz="687" kern="1200">
        <a:solidFill>
          <a:schemeClr val="tx1"/>
        </a:solidFill>
        <a:latin typeface="+mn-lt"/>
        <a:ea typeface="+mn-ea"/>
        <a:cs typeface="+mn-cs"/>
      </a:defRPr>
    </a:lvl1pPr>
    <a:lvl2pPr marL="285830" algn="l" defTabSz="571660" rtl="0" eaLnBrk="1" latinLnBrk="0" hangingPunct="1">
      <a:defRPr lang="en-US" sz="687" kern="1200">
        <a:solidFill>
          <a:schemeClr val="tx1"/>
        </a:solidFill>
        <a:latin typeface="+mn-lt"/>
        <a:ea typeface="+mn-ea"/>
        <a:cs typeface="+mn-cs"/>
      </a:defRPr>
    </a:lvl2pPr>
    <a:lvl3pPr marL="571660" algn="l" defTabSz="571660" rtl="0" eaLnBrk="1" latinLnBrk="0" hangingPunct="1">
      <a:defRPr lang="en-US" sz="687" kern="1200">
        <a:solidFill>
          <a:schemeClr val="tx1"/>
        </a:solidFill>
        <a:latin typeface="+mn-lt"/>
        <a:ea typeface="+mn-ea"/>
        <a:cs typeface="+mn-cs"/>
      </a:defRPr>
    </a:lvl3pPr>
    <a:lvl4pPr marL="857490" algn="l" defTabSz="571660" rtl="0" eaLnBrk="1" latinLnBrk="0" hangingPunct="1">
      <a:defRPr lang="en-US" sz="687" kern="1200">
        <a:solidFill>
          <a:schemeClr val="tx1"/>
        </a:solidFill>
        <a:latin typeface="+mn-lt"/>
        <a:ea typeface="+mn-ea"/>
        <a:cs typeface="+mn-cs"/>
      </a:defRPr>
    </a:lvl4pPr>
    <a:lvl5pPr marL="1143320" algn="l" defTabSz="571660" rtl="0" eaLnBrk="1" latinLnBrk="0" hangingPunct="1">
      <a:defRPr lang="en-US" sz="687" kern="1200">
        <a:solidFill>
          <a:schemeClr val="tx1"/>
        </a:solidFill>
        <a:latin typeface="+mn-lt"/>
        <a:ea typeface="+mn-ea"/>
        <a:cs typeface="+mn-cs"/>
      </a:defRPr>
    </a:lvl5pPr>
    <a:lvl6pPr marL="1429150" algn="l" defTabSz="571660" rtl="0" eaLnBrk="1" latinLnBrk="0" hangingPunct="1">
      <a:defRPr sz="1126" kern="1200">
        <a:solidFill>
          <a:schemeClr val="tx1"/>
        </a:solidFill>
        <a:latin typeface="+mn-lt"/>
        <a:ea typeface="+mn-ea"/>
        <a:cs typeface="+mn-cs"/>
      </a:defRPr>
    </a:lvl6pPr>
    <a:lvl7pPr marL="1714979" algn="l" defTabSz="571660" rtl="0" eaLnBrk="1" latinLnBrk="0" hangingPunct="1">
      <a:defRPr sz="1126" kern="1200">
        <a:solidFill>
          <a:schemeClr val="tx1"/>
        </a:solidFill>
        <a:latin typeface="+mn-lt"/>
        <a:ea typeface="+mn-ea"/>
        <a:cs typeface="+mn-cs"/>
      </a:defRPr>
    </a:lvl7pPr>
    <a:lvl8pPr marL="2000810" algn="l" defTabSz="571660" rtl="0" eaLnBrk="1" latinLnBrk="0" hangingPunct="1">
      <a:defRPr sz="1126" kern="1200">
        <a:solidFill>
          <a:schemeClr val="tx1"/>
        </a:solidFill>
        <a:latin typeface="+mn-lt"/>
        <a:ea typeface="+mn-ea"/>
        <a:cs typeface="+mn-cs"/>
      </a:defRPr>
    </a:lvl8pPr>
    <a:lvl9pPr marL="2286639" algn="l" defTabSz="571660" rtl="0" eaLnBrk="1" latinLnBrk="0" hangingPunct="1">
      <a:defRPr sz="1126"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08" userDrawn="1">
          <p15:clr>
            <a:srgbClr val="A4A3A4"/>
          </p15:clr>
        </p15:guide>
        <p15:guide id="5" pos="2721" userDrawn="1">
          <p15:clr>
            <a:srgbClr val="A4A3A4"/>
          </p15:clr>
        </p15:guide>
        <p15:guide id="6" pos="301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BC39861-5DFC-9058-391D-C323EB0BD02C}" name="DIB Sarah" initials="DS" userId="S::sarah.dib@vallourec.com::d3851eae-7651-4bf5-92f3-e94c8796b9e5" providerId="AD"/>
  <p188:author id="{8319B9C2-4DB4-1B30-A7C2-FBA06DCB7DEB}" name="LYNAGH Connor" initials="LC" userId="S::connor.lynagh@vallourec.com::6ba16826-a125-4f68-ab5d-84bd7aab3e0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E7FF"/>
    <a:srgbClr val="FFFFFF"/>
    <a:srgbClr val="0167BB"/>
    <a:srgbClr val="25ABE6"/>
    <a:srgbClr val="0C93DA"/>
    <a:srgbClr val="993300"/>
    <a:srgbClr val="FF9900"/>
    <a:srgbClr val="7F7F7F"/>
    <a:srgbClr val="32383E"/>
    <a:srgbClr val="3581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F6702A1-A54F-4802-A9EC-B28C02EDC1F7}" styleName="Roadmap">
    <a:wholeTbl>
      <a:tcTxStyle b="off" i="off">
        <a:fontRef idx="minor">
          <a:prstClr val="black"/>
        </a:fontRef>
        <a:schemeClr val="tx2"/>
      </a:tcTxStyle>
      <a:tcStyle>
        <a:tcBdr>
          <a:left>
            <a:ln w="0" cmpd="sng">
              <a:solidFill>
                <a:schemeClr val="bg1">
                  <a:lumMod val="95000"/>
                </a:schemeClr>
              </a:solidFill>
            </a:ln>
          </a:left>
          <a:right>
            <a:ln w="0" cmpd="sng">
              <a:solidFill>
                <a:schemeClr val="bg1">
                  <a:lumMod val="95000"/>
                </a:schemeClr>
              </a:solidFill>
            </a:ln>
          </a:right>
          <a:top>
            <a:ln w="0" cmpd="sng">
              <a:solidFill>
                <a:schemeClr val="bg1">
                  <a:lumMod val="95000"/>
                </a:schemeClr>
              </a:solidFill>
            </a:ln>
          </a:top>
          <a:bottom>
            <a:ln w="0" cmpd="sng">
              <a:solidFill>
                <a:schemeClr val="bg1">
                  <a:lumMod val="95000"/>
                </a:schemeClr>
              </a:solidFill>
            </a:ln>
          </a:bottom>
          <a:insideH>
            <a:ln>
              <a:noFill/>
            </a:ln>
          </a:insideH>
          <a:insideV>
            <a:ln w="57150" cmpd="sng">
              <a:solidFill>
                <a:srgbClr val="FFFFFF"/>
              </a:solidFill>
            </a:ln>
          </a:insideV>
        </a:tcBdr>
        <a:fill>
          <a:solidFill>
            <a:schemeClr val="bg1">
              <a:lumMod val="95000"/>
            </a:schemeClr>
          </a:solidFill>
        </a:fill>
      </a:tcStyle>
    </a:wholeTbl>
    <a:firstCol>
      <a:tcTxStyle>
        <a:fontRef idx="minor">
          <a:prstClr val="black"/>
        </a:fontRef>
        <a:schemeClr val="bg1"/>
      </a:tcTxStyle>
      <a:tcStyle>
        <a:tcBdr/>
        <a:fill>
          <a:solidFill>
            <a:schemeClr val="accent1"/>
          </a:solidFill>
        </a:fill>
      </a:tcStyle>
    </a:firstCol>
    <a:firstRow>
      <a:tcTxStyle>
        <a:fontRef idx="minor">
          <a:prstClr val="black"/>
        </a:fontRef>
        <a:schemeClr val="bg1"/>
      </a:tcTxStyle>
      <a:tcStyle>
        <a:tcBdr>
          <a:insideH>
            <a:ln w="57150" cmpd="sng">
              <a:solidFill>
                <a:srgbClr val="FFFFFF"/>
              </a:solidFill>
            </a:ln>
          </a:insideH>
          <a:insideV>
            <a:ln w="57150" cmpd="sng">
              <a:solidFill>
                <a:srgbClr val="FFFFFF"/>
              </a:solidFill>
            </a:ln>
          </a:insideV>
        </a:tcBdr>
        <a:fill>
          <a:solidFill>
            <a:schemeClr val="accent1"/>
          </a:solidFill>
        </a:fill>
      </a:tcStyle>
    </a:firstRow>
  </a:tblStyle>
  <a:tblStyle styleId="{C679532D-8790-4F43-B145-F427FA289644}" styleName="Timetable">
    <a:wholeTbl>
      <a:tcTxStyle b="off" i="off">
        <a:fontRef idx="minor">
          <a:prstClr val="black"/>
        </a:fontRef>
        <a:schemeClr val="tx2"/>
      </a:tcTxStyle>
      <a:tcStyle>
        <a:tcBdr>
          <a:left>
            <a:ln>
              <a:noFill/>
            </a:ln>
          </a:left>
          <a:right>
            <a:ln>
              <a:noFill/>
            </a:ln>
          </a:right>
          <a:top>
            <a:ln>
              <a:noFill/>
            </a:ln>
          </a:top>
          <a:bottom>
            <a:ln>
              <a:noFill/>
            </a:ln>
          </a:bottom>
          <a:insideH>
            <a:ln w="6355" cmpd="sng">
              <a:solidFill>
                <a:srgbClr val="FFFFFF"/>
              </a:solidFill>
            </a:ln>
          </a:insideH>
          <a:insideV>
            <a:ln w="6355" cmpd="sng">
              <a:solidFill>
                <a:srgbClr val="FFFFFF"/>
              </a:solidFill>
            </a:ln>
          </a:insideV>
        </a:tcBdr>
        <a:fill>
          <a:noFill/>
        </a:fill>
      </a:tcStyle>
    </a:wholeTbl>
    <a:band1V>
      <a:tcStyle>
        <a:tcBdr/>
        <a:fill>
          <a:solidFill>
            <a:schemeClr val="bg1">
              <a:lumMod val="95000"/>
            </a:schemeClr>
          </a:solidFill>
        </a:fill>
      </a:tcStyle>
    </a:band1V>
    <a:band2V>
      <a:tcStyle>
        <a:tcBdr/>
        <a:fill>
          <a:solidFill>
            <a:schemeClr val="bg1">
              <a:lumMod val="85000"/>
            </a:schemeClr>
          </a:solidFill>
        </a:fill>
      </a:tcStyle>
    </a:band2V>
    <a:firstCol>
      <a:tcTxStyle>
        <a:fontRef idx="minor">
          <a:prstClr val="black"/>
        </a:fontRef>
        <a:schemeClr val="bg1"/>
      </a:tcTxStyle>
      <a:tcStyle>
        <a:tcBdr/>
        <a:fill>
          <a:solidFill>
            <a:schemeClr val="accent1"/>
          </a:solidFill>
        </a:fill>
      </a:tcStyle>
    </a:firstCol>
    <a:firstRow>
      <a:tcTxStyle>
        <a:fontRef idx="minor">
          <a:prstClr val="black"/>
        </a:fontRef>
        <a:schemeClr val="bg1"/>
      </a:tcTxStyle>
      <a:tcStyle>
        <a:tcBdr/>
        <a:fill>
          <a:solidFill>
            <a:schemeClr val="accent1"/>
          </a:solidFill>
        </a:fill>
      </a:tcStyle>
    </a:firstRow>
  </a:tblStyle>
  <a:tblStyle styleId="{640930CC-2DD5-4645-9BF9-1F0F6B9BBA25}" styleName="Standard">
    <a:wholeTbl>
      <a:tcTxStyle i="off">
        <a:fontRef idx="minor">
          <a:prstClr val="black"/>
        </a:fontRef>
        <a:schemeClr val="tx2"/>
      </a:tcTxStyle>
      <a:tcStyle>
        <a:tcBdr>
          <a:left>
            <a:ln>
              <a:noFill/>
            </a:ln>
          </a:left>
          <a:right>
            <a:ln>
              <a:noFill/>
            </a:ln>
          </a:right>
          <a:top>
            <a:ln>
              <a:noFill/>
            </a:ln>
          </a:top>
          <a:bottom>
            <a:ln>
              <a:noFill/>
            </a:ln>
          </a:bottom>
          <a:insideH>
            <a:ln>
              <a:noFill/>
            </a:ln>
          </a:insideH>
          <a:insideV>
            <a:ln>
              <a:noFill/>
            </a:ln>
          </a:insideV>
        </a:tcBdr>
        <a:fill>
          <a:noFill/>
        </a:fill>
      </a:tcStyle>
    </a:wholeTbl>
    <a:lastRow>
      <a:tcTxStyle>
        <a:fontRef idx="minor">
          <a:prstClr val="black"/>
        </a:fontRef>
        <a:schemeClr val="tx2"/>
      </a:tcTxStyle>
      <a:tcStyle>
        <a:tcBdr>
          <a:bottom>
            <a:ln w="6355" cmpd="sng">
              <a:solidFill>
                <a:schemeClr val="tx2"/>
              </a:solidFill>
            </a:ln>
          </a:bottom>
        </a:tcBdr>
        <a:fill>
          <a:noFill/>
        </a:fill>
      </a:tcStyle>
    </a:lastRow>
    <a:firstRow>
      <a:tcTxStyle b="on">
        <a:fontRef idx="minor">
          <a:prstClr val="black"/>
        </a:fontRef>
        <a:schemeClr val="tx2"/>
      </a:tcTxStyle>
      <a:tcStyle>
        <a:tcBdr>
          <a:bottom>
            <a:ln w="6355" cmpd="sng">
              <a:solidFill>
                <a:schemeClr val="tx2"/>
              </a:solidFill>
            </a:ln>
          </a:bottom>
        </a:tcBdr>
        <a:fill>
          <a:noFill/>
        </a:fill>
      </a:tcStyle>
    </a:firstRow>
  </a:tblStyle>
  <a:tblStyle styleId="{0582B0D9-9874-4C26-850A-993D2AA39D9F}" styleName="Blank">
    <a:wholeTbl>
      <a:tcTxStyle i="off">
        <a:fontRef idx="minor">
          <a:prstClr val="black"/>
        </a:fontRef>
        <a:schemeClr val="tx2"/>
      </a:tcTxStyle>
      <a:tcStyle>
        <a:tcBdr>
          <a:left>
            <a:ln>
              <a:noFill/>
            </a:ln>
          </a:left>
          <a:right>
            <a:ln>
              <a:noFill/>
            </a:ln>
          </a:right>
          <a:top>
            <a:ln>
              <a:noFill/>
            </a:ln>
          </a:top>
          <a:bottom>
            <a:ln>
              <a:noFill/>
            </a:ln>
          </a:bottom>
          <a:insideH>
            <a:ln>
              <a:noFill/>
            </a:ln>
          </a:insideH>
          <a:insideV>
            <a:ln>
              <a:noFill/>
            </a:ln>
          </a:insideV>
        </a:tcBdr>
        <a:fill>
          <a:noFill/>
        </a:fill>
      </a:tcStyle>
    </a:wholeTbl>
    <a:firstRow>
      <a:tcTxStyle b="on">
        <a:fontRef idx="minor">
          <a:prstClr val="black"/>
        </a:fontRef>
        <a:schemeClr val="tx2"/>
      </a:tcTxStyle>
      <a:tcStyle>
        <a:tcBdr>
          <a:bottom>
            <a:ln w="6355" cmpd="sng">
              <a:solidFill>
                <a:schemeClr val="tx2"/>
              </a:solidFill>
            </a:ln>
          </a:bottom>
        </a:tcBdr>
        <a:fill>
          <a:noFill/>
        </a:fill>
      </a:tcStyle>
    </a:firstRow>
  </a:tblStyle>
  <a:tblStyle styleId="{F3359BF5-DAE9-4BDB-B8C4-06CAF9B8A900}" styleName="Agenda">
    <a:wholeTbl>
      <a:tcTxStyle b="off" i="off">
        <a:fontRef idx="minor">
          <a:prstClr val="black"/>
        </a:fontRef>
        <a:schemeClr val="bg2"/>
      </a:tcTxStyle>
      <a:tcStyle>
        <a:tcBdr>
          <a:left>
            <a:ln>
              <a:noFill/>
            </a:ln>
          </a:left>
          <a:right>
            <a:ln>
              <a:noFill/>
            </a:ln>
          </a:right>
          <a:top>
            <a:ln>
              <a:noFill/>
            </a:ln>
          </a:top>
          <a:bottom>
            <a:ln>
              <a:noFill/>
            </a:ln>
          </a:bottom>
          <a:insideH>
            <a:ln w="6350" cmpd="sng">
              <a:solidFill>
                <a:srgbClr val="AFB1B3"/>
              </a:solidFill>
              <a:prstDash val="solid"/>
            </a:ln>
          </a:insideH>
          <a:insideV>
            <a:ln>
              <a:noFill/>
            </a:ln>
          </a:insideV>
        </a:tcBdr>
        <a:fill>
          <a:noFill/>
        </a:fill>
      </a:tcStyle>
    </a:wholeTbl>
    <a:lastRow>
      <a:tcTxStyle>
        <a:fontRef idx="minor">
          <a:prstClr val="black"/>
        </a:fontRef>
        <a:schemeClr val="bg2"/>
      </a:tcTxStyle>
      <a:tcStyle>
        <a:tcBdr>
          <a:bottom>
            <a:ln w="6350" cmpd="sng">
              <a:solidFill>
                <a:srgbClr val="AFB1B3"/>
              </a:solidFill>
              <a:prstDash val="solid"/>
            </a:ln>
          </a:bottom>
        </a:tcBdr>
        <a:fill>
          <a:noFill/>
        </a:fill>
      </a:tcStyle>
    </a:lastRow>
    <a:firstRow>
      <a:tcTxStyle>
        <a:fontRef idx="minor">
          <a:prstClr val="black"/>
        </a:fontRef>
        <a:schemeClr val="bg2"/>
      </a:tcTxStyle>
      <a:tcStyle>
        <a:tcBdr>
          <a:top>
            <a:ln w="6350" cmpd="sng">
              <a:solidFill>
                <a:srgbClr val="AFB1B3"/>
              </a:solidFill>
              <a:prstDash val="solid"/>
            </a:ln>
          </a:top>
        </a:tcBdr>
        <a:fill>
          <a:noFill/>
        </a:fill>
      </a:tcStyle>
    </a:firstRow>
  </a:tblStyle>
  <a:tblStyle styleId="{0CAB58E7-5CDE-43C6-A48B-3C2A836B0257}" styleName="League">
    <a:wholeTbl>
      <a:tcTxStyle i="off">
        <a:fontRef idx="minor">
          <a:prstClr val="black"/>
        </a:fontRef>
        <a:schemeClr val="tx2"/>
      </a:tcTxStyle>
      <a:tcStyle>
        <a:tcBdr>
          <a:left>
            <a:ln>
              <a:noFill/>
            </a:ln>
          </a:left>
          <a:right>
            <a:ln>
              <a:noFill/>
            </a:ln>
          </a:right>
          <a:top>
            <a:ln>
              <a:noFill/>
            </a:ln>
          </a:top>
          <a:bottom>
            <a:ln>
              <a:noFill/>
            </a:ln>
          </a:bottom>
          <a:insideH>
            <a:ln>
              <a:noFill/>
            </a:ln>
          </a:insideH>
          <a:insideV>
            <a:ln>
              <a:noFill/>
            </a:ln>
          </a:insideV>
        </a:tcBdr>
        <a:fill>
          <a:noFill/>
        </a:fill>
      </a:tcStyle>
    </a:wholeTbl>
    <a:lastRow>
      <a:tcTxStyle>
        <a:schemeClr val="tx2"/>
      </a:tcTxStyle>
      <a:tcStyle>
        <a:tcBdr>
          <a:bottom>
            <a:ln w="6355" cmpd="sng">
              <a:solidFill>
                <a:schemeClr val="tx2"/>
              </a:solidFill>
            </a:ln>
          </a:bottom>
        </a:tcBdr>
        <a:fill>
          <a:noFill/>
        </a:fill>
      </a:tcStyle>
    </a:lastRow>
    <a:firstRow>
      <a:tcTxStyle b="on">
        <a:schemeClr val="tx2"/>
      </a:tcTxStyle>
      <a:tcStyle>
        <a:tcBdr>
          <a:bottom>
            <a:ln w="6355" cmpd="sng">
              <a:solidFill>
                <a:schemeClr val="tx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476" autoAdjust="0"/>
  </p:normalViewPr>
  <p:slideViewPr>
    <p:cSldViewPr snapToGrid="0">
      <p:cViewPr varScale="1">
        <p:scale>
          <a:sx n="74" d="100"/>
          <a:sy n="74" d="100"/>
        </p:scale>
        <p:origin x="988" y="60"/>
      </p:cViewPr>
      <p:guideLst>
        <p:guide orient="horz" pos="1008"/>
        <p:guide pos="2721"/>
        <p:guide pos="3016"/>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YNAGH Connor" userId="6ba16826-a125-4f68-ab5d-84bd7aab3e00" providerId="ADAL" clId="{71F8D2C4-F6E3-4C71-B6D8-661EC110B7AF}"/>
    <pc:docChg chg="undo redo custSel addSld delSld modSld">
      <pc:chgData name="LYNAGH Connor" userId="6ba16826-a125-4f68-ab5d-84bd7aab3e00" providerId="ADAL" clId="{71F8D2C4-F6E3-4C71-B6D8-661EC110B7AF}" dt="2024-05-24T13:28:20.167" v="419" actId="47"/>
      <pc:docMkLst>
        <pc:docMk/>
      </pc:docMkLst>
      <pc:sldChg chg="del">
        <pc:chgData name="LYNAGH Connor" userId="6ba16826-a125-4f68-ab5d-84bd7aab3e00" providerId="ADAL" clId="{71F8D2C4-F6E3-4C71-B6D8-661EC110B7AF}" dt="2024-05-23T14:39:29.187" v="234" actId="47"/>
        <pc:sldMkLst>
          <pc:docMk/>
          <pc:sldMk cId="1775174684" sldId="475"/>
        </pc:sldMkLst>
      </pc:sldChg>
      <pc:sldChg chg="addSp modSp mod">
        <pc:chgData name="LYNAGH Connor" userId="6ba16826-a125-4f68-ab5d-84bd7aab3e00" providerId="ADAL" clId="{71F8D2C4-F6E3-4C71-B6D8-661EC110B7AF}" dt="2024-05-23T15:01:19.147" v="262" actId="113"/>
        <pc:sldMkLst>
          <pc:docMk/>
          <pc:sldMk cId="1703238746" sldId="2147477816"/>
        </pc:sldMkLst>
        <pc:spChg chg="add mod">
          <ac:chgData name="LYNAGH Connor" userId="6ba16826-a125-4f68-ab5d-84bd7aab3e00" providerId="ADAL" clId="{71F8D2C4-F6E3-4C71-B6D8-661EC110B7AF}" dt="2024-05-23T15:01:19.147" v="262" actId="113"/>
          <ac:spMkLst>
            <pc:docMk/>
            <pc:sldMk cId="1703238746" sldId="2147477816"/>
            <ac:spMk id="3" creationId="{59C998B4-E195-1487-3C17-DC1F7B43FF05}"/>
          </ac:spMkLst>
        </pc:spChg>
      </pc:sldChg>
      <pc:sldChg chg="modSp mod">
        <pc:chgData name="LYNAGH Connor" userId="6ba16826-a125-4f68-ab5d-84bd7aab3e00" providerId="ADAL" clId="{71F8D2C4-F6E3-4C71-B6D8-661EC110B7AF}" dt="2024-05-23T14:36:55.708" v="29" actId="20577"/>
        <pc:sldMkLst>
          <pc:docMk/>
          <pc:sldMk cId="1105468611" sldId="2147477846"/>
        </pc:sldMkLst>
        <pc:spChg chg="mod">
          <ac:chgData name="LYNAGH Connor" userId="6ba16826-a125-4f68-ab5d-84bd7aab3e00" providerId="ADAL" clId="{71F8D2C4-F6E3-4C71-B6D8-661EC110B7AF}" dt="2024-05-23T14:36:55.708" v="29" actId="20577"/>
          <ac:spMkLst>
            <pc:docMk/>
            <pc:sldMk cId="1105468611" sldId="2147477846"/>
            <ac:spMk id="2" creationId="{F97F1E7E-D47C-088E-1467-72C61AF09C91}"/>
          </ac:spMkLst>
        </pc:spChg>
      </pc:sldChg>
      <pc:sldChg chg="addSp delSp modSp mod">
        <pc:chgData name="LYNAGH Connor" userId="6ba16826-a125-4f68-ab5d-84bd7aab3e00" providerId="ADAL" clId="{71F8D2C4-F6E3-4C71-B6D8-661EC110B7AF}" dt="2024-05-23T15:05:31.141" v="291" actId="1076"/>
        <pc:sldMkLst>
          <pc:docMk/>
          <pc:sldMk cId="1575333357" sldId="2147477848"/>
        </pc:sldMkLst>
        <pc:picChg chg="add del">
          <ac:chgData name="LYNAGH Connor" userId="6ba16826-a125-4f68-ab5d-84bd7aab3e00" providerId="ADAL" clId="{71F8D2C4-F6E3-4C71-B6D8-661EC110B7AF}" dt="2024-05-23T15:03:12.358" v="265"/>
          <ac:picMkLst>
            <pc:docMk/>
            <pc:sldMk cId="1575333357" sldId="2147477848"/>
            <ac:picMk id="3" creationId="{9259A9DE-1FED-1F32-A3DF-F590FD603004}"/>
          </ac:picMkLst>
        </pc:picChg>
        <pc:picChg chg="add mod">
          <ac:chgData name="LYNAGH Connor" userId="6ba16826-a125-4f68-ab5d-84bd7aab3e00" providerId="ADAL" clId="{71F8D2C4-F6E3-4C71-B6D8-661EC110B7AF}" dt="2024-05-23T15:05:31.141" v="291" actId="1076"/>
          <ac:picMkLst>
            <pc:docMk/>
            <pc:sldMk cId="1575333357" sldId="2147477848"/>
            <ac:picMk id="4" creationId="{5F91F42A-28BB-54FE-B5CF-1D165EE32BA2}"/>
          </ac:picMkLst>
        </pc:picChg>
        <pc:picChg chg="add del mod">
          <ac:chgData name="LYNAGH Connor" userId="6ba16826-a125-4f68-ab5d-84bd7aab3e00" providerId="ADAL" clId="{71F8D2C4-F6E3-4C71-B6D8-661EC110B7AF}" dt="2024-05-23T15:03:16.037" v="267" actId="478"/>
          <ac:picMkLst>
            <pc:docMk/>
            <pc:sldMk cId="1575333357" sldId="2147477848"/>
            <ac:picMk id="8" creationId="{5B682CC2-7CF9-E483-D9ED-EB1BBD6C2B4E}"/>
          </ac:picMkLst>
        </pc:picChg>
      </pc:sldChg>
      <pc:sldChg chg="addSp delSp modSp mod">
        <pc:chgData name="LYNAGH Connor" userId="6ba16826-a125-4f68-ab5d-84bd7aab3e00" providerId="ADAL" clId="{71F8D2C4-F6E3-4C71-B6D8-661EC110B7AF}" dt="2024-05-23T15:03:52.510" v="275" actId="1076"/>
        <pc:sldMkLst>
          <pc:docMk/>
          <pc:sldMk cId="2649516343" sldId="2147477849"/>
        </pc:sldMkLst>
        <pc:picChg chg="add mod">
          <ac:chgData name="LYNAGH Connor" userId="6ba16826-a125-4f68-ab5d-84bd7aab3e00" providerId="ADAL" clId="{71F8D2C4-F6E3-4C71-B6D8-661EC110B7AF}" dt="2024-05-23T15:03:52.510" v="275" actId="1076"/>
          <ac:picMkLst>
            <pc:docMk/>
            <pc:sldMk cId="2649516343" sldId="2147477849"/>
            <ac:picMk id="3" creationId="{2333D3E2-1DD8-8AD9-79BC-C44882594AF3}"/>
          </ac:picMkLst>
        </pc:picChg>
        <pc:picChg chg="del">
          <ac:chgData name="LYNAGH Connor" userId="6ba16826-a125-4f68-ab5d-84bd7aab3e00" providerId="ADAL" clId="{71F8D2C4-F6E3-4C71-B6D8-661EC110B7AF}" dt="2024-05-23T15:03:40.965" v="271" actId="478"/>
          <ac:picMkLst>
            <pc:docMk/>
            <pc:sldMk cId="2649516343" sldId="2147477849"/>
            <ac:picMk id="5" creationId="{565AD8B5-038F-2314-0057-4EF964361CCA}"/>
          </ac:picMkLst>
        </pc:picChg>
      </pc:sldChg>
      <pc:sldChg chg="addSp delSp modSp mod">
        <pc:chgData name="LYNAGH Connor" userId="6ba16826-a125-4f68-ab5d-84bd7aab3e00" providerId="ADAL" clId="{71F8D2C4-F6E3-4C71-B6D8-661EC110B7AF}" dt="2024-05-23T15:05:49.135" v="292" actId="1076"/>
        <pc:sldMkLst>
          <pc:docMk/>
          <pc:sldMk cId="4113781861" sldId="2147477850"/>
        </pc:sldMkLst>
        <pc:picChg chg="add del">
          <ac:chgData name="LYNAGH Connor" userId="6ba16826-a125-4f68-ab5d-84bd7aab3e00" providerId="ADAL" clId="{71F8D2C4-F6E3-4C71-B6D8-661EC110B7AF}" dt="2024-05-23T15:04:21.647" v="278"/>
          <ac:picMkLst>
            <pc:docMk/>
            <pc:sldMk cId="4113781861" sldId="2147477850"/>
            <ac:picMk id="4" creationId="{91E55136-BC4F-347E-7719-2FB904D01751}"/>
          </ac:picMkLst>
        </pc:picChg>
        <pc:picChg chg="add del mod">
          <ac:chgData name="LYNAGH Connor" userId="6ba16826-a125-4f68-ab5d-84bd7aab3e00" providerId="ADAL" clId="{71F8D2C4-F6E3-4C71-B6D8-661EC110B7AF}" dt="2024-05-23T15:05:05.713" v="284" actId="478"/>
          <ac:picMkLst>
            <pc:docMk/>
            <pc:sldMk cId="4113781861" sldId="2147477850"/>
            <ac:picMk id="5" creationId="{79E47C3E-7AC6-412D-FD71-A15D146CED41}"/>
          </ac:picMkLst>
        </pc:picChg>
        <pc:picChg chg="add mod">
          <ac:chgData name="LYNAGH Connor" userId="6ba16826-a125-4f68-ab5d-84bd7aab3e00" providerId="ADAL" clId="{71F8D2C4-F6E3-4C71-B6D8-661EC110B7AF}" dt="2024-05-23T15:05:49.135" v="292" actId="1076"/>
          <ac:picMkLst>
            <pc:docMk/>
            <pc:sldMk cId="4113781861" sldId="2147477850"/>
            <ac:picMk id="6" creationId="{370CC4CC-C09E-55F3-ED13-568F102E3724}"/>
          </ac:picMkLst>
        </pc:picChg>
        <pc:picChg chg="add del">
          <ac:chgData name="LYNAGH Connor" userId="6ba16826-a125-4f68-ab5d-84bd7aab3e00" providerId="ADAL" clId="{71F8D2C4-F6E3-4C71-B6D8-661EC110B7AF}" dt="2024-05-23T15:04:26.535" v="280" actId="478"/>
          <ac:picMkLst>
            <pc:docMk/>
            <pc:sldMk cId="4113781861" sldId="2147477850"/>
            <ac:picMk id="7" creationId="{99F36529-DB84-9066-2BDA-9640BBF8649F}"/>
          </ac:picMkLst>
        </pc:picChg>
      </pc:sldChg>
      <pc:sldChg chg="addSp delSp modSp mod">
        <pc:chgData name="LYNAGH Connor" userId="6ba16826-a125-4f68-ab5d-84bd7aab3e00" providerId="ADAL" clId="{71F8D2C4-F6E3-4C71-B6D8-661EC110B7AF}" dt="2024-05-23T15:08:24.104" v="335" actId="1035"/>
        <pc:sldMkLst>
          <pc:docMk/>
          <pc:sldMk cId="1696009716" sldId="2147477851"/>
        </pc:sldMkLst>
        <pc:spChg chg="mod">
          <ac:chgData name="LYNAGH Connor" userId="6ba16826-a125-4f68-ab5d-84bd7aab3e00" providerId="ADAL" clId="{71F8D2C4-F6E3-4C71-B6D8-661EC110B7AF}" dt="2024-05-23T15:08:24.104" v="335" actId="1035"/>
          <ac:spMkLst>
            <pc:docMk/>
            <pc:sldMk cId="1696009716" sldId="2147477851"/>
            <ac:spMk id="5" creationId="{E7EAE54F-EF85-1351-C44E-230A8D034276}"/>
          </ac:spMkLst>
        </pc:spChg>
        <pc:spChg chg="mod">
          <ac:chgData name="LYNAGH Connor" userId="6ba16826-a125-4f68-ab5d-84bd7aab3e00" providerId="ADAL" clId="{71F8D2C4-F6E3-4C71-B6D8-661EC110B7AF}" dt="2024-05-23T15:06:45.484" v="303" actId="12788"/>
          <ac:spMkLst>
            <pc:docMk/>
            <pc:sldMk cId="1696009716" sldId="2147477851"/>
            <ac:spMk id="6" creationId="{842C4F3C-2343-492C-F687-3D58485BF500}"/>
          </ac:spMkLst>
        </pc:spChg>
        <pc:picChg chg="add del mod">
          <ac:chgData name="LYNAGH Connor" userId="6ba16826-a125-4f68-ab5d-84bd7aab3e00" providerId="ADAL" clId="{71F8D2C4-F6E3-4C71-B6D8-661EC110B7AF}" dt="2024-05-23T15:06:15.076" v="298" actId="478"/>
          <ac:picMkLst>
            <pc:docMk/>
            <pc:sldMk cId="1696009716" sldId="2147477851"/>
            <ac:picMk id="3" creationId="{E712912C-6A7A-E2B8-A1FF-FDECF16D9B65}"/>
          </ac:picMkLst>
        </pc:picChg>
        <pc:picChg chg="add del mod">
          <ac:chgData name="LYNAGH Connor" userId="6ba16826-a125-4f68-ab5d-84bd7aab3e00" providerId="ADAL" clId="{71F8D2C4-F6E3-4C71-B6D8-661EC110B7AF}" dt="2024-05-23T15:08:02.863" v="320" actId="478"/>
          <ac:picMkLst>
            <pc:docMk/>
            <pc:sldMk cId="1696009716" sldId="2147477851"/>
            <ac:picMk id="4" creationId="{D51D7A78-53FC-FA8A-C04D-F00BAB577CEB}"/>
          </ac:picMkLst>
        </pc:picChg>
        <pc:picChg chg="del">
          <ac:chgData name="LYNAGH Connor" userId="6ba16826-a125-4f68-ab5d-84bd7aab3e00" providerId="ADAL" clId="{71F8D2C4-F6E3-4C71-B6D8-661EC110B7AF}" dt="2024-05-23T15:05:59.868" v="293" actId="478"/>
          <ac:picMkLst>
            <pc:docMk/>
            <pc:sldMk cId="1696009716" sldId="2147477851"/>
            <ac:picMk id="7" creationId="{E5BC670F-F571-4F9E-660A-B3E6544D4BBD}"/>
          </ac:picMkLst>
        </pc:picChg>
        <pc:picChg chg="del">
          <ac:chgData name="LYNAGH Connor" userId="6ba16826-a125-4f68-ab5d-84bd7aab3e00" providerId="ADAL" clId="{71F8D2C4-F6E3-4C71-B6D8-661EC110B7AF}" dt="2024-05-23T15:06:57.004" v="304" actId="478"/>
          <ac:picMkLst>
            <pc:docMk/>
            <pc:sldMk cId="1696009716" sldId="2147477851"/>
            <ac:picMk id="9" creationId="{0DC5DBE9-772C-FCF0-2983-FD3B76343317}"/>
          </ac:picMkLst>
        </pc:picChg>
        <pc:picChg chg="add mod">
          <ac:chgData name="LYNAGH Connor" userId="6ba16826-a125-4f68-ab5d-84bd7aab3e00" providerId="ADAL" clId="{71F8D2C4-F6E3-4C71-B6D8-661EC110B7AF}" dt="2024-05-23T15:08:24.104" v="335" actId="1035"/>
          <ac:picMkLst>
            <pc:docMk/>
            <pc:sldMk cId="1696009716" sldId="2147477851"/>
            <ac:picMk id="10" creationId="{5F888167-8B14-ED29-42B6-E38482BE1983}"/>
          </ac:picMkLst>
        </pc:picChg>
        <pc:picChg chg="add mod">
          <ac:chgData name="LYNAGH Connor" userId="6ba16826-a125-4f68-ab5d-84bd7aab3e00" providerId="ADAL" clId="{71F8D2C4-F6E3-4C71-B6D8-661EC110B7AF}" dt="2024-05-23T15:08:15.552" v="329" actId="1035"/>
          <ac:picMkLst>
            <pc:docMk/>
            <pc:sldMk cId="1696009716" sldId="2147477851"/>
            <ac:picMk id="11" creationId="{DE3A6F96-F019-C776-B520-068145ABCDC6}"/>
          </ac:picMkLst>
        </pc:picChg>
      </pc:sldChg>
      <pc:sldChg chg="modSp add del mod">
        <pc:chgData name="LYNAGH Connor" userId="6ba16826-a125-4f68-ab5d-84bd7aab3e00" providerId="ADAL" clId="{71F8D2C4-F6E3-4C71-B6D8-661EC110B7AF}" dt="2024-05-24T13:28:20.167" v="419" actId="47"/>
        <pc:sldMkLst>
          <pc:docMk/>
          <pc:sldMk cId="3722701794" sldId="2147477872"/>
        </pc:sldMkLst>
        <pc:spChg chg="mod">
          <ac:chgData name="LYNAGH Connor" userId="6ba16826-a125-4f68-ab5d-84bd7aab3e00" providerId="ADAL" clId="{71F8D2C4-F6E3-4C71-B6D8-661EC110B7AF}" dt="2024-05-23T15:11:35.297" v="416" actId="20577"/>
          <ac:spMkLst>
            <pc:docMk/>
            <pc:sldMk cId="3722701794" sldId="2147477872"/>
            <ac:spMk id="2" creationId="{D5E3AE7C-A77E-FEEF-FDCA-6E43558DEA00}"/>
          </ac:spMkLst>
        </pc:spChg>
      </pc:sldChg>
      <pc:sldChg chg="del">
        <pc:chgData name="LYNAGH Connor" userId="6ba16826-a125-4f68-ab5d-84bd7aab3e00" providerId="ADAL" clId="{71F8D2C4-F6E3-4C71-B6D8-661EC110B7AF}" dt="2024-05-23T14:39:42.891" v="235" actId="47"/>
        <pc:sldMkLst>
          <pc:docMk/>
          <pc:sldMk cId="1391757880" sldId="2147477882"/>
        </pc:sldMkLst>
      </pc:sldChg>
      <pc:sldChg chg="add">
        <pc:chgData name="LYNAGH Connor" userId="6ba16826-a125-4f68-ab5d-84bd7aab3e00" providerId="ADAL" clId="{71F8D2C4-F6E3-4C71-B6D8-661EC110B7AF}" dt="2024-05-23T14:39:44.762" v="236"/>
        <pc:sldMkLst>
          <pc:docMk/>
          <pc:sldMk cId="4071202417" sldId="2147477882"/>
        </pc:sldMkLst>
      </pc:sldChg>
      <pc:sldChg chg="del">
        <pc:chgData name="LYNAGH Connor" userId="6ba16826-a125-4f68-ab5d-84bd7aab3e00" providerId="ADAL" clId="{71F8D2C4-F6E3-4C71-B6D8-661EC110B7AF}" dt="2024-05-23T14:40:36.012" v="240" actId="47"/>
        <pc:sldMkLst>
          <pc:docMk/>
          <pc:sldMk cId="4163255871" sldId="2147477889"/>
        </pc:sldMkLst>
      </pc:sldChg>
      <pc:sldChg chg="del">
        <pc:chgData name="LYNAGH Connor" userId="6ba16826-a125-4f68-ab5d-84bd7aab3e00" providerId="ADAL" clId="{71F8D2C4-F6E3-4C71-B6D8-661EC110B7AF}" dt="2024-05-23T14:40:36.642" v="241" actId="47"/>
        <pc:sldMkLst>
          <pc:docMk/>
          <pc:sldMk cId="3607068482" sldId="2147477890"/>
        </pc:sldMkLst>
      </pc:sldChg>
      <pc:sldChg chg="del">
        <pc:chgData name="LYNAGH Connor" userId="6ba16826-a125-4f68-ab5d-84bd7aab3e00" providerId="ADAL" clId="{71F8D2C4-F6E3-4C71-B6D8-661EC110B7AF}" dt="2024-05-23T14:37:54.889" v="85" actId="47"/>
        <pc:sldMkLst>
          <pc:docMk/>
          <pc:sldMk cId="1010907811" sldId="2147477891"/>
        </pc:sldMkLst>
      </pc:sldChg>
      <pc:sldChg chg="del">
        <pc:chgData name="LYNAGH Connor" userId="6ba16826-a125-4f68-ab5d-84bd7aab3e00" providerId="ADAL" clId="{71F8D2C4-F6E3-4C71-B6D8-661EC110B7AF}" dt="2024-05-23T15:12:01.106" v="417" actId="47"/>
        <pc:sldMkLst>
          <pc:docMk/>
          <pc:sldMk cId="2295909979" sldId="2147477893"/>
        </pc:sldMkLst>
      </pc:sldChg>
      <pc:sldChg chg="modSp add mod">
        <pc:chgData name="LYNAGH Connor" userId="6ba16826-a125-4f68-ab5d-84bd7aab3e00" providerId="ADAL" clId="{71F8D2C4-F6E3-4C71-B6D8-661EC110B7AF}" dt="2024-05-23T14:37:51.575" v="84" actId="20577"/>
        <pc:sldMkLst>
          <pc:docMk/>
          <pc:sldMk cId="3825449775" sldId="2147477993"/>
        </pc:sldMkLst>
        <pc:spChg chg="mod">
          <ac:chgData name="LYNAGH Connor" userId="6ba16826-a125-4f68-ab5d-84bd7aab3e00" providerId="ADAL" clId="{71F8D2C4-F6E3-4C71-B6D8-661EC110B7AF}" dt="2024-05-23T14:37:51.575" v="84" actId="20577"/>
          <ac:spMkLst>
            <pc:docMk/>
            <pc:sldMk cId="3825449775" sldId="2147477993"/>
            <ac:spMk id="2" creationId="{005573DA-A46E-C10D-72A7-F4E26890EB26}"/>
          </ac:spMkLst>
        </pc:spChg>
      </pc:sldChg>
      <pc:sldChg chg="modSp add mod">
        <pc:chgData name="LYNAGH Connor" userId="6ba16826-a125-4f68-ab5d-84bd7aab3e00" providerId="ADAL" clId="{71F8D2C4-F6E3-4C71-B6D8-661EC110B7AF}" dt="2024-05-23T14:39:00.155" v="233" actId="20577"/>
        <pc:sldMkLst>
          <pc:docMk/>
          <pc:sldMk cId="1767008260" sldId="2147477994"/>
        </pc:sldMkLst>
        <pc:spChg chg="mod">
          <ac:chgData name="LYNAGH Connor" userId="6ba16826-a125-4f68-ab5d-84bd7aab3e00" providerId="ADAL" clId="{71F8D2C4-F6E3-4C71-B6D8-661EC110B7AF}" dt="2024-05-23T14:39:00.155" v="233" actId="20577"/>
          <ac:spMkLst>
            <pc:docMk/>
            <pc:sldMk cId="1767008260" sldId="2147477994"/>
            <ac:spMk id="36" creationId="{BB39A06E-A48A-D57B-6B1A-B713B504EF85}"/>
          </ac:spMkLst>
        </pc:spChg>
      </pc:sldChg>
      <pc:sldChg chg="new del">
        <pc:chgData name="LYNAGH Connor" userId="6ba16826-a125-4f68-ab5d-84bd7aab3e00" providerId="ADAL" clId="{71F8D2C4-F6E3-4C71-B6D8-661EC110B7AF}" dt="2024-05-23T14:38:04.729" v="87" actId="680"/>
        <pc:sldMkLst>
          <pc:docMk/>
          <pc:sldMk cId="3208812218" sldId="2147477994"/>
        </pc:sldMkLst>
      </pc:sldChg>
      <pc:sldChg chg="modSp add mod">
        <pc:chgData name="LYNAGH Connor" userId="6ba16826-a125-4f68-ab5d-84bd7aab3e00" providerId="ADAL" clId="{71F8D2C4-F6E3-4C71-B6D8-661EC110B7AF}" dt="2024-05-23T14:40:33.441" v="239" actId="27636"/>
        <pc:sldMkLst>
          <pc:docMk/>
          <pc:sldMk cId="4091961160" sldId="2147477995"/>
        </pc:sldMkLst>
        <pc:spChg chg="mod">
          <ac:chgData name="LYNAGH Connor" userId="6ba16826-a125-4f68-ab5d-84bd7aab3e00" providerId="ADAL" clId="{71F8D2C4-F6E3-4C71-B6D8-661EC110B7AF}" dt="2024-05-23T14:40:33.441" v="239" actId="27636"/>
          <ac:spMkLst>
            <pc:docMk/>
            <pc:sldMk cId="4091961160" sldId="2147477995"/>
            <ac:spMk id="4" creationId="{63E7DFF6-3C33-41F0-F2E0-F212816D560A}"/>
          </ac:spMkLst>
        </pc:spChg>
        <pc:spChg chg="mod">
          <ac:chgData name="LYNAGH Connor" userId="6ba16826-a125-4f68-ab5d-84bd7aab3e00" providerId="ADAL" clId="{71F8D2C4-F6E3-4C71-B6D8-661EC110B7AF}" dt="2024-05-23T14:40:33.440" v="238" actId="27636"/>
          <ac:spMkLst>
            <pc:docMk/>
            <pc:sldMk cId="4091961160" sldId="2147477995"/>
            <ac:spMk id="10" creationId="{B360B958-FF88-101D-2C1B-74A23395B7E9}"/>
          </ac:spMkLst>
        </pc:spChg>
      </pc:sldChg>
      <pc:sldChg chg="add">
        <pc:chgData name="LYNAGH Connor" userId="6ba16826-a125-4f68-ab5d-84bd7aab3e00" providerId="ADAL" clId="{71F8D2C4-F6E3-4C71-B6D8-661EC110B7AF}" dt="2024-05-23T14:40:33.394" v="237"/>
        <pc:sldMkLst>
          <pc:docMk/>
          <pc:sldMk cId="3741509793" sldId="2147477996"/>
        </pc:sldMkLst>
      </pc:sldChg>
      <pc:sldChg chg="add">
        <pc:chgData name="LYNAGH Connor" userId="6ba16826-a125-4f68-ab5d-84bd7aab3e00" providerId="ADAL" clId="{71F8D2C4-F6E3-4C71-B6D8-661EC110B7AF}" dt="2024-05-24T13:28:17.181" v="418"/>
        <pc:sldMkLst>
          <pc:docMk/>
          <pc:sldMk cId="3825647814" sldId="2147477997"/>
        </pc:sldMkLst>
      </pc:sldChg>
    </pc:docChg>
  </pc:docChgLst>
  <pc:docChgLst>
    <pc:chgData name="LYNAGH Connor" userId="6ba16826-a125-4f68-ab5d-84bd7aab3e00" providerId="ADAL" clId="{F0FE71C6-F0BC-4E6D-A81C-4E62D06AB176}"/>
    <pc:docChg chg="undo redo custSel addSld delSld modSld sldOrd">
      <pc:chgData name="LYNAGH Connor" userId="6ba16826-a125-4f68-ab5d-84bd7aab3e00" providerId="ADAL" clId="{F0FE71C6-F0BC-4E6D-A81C-4E62D06AB176}" dt="2024-04-07T20:17:06.492" v="4061" actId="27918"/>
      <pc:docMkLst>
        <pc:docMk/>
      </pc:docMkLst>
      <pc:sldChg chg="del">
        <pc:chgData name="LYNAGH Connor" userId="6ba16826-a125-4f68-ab5d-84bd7aab3e00" providerId="ADAL" clId="{F0FE71C6-F0BC-4E6D-A81C-4E62D06AB176}" dt="2024-04-01T15:58:35.789" v="10" actId="47"/>
        <pc:sldMkLst>
          <pc:docMk/>
          <pc:sldMk cId="3137035953" sldId="256"/>
        </pc:sldMkLst>
      </pc:sldChg>
      <pc:sldChg chg="modSp mod">
        <pc:chgData name="LYNAGH Connor" userId="6ba16826-a125-4f68-ab5d-84bd7aab3e00" providerId="ADAL" clId="{F0FE71C6-F0BC-4E6D-A81C-4E62D06AB176}" dt="2024-04-01T17:27:07.463" v="1740" actId="20577"/>
        <pc:sldMkLst>
          <pc:docMk/>
          <pc:sldMk cId="2396030912" sldId="267"/>
        </pc:sldMkLst>
        <pc:spChg chg="mod">
          <ac:chgData name="LYNAGH Connor" userId="6ba16826-a125-4f68-ab5d-84bd7aab3e00" providerId="ADAL" clId="{F0FE71C6-F0BC-4E6D-A81C-4E62D06AB176}" dt="2024-04-01T16:13:23.260" v="642" actId="20577"/>
          <ac:spMkLst>
            <pc:docMk/>
            <pc:sldMk cId="2396030912" sldId="267"/>
            <ac:spMk id="2" creationId="{C531D9A0-A91A-812D-66D1-270E558923F1}"/>
          </ac:spMkLst>
        </pc:spChg>
        <pc:spChg chg="mod">
          <ac:chgData name="LYNAGH Connor" userId="6ba16826-a125-4f68-ab5d-84bd7aab3e00" providerId="ADAL" clId="{F0FE71C6-F0BC-4E6D-A81C-4E62D06AB176}" dt="2024-04-01T17:27:07.463" v="1740" actId="20577"/>
          <ac:spMkLst>
            <pc:docMk/>
            <pc:sldMk cId="2396030912" sldId="267"/>
            <ac:spMk id="7" creationId="{9CDA8DCB-FAB4-8357-22E5-DFD8B1A6E89F}"/>
          </ac:spMkLst>
        </pc:spChg>
      </pc:sldChg>
      <pc:sldChg chg="modSp mod">
        <pc:chgData name="LYNAGH Connor" userId="6ba16826-a125-4f68-ab5d-84bd7aab3e00" providerId="ADAL" clId="{F0FE71C6-F0BC-4E6D-A81C-4E62D06AB176}" dt="2024-04-01T15:58:29.919" v="9" actId="20577"/>
        <pc:sldMkLst>
          <pc:docMk/>
          <pc:sldMk cId="3106111930" sldId="285"/>
        </pc:sldMkLst>
        <pc:spChg chg="mod">
          <ac:chgData name="LYNAGH Connor" userId="6ba16826-a125-4f68-ab5d-84bd7aab3e00" providerId="ADAL" clId="{F0FE71C6-F0BC-4E6D-A81C-4E62D06AB176}" dt="2024-04-01T15:58:29.919" v="9" actId="20577"/>
          <ac:spMkLst>
            <pc:docMk/>
            <pc:sldMk cId="3106111930" sldId="285"/>
            <ac:spMk id="7" creationId="{773A5823-D9DB-8B34-79B9-173130C52823}"/>
          </ac:spMkLst>
        </pc:spChg>
      </pc:sldChg>
      <pc:sldChg chg="del">
        <pc:chgData name="LYNAGH Connor" userId="6ba16826-a125-4f68-ab5d-84bd7aab3e00" providerId="ADAL" clId="{F0FE71C6-F0BC-4E6D-A81C-4E62D06AB176}" dt="2024-04-01T16:09:31.605" v="451" actId="2696"/>
        <pc:sldMkLst>
          <pc:docMk/>
          <pc:sldMk cId="2063944000" sldId="391"/>
        </pc:sldMkLst>
      </pc:sldChg>
      <pc:sldChg chg="add ord">
        <pc:chgData name="LYNAGH Connor" userId="6ba16826-a125-4f68-ab5d-84bd7aab3e00" providerId="ADAL" clId="{F0FE71C6-F0BC-4E6D-A81C-4E62D06AB176}" dt="2024-04-01T16:09:39.266" v="454"/>
        <pc:sldMkLst>
          <pc:docMk/>
          <pc:sldMk cId="3695680188" sldId="391"/>
        </pc:sldMkLst>
      </pc:sldChg>
      <pc:sldChg chg="modSp add mod ord modNotesTx">
        <pc:chgData name="LYNAGH Connor" userId="6ba16826-a125-4f68-ab5d-84bd7aab3e00" providerId="ADAL" clId="{F0FE71C6-F0BC-4E6D-A81C-4E62D06AB176}" dt="2024-04-07T19:57:26.245" v="4016" actId="20577"/>
        <pc:sldMkLst>
          <pc:docMk/>
          <pc:sldMk cId="4060476810" sldId="447"/>
        </pc:sldMkLst>
        <pc:spChg chg="mod">
          <ac:chgData name="LYNAGH Connor" userId="6ba16826-a125-4f68-ab5d-84bd7aab3e00" providerId="ADAL" clId="{F0FE71C6-F0BC-4E6D-A81C-4E62D06AB176}" dt="2024-04-07T19:56:44.856" v="4011" actId="207"/>
          <ac:spMkLst>
            <pc:docMk/>
            <pc:sldMk cId="4060476810" sldId="447"/>
            <ac:spMk id="5" creationId="{B87C9D00-A5FF-A8C1-D542-B17863147522}"/>
          </ac:spMkLst>
        </pc:spChg>
        <pc:spChg chg="mod">
          <ac:chgData name="LYNAGH Connor" userId="6ba16826-a125-4f68-ab5d-84bd7aab3e00" providerId="ADAL" clId="{F0FE71C6-F0BC-4E6D-A81C-4E62D06AB176}" dt="2024-04-07T19:56:47.120" v="4012" actId="207"/>
          <ac:spMkLst>
            <pc:docMk/>
            <pc:sldMk cId="4060476810" sldId="447"/>
            <ac:spMk id="7" creationId="{37BC30FF-EB1E-AB9D-43E1-6E6CBF7F1BA0}"/>
          </ac:spMkLst>
        </pc:spChg>
        <pc:spChg chg="mod">
          <ac:chgData name="LYNAGH Connor" userId="6ba16826-a125-4f68-ab5d-84bd7aab3e00" providerId="ADAL" clId="{F0FE71C6-F0BC-4E6D-A81C-4E62D06AB176}" dt="2024-04-07T19:56:48.595" v="4013" actId="207"/>
          <ac:spMkLst>
            <pc:docMk/>
            <pc:sldMk cId="4060476810" sldId="447"/>
            <ac:spMk id="13" creationId="{BB7AFF85-A5B5-4448-3446-E3A3405D0F8D}"/>
          </ac:spMkLst>
        </pc:spChg>
      </pc:sldChg>
      <pc:sldChg chg="add ord">
        <pc:chgData name="LYNAGH Connor" userId="6ba16826-a125-4f68-ab5d-84bd7aab3e00" providerId="ADAL" clId="{F0FE71C6-F0BC-4E6D-A81C-4E62D06AB176}" dt="2024-04-01T16:27:50.193" v="1034"/>
        <pc:sldMkLst>
          <pc:docMk/>
          <pc:sldMk cId="1601266591" sldId="458"/>
        </pc:sldMkLst>
      </pc:sldChg>
      <pc:sldChg chg="del">
        <pc:chgData name="LYNAGH Connor" userId="6ba16826-a125-4f68-ab5d-84bd7aab3e00" providerId="ADAL" clId="{F0FE71C6-F0BC-4E6D-A81C-4E62D06AB176}" dt="2024-04-01T16:09:11.787" v="449" actId="2696"/>
        <pc:sldMkLst>
          <pc:docMk/>
          <pc:sldMk cId="3726635517" sldId="458"/>
        </pc:sldMkLst>
      </pc:sldChg>
      <pc:sldChg chg="addSp delSp modSp add del mod">
        <pc:chgData name="LYNAGH Connor" userId="6ba16826-a125-4f68-ab5d-84bd7aab3e00" providerId="ADAL" clId="{F0FE71C6-F0BC-4E6D-A81C-4E62D06AB176}" dt="2024-04-01T16:26:19.125" v="1032" actId="20577"/>
        <pc:sldMkLst>
          <pc:docMk/>
          <pc:sldMk cId="1142918706" sldId="461"/>
        </pc:sldMkLst>
        <pc:spChg chg="mod">
          <ac:chgData name="LYNAGH Connor" userId="6ba16826-a125-4f68-ab5d-84bd7aab3e00" providerId="ADAL" clId="{F0FE71C6-F0BC-4E6D-A81C-4E62D06AB176}" dt="2024-04-01T16:26:19.125" v="1032" actId="20577"/>
          <ac:spMkLst>
            <pc:docMk/>
            <pc:sldMk cId="1142918706" sldId="461"/>
            <ac:spMk id="2" creationId="{CE6C5911-8785-404D-AE40-12E992D3AE5C}"/>
          </ac:spMkLst>
        </pc:spChg>
        <pc:spChg chg="del">
          <ac:chgData name="LYNAGH Connor" userId="6ba16826-a125-4f68-ab5d-84bd7aab3e00" providerId="ADAL" clId="{F0FE71C6-F0BC-4E6D-A81C-4E62D06AB176}" dt="2024-04-01T16:23:54.268" v="793" actId="478"/>
          <ac:spMkLst>
            <pc:docMk/>
            <pc:sldMk cId="1142918706" sldId="461"/>
            <ac:spMk id="3" creationId="{39773055-CE5F-CE33-B384-6134DC66BFAD}"/>
          </ac:spMkLst>
        </pc:spChg>
        <pc:spChg chg="add del mod">
          <ac:chgData name="LYNAGH Connor" userId="6ba16826-a125-4f68-ab5d-84bd7aab3e00" providerId="ADAL" clId="{F0FE71C6-F0BC-4E6D-A81C-4E62D06AB176}" dt="2024-04-01T16:23:53.058" v="792"/>
          <ac:spMkLst>
            <pc:docMk/>
            <pc:sldMk cId="1142918706" sldId="461"/>
            <ac:spMk id="5" creationId="{17AAD217-73EF-48C2-F747-88DCEEAB874B}"/>
          </ac:spMkLst>
        </pc:spChg>
        <pc:spChg chg="add del mod">
          <ac:chgData name="LYNAGH Connor" userId="6ba16826-a125-4f68-ab5d-84bd7aab3e00" providerId="ADAL" clId="{F0FE71C6-F0BC-4E6D-A81C-4E62D06AB176}" dt="2024-04-01T16:24:02.369" v="800"/>
          <ac:spMkLst>
            <pc:docMk/>
            <pc:sldMk cId="1142918706" sldId="461"/>
            <ac:spMk id="8" creationId="{BDBBBFC1-0DEC-2792-62EB-30DBF654D384}"/>
          </ac:spMkLst>
        </pc:spChg>
        <pc:spChg chg="add mod">
          <ac:chgData name="LYNAGH Connor" userId="6ba16826-a125-4f68-ab5d-84bd7aab3e00" providerId="ADAL" clId="{F0FE71C6-F0BC-4E6D-A81C-4E62D06AB176}" dt="2024-04-01T16:24:07.800" v="803" actId="1076"/>
          <ac:spMkLst>
            <pc:docMk/>
            <pc:sldMk cId="1142918706" sldId="461"/>
            <ac:spMk id="11" creationId="{9D31F699-515E-51DB-8060-A8630B88250A}"/>
          </ac:spMkLst>
        </pc:spChg>
        <pc:spChg chg="add mod">
          <ac:chgData name="LYNAGH Connor" userId="6ba16826-a125-4f68-ab5d-84bd7aab3e00" providerId="ADAL" clId="{F0FE71C6-F0BC-4E6D-A81C-4E62D06AB176}" dt="2024-04-01T16:25:40.997" v="941" actId="1076"/>
          <ac:spMkLst>
            <pc:docMk/>
            <pc:sldMk cId="1142918706" sldId="461"/>
            <ac:spMk id="13" creationId="{3C14E820-BD9C-C7B0-FB66-DF5D52F827F1}"/>
          </ac:spMkLst>
        </pc:spChg>
        <pc:spChg chg="mod">
          <ac:chgData name="LYNAGH Connor" userId="6ba16826-a125-4f68-ab5d-84bd7aab3e00" providerId="ADAL" clId="{F0FE71C6-F0BC-4E6D-A81C-4E62D06AB176}" dt="2024-04-01T16:25:29.204" v="938" actId="6549"/>
          <ac:spMkLst>
            <pc:docMk/>
            <pc:sldMk cId="1142918706" sldId="461"/>
            <ac:spMk id="17" creationId="{EC87B8FB-0617-59C0-C6EC-464637068CBF}"/>
          </ac:spMkLst>
        </pc:spChg>
        <pc:graphicFrameChg chg="mod">
          <ac:chgData name="LYNAGH Connor" userId="6ba16826-a125-4f68-ab5d-84bd7aab3e00" providerId="ADAL" clId="{F0FE71C6-F0BC-4E6D-A81C-4E62D06AB176}" dt="2024-04-01T16:24:01.851" v="799" actId="1076"/>
          <ac:graphicFrameMkLst>
            <pc:docMk/>
            <pc:sldMk cId="1142918706" sldId="461"/>
            <ac:graphicFrameMk id="4" creationId="{EE4469A8-7C3B-295A-5A64-00F32A081B72}"/>
          </ac:graphicFrameMkLst>
        </pc:graphicFrameChg>
        <pc:graphicFrameChg chg="del">
          <ac:chgData name="LYNAGH Connor" userId="6ba16826-a125-4f68-ab5d-84bd7aab3e00" providerId="ADAL" clId="{F0FE71C6-F0BC-4E6D-A81C-4E62D06AB176}" dt="2024-04-01T16:23:47.322" v="789" actId="478"/>
          <ac:graphicFrameMkLst>
            <pc:docMk/>
            <pc:sldMk cId="1142918706" sldId="461"/>
            <ac:graphicFrameMk id="6" creationId="{093C4B13-9DFA-4930-84BE-C0695DF86394}"/>
          </ac:graphicFrameMkLst>
        </pc:graphicFrameChg>
        <pc:graphicFrameChg chg="add del mod">
          <ac:chgData name="LYNAGH Connor" userId="6ba16826-a125-4f68-ab5d-84bd7aab3e00" providerId="ADAL" clId="{F0FE71C6-F0BC-4E6D-A81C-4E62D06AB176}" dt="2024-04-01T16:23:53.058" v="792"/>
          <ac:graphicFrameMkLst>
            <pc:docMk/>
            <pc:sldMk cId="1142918706" sldId="461"/>
            <ac:graphicFrameMk id="7" creationId="{63DD2993-3EEF-C190-EEA9-53220EC5B38D}"/>
          </ac:graphicFrameMkLst>
        </pc:graphicFrameChg>
        <pc:graphicFrameChg chg="add del mod">
          <ac:chgData name="LYNAGH Connor" userId="6ba16826-a125-4f68-ab5d-84bd7aab3e00" providerId="ADAL" clId="{F0FE71C6-F0BC-4E6D-A81C-4E62D06AB176}" dt="2024-04-01T16:24:02.369" v="800"/>
          <ac:graphicFrameMkLst>
            <pc:docMk/>
            <pc:sldMk cId="1142918706" sldId="461"/>
            <ac:graphicFrameMk id="10" creationId="{2D07A5D7-14EC-325C-A3D9-A1D18AE5424E}"/>
          </ac:graphicFrameMkLst>
        </pc:graphicFrameChg>
        <pc:graphicFrameChg chg="add mod">
          <ac:chgData name="LYNAGH Connor" userId="6ba16826-a125-4f68-ab5d-84bd7aab3e00" providerId="ADAL" clId="{F0FE71C6-F0BC-4E6D-A81C-4E62D06AB176}" dt="2024-04-01T16:25:01.851" v="908" actId="1076"/>
          <ac:graphicFrameMkLst>
            <pc:docMk/>
            <pc:sldMk cId="1142918706" sldId="461"/>
            <ac:graphicFrameMk id="12" creationId="{7BE5CB6F-003D-6480-77DD-B24681CDDE9D}"/>
          </ac:graphicFrameMkLst>
        </pc:graphicFrameChg>
        <pc:cxnChg chg="add mod">
          <ac:chgData name="LYNAGH Connor" userId="6ba16826-a125-4f68-ab5d-84bd7aab3e00" providerId="ADAL" clId="{F0FE71C6-F0BC-4E6D-A81C-4E62D06AB176}" dt="2024-04-01T16:25:40.997" v="941" actId="1076"/>
          <ac:cxnSpMkLst>
            <pc:docMk/>
            <pc:sldMk cId="1142918706" sldId="461"/>
            <ac:cxnSpMk id="14" creationId="{AE92359C-0F7A-AFA3-B1D9-BFFE98A5F7AC}"/>
          </ac:cxnSpMkLst>
        </pc:cxnChg>
        <pc:cxnChg chg="add mod">
          <ac:chgData name="LYNAGH Connor" userId="6ba16826-a125-4f68-ab5d-84bd7aab3e00" providerId="ADAL" clId="{F0FE71C6-F0BC-4E6D-A81C-4E62D06AB176}" dt="2024-04-01T16:25:40.997" v="941" actId="1076"/>
          <ac:cxnSpMkLst>
            <pc:docMk/>
            <pc:sldMk cId="1142918706" sldId="461"/>
            <ac:cxnSpMk id="15" creationId="{6EF9295E-BA69-FBCD-3C06-3A4ADF64DA59}"/>
          </ac:cxnSpMkLst>
        </pc:cxnChg>
      </pc:sldChg>
      <pc:sldChg chg="modSp add del mod">
        <pc:chgData name="LYNAGH Connor" userId="6ba16826-a125-4f68-ab5d-84bd7aab3e00" providerId="ADAL" clId="{F0FE71C6-F0BC-4E6D-A81C-4E62D06AB176}" dt="2024-04-01T16:25:45.239" v="942" actId="47"/>
        <pc:sldMkLst>
          <pc:docMk/>
          <pc:sldMk cId="563799325" sldId="463"/>
        </pc:sldMkLst>
        <pc:spChg chg="mod">
          <ac:chgData name="LYNAGH Connor" userId="6ba16826-a125-4f68-ab5d-84bd7aab3e00" providerId="ADAL" clId="{F0FE71C6-F0BC-4E6D-A81C-4E62D06AB176}" dt="2024-04-01T16:21:39.909" v="776" actId="20577"/>
          <ac:spMkLst>
            <pc:docMk/>
            <pc:sldMk cId="563799325" sldId="463"/>
            <ac:spMk id="6" creationId="{224EF666-2CDA-4951-D7FB-9F4264CE88B9}"/>
          </ac:spMkLst>
        </pc:spChg>
        <pc:spChg chg="mod">
          <ac:chgData name="LYNAGH Connor" userId="6ba16826-a125-4f68-ab5d-84bd7aab3e00" providerId="ADAL" clId="{F0FE71C6-F0BC-4E6D-A81C-4E62D06AB176}" dt="2024-04-01T16:23:01.784" v="786" actId="20577"/>
          <ac:spMkLst>
            <pc:docMk/>
            <pc:sldMk cId="563799325" sldId="463"/>
            <ac:spMk id="20" creationId="{2A3EF572-D266-0A7A-D533-B9B350E3CD91}"/>
          </ac:spMkLst>
        </pc:spChg>
        <pc:spChg chg="mod">
          <ac:chgData name="LYNAGH Connor" userId="6ba16826-a125-4f68-ab5d-84bd7aab3e00" providerId="ADAL" clId="{F0FE71C6-F0BC-4E6D-A81C-4E62D06AB176}" dt="2024-04-01T16:23:05.982" v="787" actId="20577"/>
          <ac:spMkLst>
            <pc:docMk/>
            <pc:sldMk cId="563799325" sldId="463"/>
            <ac:spMk id="21" creationId="{17889D0E-9173-FE25-5C83-8B8E082BB0A6}"/>
          </ac:spMkLst>
        </pc:spChg>
        <pc:graphicFrameChg chg="mod">
          <ac:chgData name="LYNAGH Connor" userId="6ba16826-a125-4f68-ab5d-84bd7aab3e00" providerId="ADAL" clId="{F0FE71C6-F0BC-4E6D-A81C-4E62D06AB176}" dt="2024-04-01T16:21:47.552" v="778" actId="692"/>
          <ac:graphicFrameMkLst>
            <pc:docMk/>
            <pc:sldMk cId="563799325" sldId="463"/>
            <ac:graphicFrameMk id="3" creationId="{9D91B3AB-CFC8-4242-BDE2-03814C56A58F}"/>
          </ac:graphicFrameMkLst>
        </pc:graphicFrameChg>
        <pc:graphicFrameChg chg="mod">
          <ac:chgData name="LYNAGH Connor" userId="6ba16826-a125-4f68-ab5d-84bd7aab3e00" providerId="ADAL" clId="{F0FE71C6-F0BC-4E6D-A81C-4E62D06AB176}" dt="2024-04-01T16:23:12.471" v="788" actId="692"/>
          <ac:graphicFrameMkLst>
            <pc:docMk/>
            <pc:sldMk cId="563799325" sldId="463"/>
            <ac:graphicFrameMk id="4" creationId="{02C56ED8-15D0-485D-9077-D0A6F363A361}"/>
          </ac:graphicFrameMkLst>
        </pc:graphicFrameChg>
        <pc:cxnChg chg="mod">
          <ac:chgData name="LYNAGH Connor" userId="6ba16826-a125-4f68-ab5d-84bd7aab3e00" providerId="ADAL" clId="{F0FE71C6-F0BC-4E6D-A81C-4E62D06AB176}" dt="2024-04-01T16:20:34.219" v="764" actId="14100"/>
          <ac:cxnSpMkLst>
            <pc:docMk/>
            <pc:sldMk cId="563799325" sldId="463"/>
            <ac:cxnSpMk id="10" creationId="{E306816C-3257-C904-5407-C579A2C674AC}"/>
          </ac:cxnSpMkLst>
        </pc:cxnChg>
      </pc:sldChg>
      <pc:sldChg chg="add ord modNotesTx">
        <pc:chgData name="LYNAGH Connor" userId="6ba16826-a125-4f68-ab5d-84bd7aab3e00" providerId="ADAL" clId="{F0FE71C6-F0BC-4E6D-A81C-4E62D06AB176}" dt="2024-04-07T19:57:20.478" v="4015" actId="20577"/>
        <pc:sldMkLst>
          <pc:docMk/>
          <pc:sldMk cId="1147427086" sldId="466"/>
        </pc:sldMkLst>
      </pc:sldChg>
      <pc:sldChg chg="del">
        <pc:chgData name="LYNAGH Connor" userId="6ba16826-a125-4f68-ab5d-84bd7aab3e00" providerId="ADAL" clId="{F0FE71C6-F0BC-4E6D-A81C-4E62D06AB176}" dt="2024-04-01T16:09:46.254" v="455" actId="2696"/>
        <pc:sldMkLst>
          <pc:docMk/>
          <pc:sldMk cId="3336464111" sldId="466"/>
        </pc:sldMkLst>
      </pc:sldChg>
      <pc:sldChg chg="modSp del mod">
        <pc:chgData name="LYNAGH Connor" userId="6ba16826-a125-4f68-ab5d-84bd7aab3e00" providerId="ADAL" clId="{F0FE71C6-F0BC-4E6D-A81C-4E62D06AB176}" dt="2024-04-04T12:13:59.576" v="3135" actId="47"/>
        <pc:sldMkLst>
          <pc:docMk/>
          <pc:sldMk cId="1563110606" sldId="470"/>
        </pc:sldMkLst>
        <pc:spChg chg="mod">
          <ac:chgData name="LYNAGH Connor" userId="6ba16826-a125-4f68-ab5d-84bd7aab3e00" providerId="ADAL" clId="{F0FE71C6-F0BC-4E6D-A81C-4E62D06AB176}" dt="2024-04-01T16:11:44.339" v="603" actId="20577"/>
          <ac:spMkLst>
            <pc:docMk/>
            <pc:sldMk cId="1563110606" sldId="470"/>
            <ac:spMk id="2" creationId="{60244801-1E8B-EE2E-AA2F-56B67D2EBACF}"/>
          </ac:spMkLst>
        </pc:spChg>
      </pc:sldChg>
      <pc:sldChg chg="modSp add del mod">
        <pc:chgData name="LYNAGH Connor" userId="6ba16826-a125-4f68-ab5d-84bd7aab3e00" providerId="ADAL" clId="{F0FE71C6-F0BC-4E6D-A81C-4E62D06AB176}" dt="2024-04-01T16:11:20.418" v="600" actId="20577"/>
        <pc:sldMkLst>
          <pc:docMk/>
          <pc:sldMk cId="1775174684" sldId="475"/>
        </pc:sldMkLst>
        <pc:spChg chg="mod">
          <ac:chgData name="LYNAGH Connor" userId="6ba16826-a125-4f68-ab5d-84bd7aab3e00" providerId="ADAL" clId="{F0FE71C6-F0BC-4E6D-A81C-4E62D06AB176}" dt="2024-04-01T16:11:20.418" v="600" actId="20577"/>
          <ac:spMkLst>
            <pc:docMk/>
            <pc:sldMk cId="1775174684" sldId="475"/>
            <ac:spMk id="2" creationId="{72CF212E-1066-0E63-D4D7-F61961D06085}"/>
          </ac:spMkLst>
        </pc:spChg>
        <pc:spChg chg="mod">
          <ac:chgData name="LYNAGH Connor" userId="6ba16826-a125-4f68-ab5d-84bd7aab3e00" providerId="ADAL" clId="{F0FE71C6-F0BC-4E6D-A81C-4E62D06AB176}" dt="2024-04-01T16:06:47.616" v="230" actId="20577"/>
          <ac:spMkLst>
            <pc:docMk/>
            <pc:sldMk cId="1775174684" sldId="475"/>
            <ac:spMk id="9" creationId="{D417570B-2F00-AB6E-D99F-ABC8752CFD56}"/>
          </ac:spMkLst>
        </pc:spChg>
        <pc:spChg chg="mod">
          <ac:chgData name="LYNAGH Connor" userId="6ba16826-a125-4f68-ab5d-84bd7aab3e00" providerId="ADAL" clId="{F0FE71C6-F0BC-4E6D-A81C-4E62D06AB176}" dt="2024-04-01T16:07:28.201" v="344" actId="20577"/>
          <ac:spMkLst>
            <pc:docMk/>
            <pc:sldMk cId="1775174684" sldId="475"/>
            <ac:spMk id="26" creationId="{D774EE7C-FB34-A966-4294-5D628F8964EB}"/>
          </ac:spMkLst>
        </pc:spChg>
        <pc:grpChg chg="mod">
          <ac:chgData name="LYNAGH Connor" userId="6ba16826-a125-4f68-ab5d-84bd7aab3e00" providerId="ADAL" clId="{F0FE71C6-F0BC-4E6D-A81C-4E62D06AB176}" dt="2024-04-01T16:07:38.585" v="345" actId="1035"/>
          <ac:grpSpMkLst>
            <pc:docMk/>
            <pc:sldMk cId="1775174684" sldId="475"/>
            <ac:grpSpMk id="21" creationId="{7EA6DA5D-D417-9D9B-7B76-3BB61991D79C}"/>
          </ac:grpSpMkLst>
        </pc:grpChg>
        <pc:grpChg chg="mod">
          <ac:chgData name="LYNAGH Connor" userId="6ba16826-a125-4f68-ab5d-84bd7aab3e00" providerId="ADAL" clId="{F0FE71C6-F0BC-4E6D-A81C-4E62D06AB176}" dt="2024-04-01T16:07:42.313" v="346" actId="1035"/>
          <ac:grpSpMkLst>
            <pc:docMk/>
            <pc:sldMk cId="1775174684" sldId="475"/>
            <ac:grpSpMk id="24" creationId="{8CBBE420-5928-4CF7-3464-D57BF2A7045B}"/>
          </ac:grpSpMkLst>
        </pc:grpChg>
      </pc:sldChg>
      <pc:sldChg chg="add del">
        <pc:chgData name="LYNAGH Connor" userId="6ba16826-a125-4f68-ab5d-84bd7aab3e00" providerId="ADAL" clId="{F0FE71C6-F0BC-4E6D-A81C-4E62D06AB176}" dt="2024-04-01T16:14:38.669" v="645" actId="47"/>
        <pc:sldMkLst>
          <pc:docMk/>
          <pc:sldMk cId="1920943179" sldId="495"/>
        </pc:sldMkLst>
      </pc:sldChg>
      <pc:sldChg chg="del">
        <pc:chgData name="LYNAGH Connor" userId="6ba16826-a125-4f68-ab5d-84bd7aab3e00" providerId="ADAL" clId="{F0FE71C6-F0BC-4E6D-A81C-4E62D06AB176}" dt="2024-04-01T16:13:50.952" v="643" actId="2696"/>
        <pc:sldMkLst>
          <pc:docMk/>
          <pc:sldMk cId="3046500110" sldId="495"/>
        </pc:sldMkLst>
      </pc:sldChg>
      <pc:sldChg chg="modSp add mod">
        <pc:chgData name="LYNAGH Connor" userId="6ba16826-a125-4f68-ab5d-84bd7aab3e00" providerId="ADAL" clId="{F0FE71C6-F0BC-4E6D-A81C-4E62D06AB176}" dt="2024-04-01T16:10:49.172" v="517" actId="20577"/>
        <pc:sldMkLst>
          <pc:docMk/>
          <pc:sldMk cId="2773316577" sldId="499"/>
        </pc:sldMkLst>
        <pc:spChg chg="mod">
          <ac:chgData name="LYNAGH Connor" userId="6ba16826-a125-4f68-ab5d-84bd7aab3e00" providerId="ADAL" clId="{F0FE71C6-F0BC-4E6D-A81C-4E62D06AB176}" dt="2024-04-01T16:10:49.172" v="517" actId="20577"/>
          <ac:spMkLst>
            <pc:docMk/>
            <pc:sldMk cId="2773316577" sldId="499"/>
            <ac:spMk id="2" creationId="{01FEABCC-3791-4855-83F5-D4F6276CF8FC}"/>
          </ac:spMkLst>
        </pc:spChg>
      </pc:sldChg>
      <pc:sldChg chg="del">
        <pc:chgData name="LYNAGH Connor" userId="6ba16826-a125-4f68-ab5d-84bd7aab3e00" providerId="ADAL" clId="{F0FE71C6-F0BC-4E6D-A81C-4E62D06AB176}" dt="2024-04-01T16:09:53.359" v="457" actId="2696"/>
        <pc:sldMkLst>
          <pc:docMk/>
          <pc:sldMk cId="3324235883" sldId="499"/>
        </pc:sldMkLst>
      </pc:sldChg>
      <pc:sldChg chg="del ord">
        <pc:chgData name="LYNAGH Connor" userId="6ba16826-a125-4f68-ab5d-84bd7aab3e00" providerId="ADAL" clId="{F0FE71C6-F0BC-4E6D-A81C-4E62D06AB176}" dt="2024-04-01T16:46:19.427" v="1295" actId="47"/>
        <pc:sldMkLst>
          <pc:docMk/>
          <pc:sldMk cId="3169225336" sldId="534"/>
        </pc:sldMkLst>
      </pc:sldChg>
      <pc:sldChg chg="ord">
        <pc:chgData name="LYNAGH Connor" userId="6ba16826-a125-4f68-ab5d-84bd7aab3e00" providerId="ADAL" clId="{F0FE71C6-F0BC-4E6D-A81C-4E62D06AB176}" dt="2024-04-01T16:08:49.081" v="444"/>
        <pc:sldMkLst>
          <pc:docMk/>
          <pc:sldMk cId="3450942647" sldId="535"/>
        </pc:sldMkLst>
      </pc:sldChg>
      <pc:sldChg chg="add del">
        <pc:chgData name="LYNAGH Connor" userId="6ba16826-a125-4f68-ab5d-84bd7aab3e00" providerId="ADAL" clId="{F0FE71C6-F0BC-4E6D-A81C-4E62D06AB176}" dt="2024-04-01T16:09:04.468" v="447" actId="2696"/>
        <pc:sldMkLst>
          <pc:docMk/>
          <pc:sldMk cId="1301626483" sldId="2147477816"/>
        </pc:sldMkLst>
      </pc:sldChg>
      <pc:sldChg chg="add ord">
        <pc:chgData name="LYNAGH Connor" userId="6ba16826-a125-4f68-ab5d-84bd7aab3e00" providerId="ADAL" clId="{F0FE71C6-F0BC-4E6D-A81C-4E62D06AB176}" dt="2024-04-01T16:12:32.374" v="607"/>
        <pc:sldMkLst>
          <pc:docMk/>
          <pc:sldMk cId="1703238746" sldId="2147477816"/>
        </pc:sldMkLst>
      </pc:sldChg>
      <pc:sldChg chg="addSp delSp modSp mod">
        <pc:chgData name="LYNAGH Connor" userId="6ba16826-a125-4f68-ab5d-84bd7aab3e00" providerId="ADAL" clId="{F0FE71C6-F0BC-4E6D-A81C-4E62D06AB176}" dt="2024-04-03T08:24:09.115" v="2193" actId="478"/>
        <pc:sldMkLst>
          <pc:docMk/>
          <pc:sldMk cId="1460681696" sldId="2147477840"/>
        </pc:sldMkLst>
        <pc:spChg chg="add del mod">
          <ac:chgData name="LYNAGH Connor" userId="6ba16826-a125-4f68-ab5d-84bd7aab3e00" providerId="ADAL" clId="{F0FE71C6-F0BC-4E6D-A81C-4E62D06AB176}" dt="2024-04-01T17:22:34.964" v="1701" actId="478"/>
          <ac:spMkLst>
            <pc:docMk/>
            <pc:sldMk cId="1460681696" sldId="2147477840"/>
            <ac:spMk id="4" creationId="{BF8616E2-3B7C-493C-9F9A-00C747AAAB07}"/>
          </ac:spMkLst>
        </pc:spChg>
        <pc:spChg chg="add del mod">
          <ac:chgData name="LYNAGH Connor" userId="6ba16826-a125-4f68-ab5d-84bd7aab3e00" providerId="ADAL" clId="{F0FE71C6-F0BC-4E6D-A81C-4E62D06AB176}" dt="2024-04-03T08:24:09.115" v="2193" actId="478"/>
          <ac:spMkLst>
            <pc:docMk/>
            <pc:sldMk cId="1460681696" sldId="2147477840"/>
            <ac:spMk id="5" creationId="{E2693C1F-2CA6-B4A2-98FF-AF2BF4212A50}"/>
          </ac:spMkLst>
        </pc:spChg>
      </pc:sldChg>
      <pc:sldChg chg="addSp delSp modSp mod">
        <pc:chgData name="LYNAGH Connor" userId="6ba16826-a125-4f68-ab5d-84bd7aab3e00" providerId="ADAL" clId="{F0FE71C6-F0BC-4E6D-A81C-4E62D06AB176}" dt="2024-04-07T20:07:32.999" v="4049" actId="6549"/>
        <pc:sldMkLst>
          <pc:docMk/>
          <pc:sldMk cId="1575333357" sldId="2147477848"/>
        </pc:sldMkLst>
        <pc:spChg chg="mod">
          <ac:chgData name="LYNAGH Connor" userId="6ba16826-a125-4f68-ab5d-84bd7aab3e00" providerId="ADAL" clId="{F0FE71C6-F0BC-4E6D-A81C-4E62D06AB176}" dt="2024-04-07T20:07:32.999" v="4049" actId="6549"/>
          <ac:spMkLst>
            <pc:docMk/>
            <pc:sldMk cId="1575333357" sldId="2147477848"/>
            <ac:spMk id="2" creationId="{616C5921-5624-7702-1581-CF7C97977810}"/>
          </ac:spMkLst>
        </pc:spChg>
        <pc:spChg chg="add del mod">
          <ac:chgData name="LYNAGH Connor" userId="6ba16826-a125-4f68-ab5d-84bd7aab3e00" providerId="ADAL" clId="{F0FE71C6-F0BC-4E6D-A81C-4E62D06AB176}" dt="2024-04-01T17:45:22.322" v="1747" actId="478"/>
          <ac:spMkLst>
            <pc:docMk/>
            <pc:sldMk cId="1575333357" sldId="2147477848"/>
            <ac:spMk id="3" creationId="{61C8275D-5183-F1CE-D6A7-833E5E0F760A}"/>
          </ac:spMkLst>
        </pc:spChg>
        <pc:spChg chg="add mod">
          <ac:chgData name="LYNAGH Connor" userId="6ba16826-a125-4f68-ab5d-84bd7aab3e00" providerId="ADAL" clId="{F0FE71C6-F0BC-4E6D-A81C-4E62D06AB176}" dt="2024-04-07T20:06:51.123" v="4028" actId="20577"/>
          <ac:spMkLst>
            <pc:docMk/>
            <pc:sldMk cId="1575333357" sldId="2147477848"/>
            <ac:spMk id="6" creationId="{1410B127-2190-2EC5-7906-79576A53755C}"/>
          </ac:spMkLst>
        </pc:spChg>
        <pc:graphicFrameChg chg="del">
          <ac:chgData name="LYNAGH Connor" userId="6ba16826-a125-4f68-ab5d-84bd7aab3e00" providerId="ADAL" clId="{F0FE71C6-F0BC-4E6D-A81C-4E62D06AB176}" dt="2024-04-01T17:44:56.968" v="1741" actId="478"/>
          <ac:graphicFrameMkLst>
            <pc:docMk/>
            <pc:sldMk cId="1575333357" sldId="2147477848"/>
            <ac:graphicFrameMk id="4" creationId="{64DA1378-6867-5D8A-A01B-BFFE3C8D2D30}"/>
          </ac:graphicFrameMkLst>
        </pc:graphicFrameChg>
        <pc:picChg chg="add del">
          <ac:chgData name="LYNAGH Connor" userId="6ba16826-a125-4f68-ab5d-84bd7aab3e00" providerId="ADAL" clId="{F0FE71C6-F0BC-4E6D-A81C-4E62D06AB176}" dt="2024-04-03T08:28:53.347" v="2199" actId="478"/>
          <ac:picMkLst>
            <pc:docMk/>
            <pc:sldMk cId="1575333357" sldId="2147477848"/>
            <ac:picMk id="3" creationId="{FB38F5A6-93A0-BC56-424B-E6A98D98AC56}"/>
          </ac:picMkLst>
        </pc:picChg>
        <pc:picChg chg="add del">
          <ac:chgData name="LYNAGH Connor" userId="6ba16826-a125-4f68-ab5d-84bd7aab3e00" providerId="ADAL" clId="{F0FE71C6-F0BC-4E6D-A81C-4E62D06AB176}" dt="2024-04-03T08:28:49.546" v="2197"/>
          <ac:picMkLst>
            <pc:docMk/>
            <pc:sldMk cId="1575333357" sldId="2147477848"/>
            <ac:picMk id="4" creationId="{D449898E-21C0-187E-2BE9-A5183BA72C1D}"/>
          </ac:picMkLst>
        </pc:picChg>
        <pc:picChg chg="add del mod">
          <ac:chgData name="LYNAGH Connor" userId="6ba16826-a125-4f68-ab5d-84bd7aab3e00" providerId="ADAL" clId="{F0FE71C6-F0BC-4E6D-A81C-4E62D06AB176}" dt="2024-04-03T08:29:21.406" v="2204" actId="478"/>
          <ac:picMkLst>
            <pc:docMk/>
            <pc:sldMk cId="1575333357" sldId="2147477848"/>
            <ac:picMk id="5" creationId="{5F04315C-B29C-97B9-605A-5F6B97E0020C}"/>
          </ac:picMkLst>
        </pc:picChg>
        <pc:picChg chg="add del mod">
          <ac:chgData name="LYNAGH Connor" userId="6ba16826-a125-4f68-ab5d-84bd7aab3e00" providerId="ADAL" clId="{F0FE71C6-F0BC-4E6D-A81C-4E62D06AB176}" dt="2024-04-01T18:01:57.251" v="1916" actId="478"/>
          <ac:picMkLst>
            <pc:docMk/>
            <pc:sldMk cId="1575333357" sldId="2147477848"/>
            <ac:picMk id="5" creationId="{C6109F91-CD6A-ADE5-6B5A-3DBC86A113D6}"/>
          </ac:picMkLst>
        </pc:picChg>
        <pc:picChg chg="add mod">
          <ac:chgData name="LYNAGH Connor" userId="6ba16826-a125-4f68-ab5d-84bd7aab3e00" providerId="ADAL" clId="{F0FE71C6-F0BC-4E6D-A81C-4E62D06AB176}" dt="2024-04-01T18:03:57.048" v="2097" actId="1076"/>
          <ac:picMkLst>
            <pc:docMk/>
            <pc:sldMk cId="1575333357" sldId="2147477848"/>
            <ac:picMk id="7" creationId="{2E93DCD7-A34A-6BC8-6461-91596389BD83}"/>
          </ac:picMkLst>
        </pc:picChg>
        <pc:picChg chg="add del mod">
          <ac:chgData name="LYNAGH Connor" userId="6ba16826-a125-4f68-ab5d-84bd7aab3e00" providerId="ADAL" clId="{F0FE71C6-F0BC-4E6D-A81C-4E62D06AB176}" dt="2024-04-03T08:30:28.250" v="2208" actId="478"/>
          <ac:picMkLst>
            <pc:docMk/>
            <pc:sldMk cId="1575333357" sldId="2147477848"/>
            <ac:picMk id="7" creationId="{B2E0FE3E-4F64-0E13-3698-AE4859F5A1C9}"/>
          </ac:picMkLst>
        </pc:picChg>
        <pc:picChg chg="add mod">
          <ac:chgData name="LYNAGH Connor" userId="6ba16826-a125-4f68-ab5d-84bd7aab3e00" providerId="ADAL" clId="{F0FE71C6-F0BC-4E6D-A81C-4E62D06AB176}" dt="2024-04-03T08:42:21.171" v="2234" actId="12788"/>
          <ac:picMkLst>
            <pc:docMk/>
            <pc:sldMk cId="1575333357" sldId="2147477848"/>
            <ac:picMk id="8" creationId="{5B682CC2-7CF9-E483-D9ED-EB1BBD6C2B4E}"/>
          </ac:picMkLst>
        </pc:picChg>
      </pc:sldChg>
      <pc:sldChg chg="addSp delSp modSp mod">
        <pc:chgData name="LYNAGH Connor" userId="6ba16826-a125-4f68-ab5d-84bd7aab3e00" providerId="ADAL" clId="{F0FE71C6-F0BC-4E6D-A81C-4E62D06AB176}" dt="2024-04-03T08:42:26.089" v="2235" actId="12788"/>
        <pc:sldMkLst>
          <pc:docMk/>
          <pc:sldMk cId="2649516343" sldId="2147477849"/>
        </pc:sldMkLst>
        <pc:spChg chg="mod">
          <ac:chgData name="LYNAGH Connor" userId="6ba16826-a125-4f68-ab5d-84bd7aab3e00" providerId="ADAL" clId="{F0FE71C6-F0BC-4E6D-A81C-4E62D06AB176}" dt="2024-04-03T08:32:21.428" v="2227" actId="20577"/>
          <ac:spMkLst>
            <pc:docMk/>
            <pc:sldMk cId="2649516343" sldId="2147477849"/>
            <ac:spMk id="2" creationId="{DC8C5BBD-C5D2-8D4C-CD48-7700449FF732}"/>
          </ac:spMkLst>
        </pc:spChg>
        <pc:spChg chg="add del mod">
          <ac:chgData name="LYNAGH Connor" userId="6ba16826-a125-4f68-ab5d-84bd7aab3e00" providerId="ADAL" clId="{F0FE71C6-F0BC-4E6D-A81C-4E62D06AB176}" dt="2024-04-01T17:51:24.324" v="1762" actId="478"/>
          <ac:spMkLst>
            <pc:docMk/>
            <pc:sldMk cId="2649516343" sldId="2147477849"/>
            <ac:spMk id="3" creationId="{8EEED05A-3D12-F455-26D2-D081E2EC2B81}"/>
          </ac:spMkLst>
        </pc:spChg>
        <pc:graphicFrameChg chg="del">
          <ac:chgData name="LYNAGH Connor" userId="6ba16826-a125-4f68-ab5d-84bd7aab3e00" providerId="ADAL" clId="{F0FE71C6-F0BC-4E6D-A81C-4E62D06AB176}" dt="2024-04-01T17:45:37.178" v="1748" actId="478"/>
          <ac:graphicFrameMkLst>
            <pc:docMk/>
            <pc:sldMk cId="2649516343" sldId="2147477849"/>
            <ac:graphicFrameMk id="4" creationId="{AF37CC04-82F8-BE8D-4E5F-C4638679E818}"/>
          </ac:graphicFrameMkLst>
        </pc:graphicFrameChg>
        <pc:picChg chg="del">
          <ac:chgData name="LYNAGH Connor" userId="6ba16826-a125-4f68-ab5d-84bd7aab3e00" providerId="ADAL" clId="{F0FE71C6-F0BC-4E6D-A81C-4E62D06AB176}" dt="2024-04-03T08:31:28.152" v="2212" actId="478"/>
          <ac:picMkLst>
            <pc:docMk/>
            <pc:sldMk cId="2649516343" sldId="2147477849"/>
            <ac:picMk id="3" creationId="{62AB13D1-D0AA-8EDF-875F-B68001247009}"/>
          </ac:picMkLst>
        </pc:picChg>
        <pc:picChg chg="add del mod">
          <ac:chgData name="LYNAGH Connor" userId="6ba16826-a125-4f68-ab5d-84bd7aab3e00" providerId="ADAL" clId="{F0FE71C6-F0BC-4E6D-A81C-4E62D06AB176}" dt="2024-04-03T08:32:07.105" v="2216" actId="478"/>
          <ac:picMkLst>
            <pc:docMk/>
            <pc:sldMk cId="2649516343" sldId="2147477849"/>
            <ac:picMk id="4" creationId="{43DB437E-459D-BBD9-FFD4-C4B5BE86C071}"/>
          </ac:picMkLst>
        </pc:picChg>
        <pc:picChg chg="add mod">
          <ac:chgData name="LYNAGH Connor" userId="6ba16826-a125-4f68-ab5d-84bd7aab3e00" providerId="ADAL" clId="{F0FE71C6-F0BC-4E6D-A81C-4E62D06AB176}" dt="2024-04-03T08:42:26.089" v="2235" actId="12788"/>
          <ac:picMkLst>
            <pc:docMk/>
            <pc:sldMk cId="2649516343" sldId="2147477849"/>
            <ac:picMk id="5" creationId="{565AD8B5-038F-2314-0057-4EF964361CCA}"/>
          </ac:picMkLst>
        </pc:picChg>
        <pc:picChg chg="add del mod">
          <ac:chgData name="LYNAGH Connor" userId="6ba16826-a125-4f68-ab5d-84bd7aab3e00" providerId="ADAL" clId="{F0FE71C6-F0BC-4E6D-A81C-4E62D06AB176}" dt="2024-04-01T17:51:12.406" v="1756" actId="478"/>
          <ac:picMkLst>
            <pc:docMk/>
            <pc:sldMk cId="2649516343" sldId="2147477849"/>
            <ac:picMk id="5" creationId="{D2241C8E-CEE6-578B-2385-8325F36631AA}"/>
          </ac:picMkLst>
        </pc:picChg>
        <pc:picChg chg="add del mod">
          <ac:chgData name="LYNAGH Connor" userId="6ba16826-a125-4f68-ab5d-84bd7aab3e00" providerId="ADAL" clId="{F0FE71C6-F0BC-4E6D-A81C-4E62D06AB176}" dt="2024-04-01T18:02:18.123" v="1921" actId="478"/>
          <ac:picMkLst>
            <pc:docMk/>
            <pc:sldMk cId="2649516343" sldId="2147477849"/>
            <ac:picMk id="6" creationId="{B22760E4-00F0-248C-B2C9-0CD76162DC18}"/>
          </ac:picMkLst>
        </pc:picChg>
        <pc:picChg chg="add mod">
          <ac:chgData name="LYNAGH Connor" userId="6ba16826-a125-4f68-ab5d-84bd7aab3e00" providerId="ADAL" clId="{F0FE71C6-F0BC-4E6D-A81C-4E62D06AB176}" dt="2024-04-01T18:04:02.739" v="2098" actId="1076"/>
          <ac:picMkLst>
            <pc:docMk/>
            <pc:sldMk cId="2649516343" sldId="2147477849"/>
            <ac:picMk id="7" creationId="{B7E87C4A-9A9F-E024-5C1E-868103258029}"/>
          </ac:picMkLst>
        </pc:picChg>
      </pc:sldChg>
      <pc:sldChg chg="addSp delSp modSp mod">
        <pc:chgData name="LYNAGH Connor" userId="6ba16826-a125-4f68-ab5d-84bd7aab3e00" providerId="ADAL" clId="{F0FE71C6-F0BC-4E6D-A81C-4E62D06AB176}" dt="2024-04-07T20:07:24.745" v="4038" actId="20577"/>
        <pc:sldMkLst>
          <pc:docMk/>
          <pc:sldMk cId="4113781861" sldId="2147477850"/>
        </pc:sldMkLst>
        <pc:spChg chg="mod">
          <ac:chgData name="LYNAGH Connor" userId="6ba16826-a125-4f68-ab5d-84bd7aab3e00" providerId="ADAL" clId="{F0FE71C6-F0BC-4E6D-A81C-4E62D06AB176}" dt="2024-04-07T20:07:24.745" v="4038" actId="20577"/>
          <ac:spMkLst>
            <pc:docMk/>
            <pc:sldMk cId="4113781861" sldId="2147477850"/>
            <ac:spMk id="2" creationId="{1DD606D9-AABC-4235-9BBD-92D703D22554}"/>
          </ac:spMkLst>
        </pc:spChg>
        <pc:spChg chg="mod">
          <ac:chgData name="LYNAGH Connor" userId="6ba16826-a125-4f68-ab5d-84bd7aab3e00" providerId="ADAL" clId="{F0FE71C6-F0BC-4E6D-A81C-4E62D06AB176}" dt="2024-04-03T08:42:38.066" v="2239" actId="1076"/>
          <ac:spMkLst>
            <pc:docMk/>
            <pc:sldMk cId="4113781861" sldId="2147477850"/>
            <ac:spMk id="3" creationId="{D8667B59-4FA0-9C0C-939E-C25D6AAB102E}"/>
          </ac:spMkLst>
        </pc:spChg>
        <pc:spChg chg="add del mod">
          <ac:chgData name="LYNAGH Connor" userId="6ba16826-a125-4f68-ab5d-84bd7aab3e00" providerId="ADAL" clId="{F0FE71C6-F0BC-4E6D-A81C-4E62D06AB176}" dt="2024-04-03T08:42:34.986" v="2237" actId="478"/>
          <ac:spMkLst>
            <pc:docMk/>
            <pc:sldMk cId="4113781861" sldId="2147477850"/>
            <ac:spMk id="5" creationId="{6DC571C2-A99B-F2F9-6564-84E1C5E69827}"/>
          </ac:spMkLst>
        </pc:spChg>
        <pc:graphicFrameChg chg="del">
          <ac:chgData name="LYNAGH Connor" userId="6ba16826-a125-4f68-ab5d-84bd7aab3e00" providerId="ADAL" clId="{F0FE71C6-F0BC-4E6D-A81C-4E62D06AB176}" dt="2024-04-01T18:02:41.068" v="1927" actId="478"/>
          <ac:graphicFrameMkLst>
            <pc:docMk/>
            <pc:sldMk cId="4113781861" sldId="2147477850"/>
            <ac:graphicFrameMk id="4" creationId="{58C0C6B7-1F9F-877B-8B7D-CCEC10286B1C}"/>
          </ac:graphicFrameMkLst>
        </pc:graphicFrameChg>
        <pc:picChg chg="add del mod">
          <ac:chgData name="LYNAGH Connor" userId="6ba16826-a125-4f68-ab5d-84bd7aab3e00" providerId="ADAL" clId="{F0FE71C6-F0BC-4E6D-A81C-4E62D06AB176}" dt="2024-04-03T08:45:03.245" v="2240" actId="478"/>
          <ac:picMkLst>
            <pc:docMk/>
            <pc:sldMk cId="4113781861" sldId="2147477850"/>
            <ac:picMk id="4" creationId="{42C1822B-25EC-5278-498C-1575307603C5}"/>
          </ac:picMkLst>
        </pc:picChg>
        <pc:picChg chg="add del mod">
          <ac:chgData name="LYNAGH Connor" userId="6ba16826-a125-4f68-ab5d-84bd7aab3e00" providerId="ADAL" clId="{F0FE71C6-F0BC-4E6D-A81C-4E62D06AB176}" dt="2024-04-03T08:38:28.208" v="2228" actId="478"/>
          <ac:picMkLst>
            <pc:docMk/>
            <pc:sldMk cId="4113781861" sldId="2147477850"/>
            <ac:picMk id="6" creationId="{8AB94EC8-C497-7EA1-C7F7-3A3932FB5DE5}"/>
          </ac:picMkLst>
        </pc:picChg>
        <pc:picChg chg="add mod">
          <ac:chgData name="LYNAGH Connor" userId="6ba16826-a125-4f68-ab5d-84bd7aab3e00" providerId="ADAL" clId="{F0FE71C6-F0BC-4E6D-A81C-4E62D06AB176}" dt="2024-04-03T08:45:17.580" v="2244" actId="12788"/>
          <ac:picMkLst>
            <pc:docMk/>
            <pc:sldMk cId="4113781861" sldId="2147477850"/>
            <ac:picMk id="7" creationId="{99F36529-DB84-9066-2BDA-9640BBF8649F}"/>
          </ac:picMkLst>
        </pc:picChg>
      </pc:sldChg>
      <pc:sldChg chg="addSp delSp modSp mod">
        <pc:chgData name="LYNAGH Connor" userId="6ba16826-a125-4f68-ab5d-84bd7aab3e00" providerId="ADAL" clId="{F0FE71C6-F0BC-4E6D-A81C-4E62D06AB176}" dt="2024-04-03T08:46:47.702" v="2256" actId="1076"/>
        <pc:sldMkLst>
          <pc:docMk/>
          <pc:sldMk cId="1696009716" sldId="2147477851"/>
        </pc:sldMkLst>
        <pc:spChg chg="add del mod">
          <ac:chgData name="LYNAGH Connor" userId="6ba16826-a125-4f68-ab5d-84bd7aab3e00" providerId="ADAL" clId="{F0FE71C6-F0BC-4E6D-A81C-4E62D06AB176}" dt="2024-04-01T18:05:51.082" v="2104" actId="478"/>
          <ac:spMkLst>
            <pc:docMk/>
            <pc:sldMk cId="1696009716" sldId="2147477851"/>
            <ac:spMk id="4" creationId="{67E8C9D7-512D-AADF-D501-BD83D7F84088}"/>
          </ac:spMkLst>
        </pc:spChg>
        <pc:spChg chg="mod">
          <ac:chgData name="LYNAGH Connor" userId="6ba16826-a125-4f68-ab5d-84bd7aab3e00" providerId="ADAL" clId="{F0FE71C6-F0BC-4E6D-A81C-4E62D06AB176}" dt="2024-04-01T18:08:44.648" v="2115" actId="1035"/>
          <ac:spMkLst>
            <pc:docMk/>
            <pc:sldMk cId="1696009716" sldId="2147477851"/>
            <ac:spMk id="5" creationId="{E7EAE54F-EF85-1351-C44E-230A8D034276}"/>
          </ac:spMkLst>
        </pc:spChg>
        <pc:spChg chg="mod">
          <ac:chgData name="LYNAGH Connor" userId="6ba16826-a125-4f68-ab5d-84bd7aab3e00" providerId="ADAL" clId="{F0FE71C6-F0BC-4E6D-A81C-4E62D06AB176}" dt="2024-04-01T18:26:18.642" v="2191" actId="12788"/>
          <ac:spMkLst>
            <pc:docMk/>
            <pc:sldMk cId="1696009716" sldId="2147477851"/>
            <ac:spMk id="6" creationId="{842C4F3C-2343-492C-F687-3D58485BF500}"/>
          </ac:spMkLst>
        </pc:spChg>
        <pc:spChg chg="mod">
          <ac:chgData name="LYNAGH Connor" userId="6ba16826-a125-4f68-ab5d-84bd7aab3e00" providerId="ADAL" clId="{F0FE71C6-F0BC-4E6D-A81C-4E62D06AB176}" dt="2024-04-01T18:08:44.648" v="2115" actId="1035"/>
          <ac:spMkLst>
            <pc:docMk/>
            <pc:sldMk cId="1696009716" sldId="2147477851"/>
            <ac:spMk id="8" creationId="{96B45548-BABA-9815-AB84-B14C135D2224}"/>
          </ac:spMkLst>
        </pc:spChg>
        <pc:graphicFrameChg chg="add del">
          <ac:chgData name="LYNAGH Connor" userId="6ba16826-a125-4f68-ab5d-84bd7aab3e00" providerId="ADAL" clId="{F0FE71C6-F0BC-4E6D-A81C-4E62D06AB176}" dt="2024-04-01T18:08:26.391" v="2108" actId="478"/>
          <ac:graphicFrameMkLst>
            <pc:docMk/>
            <pc:sldMk cId="1696009716" sldId="2147477851"/>
            <ac:graphicFrameMk id="3" creationId="{0F7210C7-9DF3-2AFC-39FA-1CB085D26CC6}"/>
          </ac:graphicFrameMkLst>
        </pc:graphicFrameChg>
        <pc:graphicFrameChg chg="del">
          <ac:chgData name="LYNAGH Connor" userId="6ba16826-a125-4f68-ab5d-84bd7aab3e00" providerId="ADAL" clId="{F0FE71C6-F0BC-4E6D-A81C-4E62D06AB176}" dt="2024-04-01T18:05:41.002" v="2100" actId="478"/>
          <ac:graphicFrameMkLst>
            <pc:docMk/>
            <pc:sldMk cId="1696009716" sldId="2147477851"/>
            <ac:graphicFrameMk id="7" creationId="{FE1876BD-7B64-4CEC-2647-3AA10A676899}"/>
          </ac:graphicFrameMkLst>
        </pc:graphicFrameChg>
        <pc:picChg chg="add del">
          <ac:chgData name="LYNAGH Connor" userId="6ba16826-a125-4f68-ab5d-84bd7aab3e00" providerId="ADAL" clId="{F0FE71C6-F0BC-4E6D-A81C-4E62D06AB176}" dt="2024-04-03T08:46:06.428" v="2247" actId="478"/>
          <ac:picMkLst>
            <pc:docMk/>
            <pc:sldMk cId="1696009716" sldId="2147477851"/>
            <ac:picMk id="3" creationId="{EB477E79-49E7-361C-7C52-332AFCEA4F5D}"/>
          </ac:picMkLst>
        </pc:picChg>
        <pc:picChg chg="del">
          <ac:chgData name="LYNAGH Connor" userId="6ba16826-a125-4f68-ab5d-84bd7aab3e00" providerId="ADAL" clId="{F0FE71C6-F0BC-4E6D-A81C-4E62D06AB176}" dt="2024-04-03T08:46:18.697" v="2251" actId="478"/>
          <ac:picMkLst>
            <pc:docMk/>
            <pc:sldMk cId="1696009716" sldId="2147477851"/>
            <ac:picMk id="4" creationId="{595A221B-577E-1C3C-5F89-B72878F09DA6}"/>
          </ac:picMkLst>
        </pc:picChg>
        <pc:picChg chg="add mod">
          <ac:chgData name="LYNAGH Connor" userId="6ba16826-a125-4f68-ab5d-84bd7aab3e00" providerId="ADAL" clId="{F0FE71C6-F0BC-4E6D-A81C-4E62D06AB176}" dt="2024-04-03T08:46:15.196" v="2250" actId="1076"/>
          <ac:picMkLst>
            <pc:docMk/>
            <pc:sldMk cId="1696009716" sldId="2147477851"/>
            <ac:picMk id="7" creationId="{E5BC670F-F571-4F9E-660A-B3E6544D4BBD}"/>
          </ac:picMkLst>
        </pc:picChg>
        <pc:picChg chg="add mod">
          <ac:chgData name="LYNAGH Connor" userId="6ba16826-a125-4f68-ab5d-84bd7aab3e00" providerId="ADAL" clId="{F0FE71C6-F0BC-4E6D-A81C-4E62D06AB176}" dt="2024-04-03T08:46:47.702" v="2256" actId="1076"/>
          <ac:picMkLst>
            <pc:docMk/>
            <pc:sldMk cId="1696009716" sldId="2147477851"/>
            <ac:picMk id="9" creationId="{0DC5DBE9-772C-FCF0-2983-FD3B76343317}"/>
          </ac:picMkLst>
        </pc:picChg>
        <pc:picChg chg="add del mod">
          <ac:chgData name="LYNAGH Connor" userId="6ba16826-a125-4f68-ab5d-84bd7aab3e00" providerId="ADAL" clId="{F0FE71C6-F0BC-4E6D-A81C-4E62D06AB176}" dt="2024-04-01T18:26:08.514" v="2182" actId="478"/>
          <ac:picMkLst>
            <pc:docMk/>
            <pc:sldMk cId="1696009716" sldId="2147477851"/>
            <ac:picMk id="9" creationId="{E3E5B748-2991-8B81-7A2D-20783276168B}"/>
          </ac:picMkLst>
        </pc:picChg>
        <pc:picChg chg="add mod">
          <ac:chgData name="LYNAGH Connor" userId="6ba16826-a125-4f68-ab5d-84bd7aab3e00" providerId="ADAL" clId="{F0FE71C6-F0BC-4E6D-A81C-4E62D06AB176}" dt="2024-04-01T18:09:19.681" v="2129" actId="14100"/>
          <ac:picMkLst>
            <pc:docMk/>
            <pc:sldMk cId="1696009716" sldId="2147477851"/>
            <ac:picMk id="10" creationId="{CE6D5F18-AAB7-EFDD-2B7A-2941BF7DDBDA}"/>
          </ac:picMkLst>
        </pc:picChg>
        <pc:picChg chg="add mod">
          <ac:chgData name="LYNAGH Connor" userId="6ba16826-a125-4f68-ab5d-84bd7aab3e00" providerId="ADAL" clId="{F0FE71C6-F0BC-4E6D-A81C-4E62D06AB176}" dt="2024-04-01T18:26:24.064" v="2192" actId="12788"/>
          <ac:picMkLst>
            <pc:docMk/>
            <pc:sldMk cId="1696009716" sldId="2147477851"/>
            <ac:picMk id="11" creationId="{ED1C9BD9-0B0E-F4C1-24D9-30EF10217E98}"/>
          </ac:picMkLst>
        </pc:picChg>
      </pc:sldChg>
      <pc:sldChg chg="del">
        <pc:chgData name="LYNAGH Connor" userId="6ba16826-a125-4f68-ab5d-84bd7aab3e00" providerId="ADAL" clId="{F0FE71C6-F0BC-4E6D-A81C-4E62D06AB176}" dt="2024-04-01T15:59:51.981" v="13" actId="47"/>
        <pc:sldMkLst>
          <pc:docMk/>
          <pc:sldMk cId="3690951795" sldId="2147477858"/>
        </pc:sldMkLst>
      </pc:sldChg>
      <pc:sldChg chg="del">
        <pc:chgData name="LYNAGH Connor" userId="6ba16826-a125-4f68-ab5d-84bd7aab3e00" providerId="ADAL" clId="{F0FE71C6-F0BC-4E6D-A81C-4E62D06AB176}" dt="2024-04-01T15:59:27.236" v="12" actId="47"/>
        <pc:sldMkLst>
          <pc:docMk/>
          <pc:sldMk cId="182253042" sldId="2147477868"/>
        </pc:sldMkLst>
      </pc:sldChg>
      <pc:sldChg chg="del">
        <pc:chgData name="LYNAGH Connor" userId="6ba16826-a125-4f68-ab5d-84bd7aab3e00" providerId="ADAL" clId="{F0FE71C6-F0BC-4E6D-A81C-4E62D06AB176}" dt="2024-04-01T15:59:52.823" v="14" actId="47"/>
        <pc:sldMkLst>
          <pc:docMk/>
          <pc:sldMk cId="3607068482" sldId="2147477869"/>
        </pc:sldMkLst>
      </pc:sldChg>
      <pc:sldChg chg="del">
        <pc:chgData name="LYNAGH Connor" userId="6ba16826-a125-4f68-ab5d-84bd7aab3e00" providerId="ADAL" clId="{F0FE71C6-F0BC-4E6D-A81C-4E62D06AB176}" dt="2024-04-01T16:00:36.424" v="21" actId="47"/>
        <pc:sldMkLst>
          <pc:docMk/>
          <pc:sldMk cId="2398272067" sldId="2147477870"/>
        </pc:sldMkLst>
      </pc:sldChg>
      <pc:sldChg chg="del">
        <pc:chgData name="LYNAGH Connor" userId="6ba16826-a125-4f68-ab5d-84bd7aab3e00" providerId="ADAL" clId="{F0FE71C6-F0BC-4E6D-A81C-4E62D06AB176}" dt="2024-04-01T16:00:11.943" v="18" actId="47"/>
        <pc:sldMkLst>
          <pc:docMk/>
          <pc:sldMk cId="1067199867" sldId="2147477871"/>
        </pc:sldMkLst>
      </pc:sldChg>
      <pc:sldChg chg="del">
        <pc:chgData name="LYNAGH Connor" userId="6ba16826-a125-4f68-ab5d-84bd7aab3e00" providerId="ADAL" clId="{F0FE71C6-F0BC-4E6D-A81C-4E62D06AB176}" dt="2024-04-01T16:15:46.598" v="651" actId="47"/>
        <pc:sldMkLst>
          <pc:docMk/>
          <pc:sldMk cId="3722701794" sldId="2147477872"/>
        </pc:sldMkLst>
      </pc:sldChg>
      <pc:sldChg chg="add ord">
        <pc:chgData name="LYNAGH Connor" userId="6ba16826-a125-4f68-ab5d-84bd7aab3e00" providerId="ADAL" clId="{F0FE71C6-F0BC-4E6D-A81C-4E62D06AB176}" dt="2024-04-01T16:12:29.950" v="605"/>
        <pc:sldMkLst>
          <pc:docMk/>
          <pc:sldMk cId="1391757880" sldId="2147477882"/>
        </pc:sldMkLst>
      </pc:sldChg>
      <pc:sldChg chg="add del">
        <pc:chgData name="LYNAGH Connor" userId="6ba16826-a125-4f68-ab5d-84bd7aab3e00" providerId="ADAL" clId="{F0FE71C6-F0BC-4E6D-A81C-4E62D06AB176}" dt="2024-04-01T16:05:00.262" v="102" actId="2696"/>
        <pc:sldMkLst>
          <pc:docMk/>
          <pc:sldMk cId="4071202417" sldId="2147477882"/>
        </pc:sldMkLst>
      </pc:sldChg>
      <pc:sldChg chg="add">
        <pc:chgData name="LYNAGH Connor" userId="6ba16826-a125-4f68-ab5d-84bd7aab3e00" providerId="ADAL" clId="{F0FE71C6-F0BC-4E6D-A81C-4E62D06AB176}" dt="2024-04-01T15:59:17.427" v="11"/>
        <pc:sldMkLst>
          <pc:docMk/>
          <pc:sldMk cId="2195703410" sldId="2147477888"/>
        </pc:sldMkLst>
      </pc:sldChg>
      <pc:sldChg chg="modSp add mod">
        <pc:chgData name="LYNAGH Connor" userId="6ba16826-a125-4f68-ab5d-84bd7aab3e00" providerId="ADAL" clId="{F0FE71C6-F0BC-4E6D-A81C-4E62D06AB176}" dt="2024-04-07T20:17:06.492" v="4061" actId="27918"/>
        <pc:sldMkLst>
          <pc:docMk/>
          <pc:sldMk cId="4163255871" sldId="2147477889"/>
        </pc:sldMkLst>
        <pc:spChg chg="mod">
          <ac:chgData name="LYNAGH Connor" userId="6ba16826-a125-4f68-ab5d-84bd7aab3e00" providerId="ADAL" clId="{F0FE71C6-F0BC-4E6D-A81C-4E62D06AB176}" dt="2024-04-01T15:59:54.695" v="16" actId="27636"/>
          <ac:spMkLst>
            <pc:docMk/>
            <pc:sldMk cId="4163255871" sldId="2147477889"/>
            <ac:spMk id="4" creationId="{63E7DFF6-3C33-41F0-F2E0-F212816D560A}"/>
          </ac:spMkLst>
        </pc:spChg>
        <pc:spChg chg="mod">
          <ac:chgData name="LYNAGH Connor" userId="6ba16826-a125-4f68-ab5d-84bd7aab3e00" providerId="ADAL" clId="{F0FE71C6-F0BC-4E6D-A81C-4E62D06AB176}" dt="2024-04-01T15:59:54.696" v="17" actId="27636"/>
          <ac:spMkLst>
            <pc:docMk/>
            <pc:sldMk cId="4163255871" sldId="2147477889"/>
            <ac:spMk id="10" creationId="{B360B958-FF88-101D-2C1B-74A23395B7E9}"/>
          </ac:spMkLst>
        </pc:spChg>
      </pc:sldChg>
      <pc:sldChg chg="add mod">
        <pc:chgData name="LYNAGH Connor" userId="6ba16826-a125-4f68-ab5d-84bd7aab3e00" providerId="ADAL" clId="{F0FE71C6-F0BC-4E6D-A81C-4E62D06AB176}" dt="2024-04-07T20:01:21.700" v="4026" actId="27918"/>
        <pc:sldMkLst>
          <pc:docMk/>
          <pc:sldMk cId="3607068482" sldId="2147477890"/>
        </pc:sldMkLst>
      </pc:sldChg>
      <pc:sldChg chg="delSp modSp add mod">
        <pc:chgData name="LYNAGH Connor" userId="6ba16826-a125-4f68-ab5d-84bd7aab3e00" providerId="ADAL" clId="{F0FE71C6-F0BC-4E6D-A81C-4E62D06AB176}" dt="2024-04-03T08:51:56.576" v="2286" actId="20577"/>
        <pc:sldMkLst>
          <pc:docMk/>
          <pc:sldMk cId="1010907811" sldId="2147477891"/>
        </pc:sldMkLst>
        <pc:spChg chg="mod">
          <ac:chgData name="LYNAGH Connor" userId="6ba16826-a125-4f68-ab5d-84bd7aab3e00" providerId="ADAL" clId="{F0FE71C6-F0BC-4E6D-A81C-4E62D06AB176}" dt="2024-04-01T16:00:32.839" v="20"/>
          <ac:spMkLst>
            <pc:docMk/>
            <pc:sldMk cId="1010907811" sldId="2147477891"/>
            <ac:spMk id="2" creationId="{005573DA-A46E-C10D-72A7-F4E26890EB26}"/>
          </ac:spMkLst>
        </pc:spChg>
        <pc:spChg chg="mod">
          <ac:chgData name="LYNAGH Connor" userId="6ba16826-a125-4f68-ab5d-84bd7aab3e00" providerId="ADAL" clId="{F0FE71C6-F0BC-4E6D-A81C-4E62D06AB176}" dt="2024-04-03T08:51:50.872" v="2284" actId="20577"/>
          <ac:spMkLst>
            <pc:docMk/>
            <pc:sldMk cId="1010907811" sldId="2147477891"/>
            <ac:spMk id="16" creationId="{F1D78355-C177-4E7E-D8FE-B7C9996C596E}"/>
          </ac:spMkLst>
        </pc:spChg>
        <pc:spChg chg="mod">
          <ac:chgData name="LYNAGH Connor" userId="6ba16826-a125-4f68-ab5d-84bd7aab3e00" providerId="ADAL" clId="{F0FE71C6-F0BC-4E6D-A81C-4E62D06AB176}" dt="2024-04-03T08:51:56.576" v="2286" actId="20577"/>
          <ac:spMkLst>
            <pc:docMk/>
            <pc:sldMk cId="1010907811" sldId="2147477891"/>
            <ac:spMk id="17" creationId="{F406C93B-F4CC-79F8-3C6D-E0413076BF0E}"/>
          </ac:spMkLst>
        </pc:spChg>
        <pc:spChg chg="del">
          <ac:chgData name="LYNAGH Connor" userId="6ba16826-a125-4f68-ab5d-84bd7aab3e00" providerId="ADAL" clId="{F0FE71C6-F0BC-4E6D-A81C-4E62D06AB176}" dt="2024-04-03T08:50:46.973" v="2266" actId="478"/>
          <ac:spMkLst>
            <pc:docMk/>
            <pc:sldMk cId="1010907811" sldId="2147477891"/>
            <ac:spMk id="23" creationId="{3EC65022-B633-436D-6638-EFC9497FC993}"/>
          </ac:spMkLst>
        </pc:spChg>
        <pc:graphicFrameChg chg="mod">
          <ac:chgData name="LYNAGH Connor" userId="6ba16826-a125-4f68-ab5d-84bd7aab3e00" providerId="ADAL" clId="{F0FE71C6-F0BC-4E6D-A81C-4E62D06AB176}" dt="2024-04-03T08:51:45.982" v="2280" actId="1076"/>
          <ac:graphicFrameMkLst>
            <pc:docMk/>
            <pc:sldMk cId="1010907811" sldId="2147477891"/>
            <ac:graphicFrameMk id="14" creationId="{3EA952C5-6B73-75F6-D95E-F2365890A809}"/>
          </ac:graphicFrameMkLst>
        </pc:graphicFrameChg>
        <pc:graphicFrameChg chg="del">
          <ac:chgData name="LYNAGH Connor" userId="6ba16826-a125-4f68-ab5d-84bd7aab3e00" providerId="ADAL" clId="{F0FE71C6-F0BC-4E6D-A81C-4E62D06AB176}" dt="2024-04-03T08:50:46.973" v="2266" actId="478"/>
          <ac:graphicFrameMkLst>
            <pc:docMk/>
            <pc:sldMk cId="1010907811" sldId="2147477891"/>
            <ac:graphicFrameMk id="18" creationId="{6F5A583F-EE7B-F522-3E41-F3AFA8B09CF7}"/>
          </ac:graphicFrameMkLst>
        </pc:graphicFrameChg>
      </pc:sldChg>
      <pc:sldChg chg="addSp delSp modSp new mod ord modClrScheme chgLayout">
        <pc:chgData name="LYNAGH Connor" userId="6ba16826-a125-4f68-ab5d-84bd7aab3e00" providerId="ADAL" clId="{F0FE71C6-F0BC-4E6D-A81C-4E62D06AB176}" dt="2024-04-01T17:27:02.078" v="1739" actId="478"/>
        <pc:sldMkLst>
          <pc:docMk/>
          <pc:sldMk cId="820604468" sldId="2147477892"/>
        </pc:sldMkLst>
        <pc:spChg chg="del">
          <ac:chgData name="LYNAGH Connor" userId="6ba16826-a125-4f68-ab5d-84bd7aab3e00" providerId="ADAL" clId="{F0FE71C6-F0BC-4E6D-A81C-4E62D06AB176}" dt="2024-04-01T16:08:19.475" v="368" actId="478"/>
          <ac:spMkLst>
            <pc:docMk/>
            <pc:sldMk cId="820604468" sldId="2147477892"/>
            <ac:spMk id="2" creationId="{B5A6C90E-5CCB-3CD3-0DE4-265B09E0560E}"/>
          </ac:spMkLst>
        </pc:spChg>
        <pc:spChg chg="mod ord">
          <ac:chgData name="LYNAGH Connor" userId="6ba16826-a125-4f68-ab5d-84bd7aab3e00" providerId="ADAL" clId="{F0FE71C6-F0BC-4E6D-A81C-4E62D06AB176}" dt="2024-04-01T17:26:50.346" v="1712" actId="27636"/>
          <ac:spMkLst>
            <pc:docMk/>
            <pc:sldMk cId="820604468" sldId="2147477892"/>
            <ac:spMk id="3" creationId="{01A879F5-35B9-E9CC-5DF7-79F65EB667D8}"/>
          </ac:spMkLst>
        </pc:spChg>
        <pc:spChg chg="del">
          <ac:chgData name="LYNAGH Connor" userId="6ba16826-a125-4f68-ab5d-84bd7aab3e00" providerId="ADAL" clId="{F0FE71C6-F0BC-4E6D-A81C-4E62D06AB176}" dt="2024-04-01T16:08:18.674" v="367" actId="478"/>
          <ac:spMkLst>
            <pc:docMk/>
            <pc:sldMk cId="820604468" sldId="2147477892"/>
            <ac:spMk id="4" creationId="{D17ECCF7-AE78-3FFB-2DAA-B5B5C01112EF}"/>
          </ac:spMkLst>
        </pc:spChg>
        <pc:spChg chg="add del mod ord">
          <ac:chgData name="LYNAGH Connor" userId="6ba16826-a125-4f68-ab5d-84bd7aab3e00" providerId="ADAL" clId="{F0FE71C6-F0BC-4E6D-A81C-4E62D06AB176}" dt="2024-04-01T17:26:39.944" v="1708" actId="700"/>
          <ac:spMkLst>
            <pc:docMk/>
            <pc:sldMk cId="820604468" sldId="2147477892"/>
            <ac:spMk id="5" creationId="{7496461F-ED92-0C1B-FADA-8AC37EB02BB4}"/>
          </ac:spMkLst>
        </pc:spChg>
        <pc:spChg chg="add del mod ord">
          <ac:chgData name="LYNAGH Connor" userId="6ba16826-a125-4f68-ab5d-84bd7aab3e00" providerId="ADAL" clId="{F0FE71C6-F0BC-4E6D-A81C-4E62D06AB176}" dt="2024-04-01T17:26:39.944" v="1708" actId="700"/>
          <ac:spMkLst>
            <pc:docMk/>
            <pc:sldMk cId="820604468" sldId="2147477892"/>
            <ac:spMk id="6" creationId="{7E802F98-3F08-4DBE-1601-BEECDD3F5F4D}"/>
          </ac:spMkLst>
        </pc:spChg>
        <pc:spChg chg="add mod ord">
          <ac:chgData name="LYNAGH Connor" userId="6ba16826-a125-4f68-ab5d-84bd7aab3e00" providerId="ADAL" clId="{F0FE71C6-F0BC-4E6D-A81C-4E62D06AB176}" dt="2024-04-01T17:26:56.551" v="1738" actId="20577"/>
          <ac:spMkLst>
            <pc:docMk/>
            <pc:sldMk cId="820604468" sldId="2147477892"/>
            <ac:spMk id="7" creationId="{928CFABD-BD70-E110-B075-80C2D2FD287C}"/>
          </ac:spMkLst>
        </pc:spChg>
        <pc:spChg chg="add del mod ord">
          <ac:chgData name="LYNAGH Connor" userId="6ba16826-a125-4f68-ab5d-84bd7aab3e00" providerId="ADAL" clId="{F0FE71C6-F0BC-4E6D-A81C-4E62D06AB176}" dt="2024-04-01T17:27:02.078" v="1739" actId="478"/>
          <ac:spMkLst>
            <pc:docMk/>
            <pc:sldMk cId="820604468" sldId="2147477892"/>
            <ac:spMk id="8" creationId="{19196BF8-4879-97D1-DC28-954549B81ABB}"/>
          </ac:spMkLst>
        </pc:spChg>
      </pc:sldChg>
      <pc:sldChg chg="modSp add mod">
        <pc:chgData name="LYNAGH Connor" userId="6ba16826-a125-4f68-ab5d-84bd7aab3e00" providerId="ADAL" clId="{F0FE71C6-F0BC-4E6D-A81C-4E62D06AB176}" dt="2024-04-01T16:16:30.806" v="738" actId="6549"/>
        <pc:sldMkLst>
          <pc:docMk/>
          <pc:sldMk cId="2295909979" sldId="2147477893"/>
        </pc:sldMkLst>
        <pc:spChg chg="mod">
          <ac:chgData name="LYNAGH Connor" userId="6ba16826-a125-4f68-ab5d-84bd7aab3e00" providerId="ADAL" clId="{F0FE71C6-F0BC-4E6D-A81C-4E62D06AB176}" dt="2024-04-01T16:16:30.806" v="738" actId="6549"/>
          <ac:spMkLst>
            <pc:docMk/>
            <pc:sldMk cId="2295909979" sldId="2147477893"/>
            <ac:spMk id="2" creationId="{D5E3AE7C-A77E-FEEF-FDCA-6E43558DEA00}"/>
          </ac:spMkLst>
        </pc:spChg>
      </pc:sldChg>
      <pc:sldChg chg="addSp delSp modSp add mod ord modClrScheme chgLayout modNotesTx">
        <pc:chgData name="LYNAGH Connor" userId="6ba16826-a125-4f68-ab5d-84bd7aab3e00" providerId="ADAL" clId="{F0FE71C6-F0BC-4E6D-A81C-4E62D06AB176}" dt="2024-04-07T19:57:13.903" v="4014" actId="20577"/>
        <pc:sldMkLst>
          <pc:docMk/>
          <pc:sldMk cId="1993530015" sldId="2147477899"/>
        </pc:sldMkLst>
        <pc:spChg chg="mod ord">
          <ac:chgData name="LYNAGH Connor" userId="6ba16826-a125-4f68-ab5d-84bd7aab3e00" providerId="ADAL" clId="{F0FE71C6-F0BC-4E6D-A81C-4E62D06AB176}" dt="2024-04-01T16:36:29.810" v="1097" actId="700"/>
          <ac:spMkLst>
            <pc:docMk/>
            <pc:sldMk cId="1993530015" sldId="2147477899"/>
            <ac:spMk id="2" creationId="{3C9CEC97-1FE5-74C5-5AF3-5FAEC3F0A051}"/>
          </ac:spMkLst>
        </pc:spChg>
        <pc:spChg chg="mod">
          <ac:chgData name="LYNAGH Connor" userId="6ba16826-a125-4f68-ab5d-84bd7aab3e00" providerId="ADAL" clId="{F0FE71C6-F0BC-4E6D-A81C-4E62D06AB176}" dt="2024-04-01T16:36:49.923" v="1103" actId="1076"/>
          <ac:spMkLst>
            <pc:docMk/>
            <pc:sldMk cId="1993530015" sldId="2147477899"/>
            <ac:spMk id="3" creationId="{FE0BAC41-F8DC-4773-0AEC-CFA9ECEF6348}"/>
          </ac:spMkLst>
        </pc:spChg>
        <pc:spChg chg="mod">
          <ac:chgData name="LYNAGH Connor" userId="6ba16826-a125-4f68-ab5d-84bd7aab3e00" providerId="ADAL" clId="{F0FE71C6-F0BC-4E6D-A81C-4E62D06AB176}" dt="2024-04-01T16:34:47.567" v="1044" actId="1076"/>
          <ac:spMkLst>
            <pc:docMk/>
            <pc:sldMk cId="1993530015" sldId="2147477899"/>
            <ac:spMk id="5" creationId="{B6016232-4D4C-0F66-38D2-4D4873CDB979}"/>
          </ac:spMkLst>
        </pc:spChg>
        <pc:spChg chg="add mod">
          <ac:chgData name="LYNAGH Connor" userId="6ba16826-a125-4f68-ab5d-84bd7aab3e00" providerId="ADAL" clId="{F0FE71C6-F0BC-4E6D-A81C-4E62D06AB176}" dt="2024-04-03T08:53:25.606" v="2293" actId="1076"/>
          <ac:spMkLst>
            <pc:docMk/>
            <pc:sldMk cId="1993530015" sldId="2147477899"/>
            <ac:spMk id="8" creationId="{BD4F0FCF-2B5D-53C9-3CCA-97CB5F86346B}"/>
          </ac:spMkLst>
        </pc:spChg>
        <pc:spChg chg="add mod">
          <ac:chgData name="LYNAGH Connor" userId="6ba16826-a125-4f68-ab5d-84bd7aab3e00" providerId="ADAL" clId="{F0FE71C6-F0BC-4E6D-A81C-4E62D06AB176}" dt="2024-04-03T08:58:36.326" v="2297" actId="1076"/>
          <ac:spMkLst>
            <pc:docMk/>
            <pc:sldMk cId="1993530015" sldId="2147477899"/>
            <ac:spMk id="9" creationId="{D605F61B-895D-6A59-034D-7DA10CE0CFA3}"/>
          </ac:spMkLst>
        </pc:spChg>
        <pc:spChg chg="add mod">
          <ac:chgData name="LYNAGH Connor" userId="6ba16826-a125-4f68-ab5d-84bd7aab3e00" providerId="ADAL" clId="{F0FE71C6-F0BC-4E6D-A81C-4E62D06AB176}" dt="2024-04-01T16:37:57.683" v="1227" actId="404"/>
          <ac:spMkLst>
            <pc:docMk/>
            <pc:sldMk cId="1993530015" sldId="2147477899"/>
            <ac:spMk id="10" creationId="{C5A4960B-9275-CF6C-A947-449F8F4E0257}"/>
          </ac:spMkLst>
        </pc:spChg>
        <pc:spChg chg="add mod">
          <ac:chgData name="LYNAGH Connor" userId="6ba16826-a125-4f68-ab5d-84bd7aab3e00" providerId="ADAL" clId="{F0FE71C6-F0BC-4E6D-A81C-4E62D06AB176}" dt="2024-04-03T08:53:25.606" v="2293" actId="1076"/>
          <ac:spMkLst>
            <pc:docMk/>
            <pc:sldMk cId="1993530015" sldId="2147477899"/>
            <ac:spMk id="11" creationId="{DCECE495-901D-DD32-C860-2A212332FA92}"/>
          </ac:spMkLst>
        </pc:spChg>
        <pc:spChg chg="add mod">
          <ac:chgData name="LYNAGH Connor" userId="6ba16826-a125-4f68-ab5d-84bd7aab3e00" providerId="ADAL" clId="{F0FE71C6-F0BC-4E6D-A81C-4E62D06AB176}" dt="2024-04-01T16:34:47.567" v="1044" actId="1076"/>
          <ac:spMkLst>
            <pc:docMk/>
            <pc:sldMk cId="1993530015" sldId="2147477899"/>
            <ac:spMk id="12" creationId="{CF3AA986-0F2E-450A-4D5E-8CA6413207E4}"/>
          </ac:spMkLst>
        </pc:spChg>
        <pc:spChg chg="mod">
          <ac:chgData name="LYNAGH Connor" userId="6ba16826-a125-4f68-ab5d-84bd7aab3e00" providerId="ADAL" clId="{F0FE71C6-F0BC-4E6D-A81C-4E62D06AB176}" dt="2024-04-01T16:38:49.332" v="1234" actId="403"/>
          <ac:spMkLst>
            <pc:docMk/>
            <pc:sldMk cId="1993530015" sldId="2147477899"/>
            <ac:spMk id="16" creationId="{D0E22806-CAF5-47AF-9C2E-283EBBF7DDCF}"/>
          </ac:spMkLst>
        </pc:spChg>
        <pc:spChg chg="del">
          <ac:chgData name="LYNAGH Connor" userId="6ba16826-a125-4f68-ab5d-84bd7aab3e00" providerId="ADAL" clId="{F0FE71C6-F0BC-4E6D-A81C-4E62D06AB176}" dt="2024-04-01T16:34:33.886" v="1042" actId="478"/>
          <ac:spMkLst>
            <pc:docMk/>
            <pc:sldMk cId="1993530015" sldId="2147477899"/>
            <ac:spMk id="18" creationId="{F070B675-FAF8-D038-794E-93CCB722AF4A}"/>
          </ac:spMkLst>
        </pc:spChg>
        <pc:spChg chg="del">
          <ac:chgData name="LYNAGH Connor" userId="6ba16826-a125-4f68-ab5d-84bd7aab3e00" providerId="ADAL" clId="{F0FE71C6-F0BC-4E6D-A81C-4E62D06AB176}" dt="2024-04-01T16:34:33.886" v="1042" actId="478"/>
          <ac:spMkLst>
            <pc:docMk/>
            <pc:sldMk cId="1993530015" sldId="2147477899"/>
            <ac:spMk id="19" creationId="{82452B96-4995-CE26-998D-6256381170F7}"/>
          </ac:spMkLst>
        </pc:spChg>
        <pc:spChg chg="del">
          <ac:chgData name="LYNAGH Connor" userId="6ba16826-a125-4f68-ab5d-84bd7aab3e00" providerId="ADAL" clId="{F0FE71C6-F0BC-4E6D-A81C-4E62D06AB176}" dt="2024-04-01T16:34:33.886" v="1042" actId="478"/>
          <ac:spMkLst>
            <pc:docMk/>
            <pc:sldMk cId="1993530015" sldId="2147477899"/>
            <ac:spMk id="20" creationId="{A8ABCA7F-CA8F-767B-89EF-99F37EC29831}"/>
          </ac:spMkLst>
        </pc:spChg>
        <pc:spChg chg="del">
          <ac:chgData name="LYNAGH Connor" userId="6ba16826-a125-4f68-ab5d-84bd7aab3e00" providerId="ADAL" clId="{F0FE71C6-F0BC-4E6D-A81C-4E62D06AB176}" dt="2024-04-01T16:34:33.886" v="1042" actId="478"/>
          <ac:spMkLst>
            <pc:docMk/>
            <pc:sldMk cId="1993530015" sldId="2147477899"/>
            <ac:spMk id="21" creationId="{A5C62561-BE33-AA1B-32AD-BBBDB48F5888}"/>
          </ac:spMkLst>
        </pc:spChg>
        <pc:spChg chg="del">
          <ac:chgData name="LYNAGH Connor" userId="6ba16826-a125-4f68-ab5d-84bd7aab3e00" providerId="ADAL" clId="{F0FE71C6-F0BC-4E6D-A81C-4E62D06AB176}" dt="2024-04-01T16:34:33.886" v="1042" actId="478"/>
          <ac:spMkLst>
            <pc:docMk/>
            <pc:sldMk cId="1993530015" sldId="2147477899"/>
            <ac:spMk id="22" creationId="{30F5EE0D-8A6D-EEDD-232E-20FFF65053A2}"/>
          </ac:spMkLst>
        </pc:spChg>
        <pc:spChg chg="add del mod ord">
          <ac:chgData name="LYNAGH Connor" userId="6ba16826-a125-4f68-ab5d-84bd7aab3e00" providerId="ADAL" clId="{F0FE71C6-F0BC-4E6D-A81C-4E62D06AB176}" dt="2024-04-01T16:36:41.659" v="1102" actId="478"/>
          <ac:spMkLst>
            <pc:docMk/>
            <pc:sldMk cId="1993530015" sldId="2147477899"/>
            <ac:spMk id="24" creationId="{FF4E82D4-9E23-7B73-AA6E-C6AA85C8BCB1}"/>
          </ac:spMkLst>
        </pc:spChg>
        <pc:spChg chg="add mod ord">
          <ac:chgData name="LYNAGH Connor" userId="6ba16826-a125-4f68-ab5d-84bd7aab3e00" providerId="ADAL" clId="{F0FE71C6-F0BC-4E6D-A81C-4E62D06AB176}" dt="2024-04-01T16:37:41.204" v="1218" actId="20577"/>
          <ac:spMkLst>
            <pc:docMk/>
            <pc:sldMk cId="1993530015" sldId="2147477899"/>
            <ac:spMk id="25" creationId="{516EC40A-3773-28B2-DE0E-37197983D811}"/>
          </ac:spMkLst>
        </pc:spChg>
        <pc:spChg chg="add del mod ord">
          <ac:chgData name="LYNAGH Connor" userId="6ba16826-a125-4f68-ab5d-84bd7aab3e00" providerId="ADAL" clId="{F0FE71C6-F0BC-4E6D-A81C-4E62D06AB176}" dt="2024-04-01T16:36:33.238" v="1098" actId="478"/>
          <ac:spMkLst>
            <pc:docMk/>
            <pc:sldMk cId="1993530015" sldId="2147477899"/>
            <ac:spMk id="26" creationId="{CAB765F6-FDA2-9E75-3ADB-E96CFFC7BCA2}"/>
          </ac:spMkLst>
        </pc:spChg>
        <pc:spChg chg="add del mod ord">
          <ac:chgData name="LYNAGH Connor" userId="6ba16826-a125-4f68-ab5d-84bd7aab3e00" providerId="ADAL" clId="{F0FE71C6-F0BC-4E6D-A81C-4E62D06AB176}" dt="2024-04-01T16:36:35.370" v="1099" actId="478"/>
          <ac:spMkLst>
            <pc:docMk/>
            <pc:sldMk cId="1993530015" sldId="2147477899"/>
            <ac:spMk id="27" creationId="{75402746-1659-2DF6-FF6D-B64A8B3E9E42}"/>
          </ac:spMkLst>
        </pc:spChg>
        <pc:spChg chg="add mod ord">
          <ac:chgData name="LYNAGH Connor" userId="6ba16826-a125-4f68-ab5d-84bd7aab3e00" providerId="ADAL" clId="{F0FE71C6-F0BC-4E6D-A81C-4E62D06AB176}" dt="2024-04-01T16:37:48.774" v="1226" actId="20577"/>
          <ac:spMkLst>
            <pc:docMk/>
            <pc:sldMk cId="1993530015" sldId="2147477899"/>
            <ac:spMk id="28" creationId="{9F664F57-ED2F-FB8A-5385-DA8F60EE9D25}"/>
          </ac:spMkLst>
        </pc:spChg>
        <pc:spChg chg="mod">
          <ac:chgData name="LYNAGH Connor" userId="6ba16826-a125-4f68-ab5d-84bd7aab3e00" providerId="ADAL" clId="{F0FE71C6-F0BC-4E6D-A81C-4E62D06AB176}" dt="2024-04-01T16:38:49.332" v="1234" actId="403"/>
          <ac:spMkLst>
            <pc:docMk/>
            <pc:sldMk cId="1993530015" sldId="2147477899"/>
            <ac:spMk id="30" creationId="{4D46AAE9-01D4-819E-3FAE-789298FD52DA}"/>
          </ac:spMkLst>
        </pc:spChg>
        <pc:spChg chg="add del mod ord">
          <ac:chgData name="LYNAGH Connor" userId="6ba16826-a125-4f68-ab5d-84bd7aab3e00" providerId="ADAL" clId="{F0FE71C6-F0BC-4E6D-A81C-4E62D06AB176}" dt="2024-04-01T16:36:39.082" v="1101" actId="478"/>
          <ac:spMkLst>
            <pc:docMk/>
            <pc:sldMk cId="1993530015" sldId="2147477899"/>
            <ac:spMk id="37" creationId="{5FF7E9A5-F42F-3E09-8C3C-99CF361DB140}"/>
          </ac:spMkLst>
        </pc:spChg>
        <pc:spChg chg="add del mod ord">
          <ac:chgData name="LYNAGH Connor" userId="6ba16826-a125-4f68-ab5d-84bd7aab3e00" providerId="ADAL" clId="{F0FE71C6-F0BC-4E6D-A81C-4E62D06AB176}" dt="2024-04-01T16:36:36.973" v="1100" actId="478"/>
          <ac:spMkLst>
            <pc:docMk/>
            <pc:sldMk cId="1993530015" sldId="2147477899"/>
            <ac:spMk id="38" creationId="{6B39AD27-ABF7-E919-A6EC-35F60B3454D7}"/>
          </ac:spMkLst>
        </pc:spChg>
        <pc:spChg chg="del">
          <ac:chgData name="LYNAGH Connor" userId="6ba16826-a125-4f68-ab5d-84bd7aab3e00" providerId="ADAL" clId="{F0FE71C6-F0BC-4E6D-A81C-4E62D06AB176}" dt="2024-04-01T16:34:08.750" v="1038" actId="478"/>
          <ac:spMkLst>
            <pc:docMk/>
            <pc:sldMk cId="1993530015" sldId="2147477899"/>
            <ac:spMk id="41" creationId="{ADB2F2DD-F7DD-6D31-6C52-BF79D547BD85}"/>
          </ac:spMkLst>
        </pc:spChg>
        <pc:spChg chg="del mod">
          <ac:chgData name="LYNAGH Connor" userId="6ba16826-a125-4f68-ab5d-84bd7aab3e00" providerId="ADAL" clId="{F0FE71C6-F0BC-4E6D-A81C-4E62D06AB176}" dt="2024-04-01T16:34:11.400" v="1041" actId="478"/>
          <ac:spMkLst>
            <pc:docMk/>
            <pc:sldMk cId="1993530015" sldId="2147477899"/>
            <ac:spMk id="42" creationId="{D8AC9D42-B963-5363-F583-03CCD5F99C67}"/>
          </ac:spMkLst>
        </pc:spChg>
        <pc:spChg chg="del">
          <ac:chgData name="LYNAGH Connor" userId="6ba16826-a125-4f68-ab5d-84bd7aab3e00" providerId="ADAL" clId="{F0FE71C6-F0BC-4E6D-A81C-4E62D06AB176}" dt="2024-04-01T16:34:33.886" v="1042" actId="478"/>
          <ac:spMkLst>
            <pc:docMk/>
            <pc:sldMk cId="1993530015" sldId="2147477899"/>
            <ac:spMk id="43" creationId="{8DE38599-F4F4-9319-EFFB-B6418CD828F3}"/>
          </ac:spMkLst>
        </pc:spChg>
        <pc:spChg chg="mod">
          <ac:chgData name="LYNAGH Connor" userId="6ba16826-a125-4f68-ab5d-84bd7aab3e00" providerId="ADAL" clId="{F0FE71C6-F0BC-4E6D-A81C-4E62D06AB176}" dt="2024-04-01T16:36:49.923" v="1103" actId="1076"/>
          <ac:spMkLst>
            <pc:docMk/>
            <pc:sldMk cId="1993530015" sldId="2147477899"/>
            <ac:spMk id="47" creationId="{1CC8472E-6DA1-2FC9-79BB-48EF51F8479C}"/>
          </ac:spMkLst>
        </pc:spChg>
        <pc:spChg chg="mod">
          <ac:chgData name="LYNAGH Connor" userId="6ba16826-a125-4f68-ab5d-84bd7aab3e00" providerId="ADAL" clId="{F0FE71C6-F0BC-4E6D-A81C-4E62D06AB176}" dt="2024-04-01T16:38:58.753" v="1236" actId="403"/>
          <ac:spMkLst>
            <pc:docMk/>
            <pc:sldMk cId="1993530015" sldId="2147477899"/>
            <ac:spMk id="48" creationId="{60C26FF7-9033-829B-A691-9407D9A2452E}"/>
          </ac:spMkLst>
        </pc:spChg>
        <pc:spChg chg="mod">
          <ac:chgData name="LYNAGH Connor" userId="6ba16826-a125-4f68-ab5d-84bd7aab3e00" providerId="ADAL" clId="{F0FE71C6-F0BC-4E6D-A81C-4E62D06AB176}" dt="2024-04-01T16:38:58.753" v="1236" actId="403"/>
          <ac:spMkLst>
            <pc:docMk/>
            <pc:sldMk cId="1993530015" sldId="2147477899"/>
            <ac:spMk id="49" creationId="{0B2CC5AD-1DD5-FAFE-A91C-98CCD103FF0A}"/>
          </ac:spMkLst>
        </pc:spChg>
        <pc:spChg chg="mod">
          <ac:chgData name="LYNAGH Connor" userId="6ba16826-a125-4f68-ab5d-84bd7aab3e00" providerId="ADAL" clId="{F0FE71C6-F0BC-4E6D-A81C-4E62D06AB176}" dt="2024-04-01T16:38:58.753" v="1236" actId="403"/>
          <ac:spMkLst>
            <pc:docMk/>
            <pc:sldMk cId="1993530015" sldId="2147477899"/>
            <ac:spMk id="50" creationId="{F13FC089-54EE-82E9-245F-866A296FD7BC}"/>
          </ac:spMkLst>
        </pc:spChg>
        <pc:spChg chg="mod">
          <ac:chgData name="LYNAGH Connor" userId="6ba16826-a125-4f68-ab5d-84bd7aab3e00" providerId="ADAL" clId="{F0FE71C6-F0BC-4E6D-A81C-4E62D06AB176}" dt="2024-04-01T16:36:49.923" v="1103" actId="1076"/>
          <ac:spMkLst>
            <pc:docMk/>
            <pc:sldMk cId="1993530015" sldId="2147477899"/>
            <ac:spMk id="51" creationId="{0B7712D9-4C42-2D33-C43C-34333718ADE9}"/>
          </ac:spMkLst>
        </pc:spChg>
        <pc:spChg chg="mod">
          <ac:chgData name="LYNAGH Connor" userId="6ba16826-a125-4f68-ab5d-84bd7aab3e00" providerId="ADAL" clId="{F0FE71C6-F0BC-4E6D-A81C-4E62D06AB176}" dt="2024-04-01T16:38:58.753" v="1236" actId="403"/>
          <ac:spMkLst>
            <pc:docMk/>
            <pc:sldMk cId="1993530015" sldId="2147477899"/>
            <ac:spMk id="52" creationId="{68EFC5B1-24FC-460F-FBFD-5E4D093C1EF8}"/>
          </ac:spMkLst>
        </pc:spChg>
        <pc:spChg chg="mod">
          <ac:chgData name="LYNAGH Connor" userId="6ba16826-a125-4f68-ab5d-84bd7aab3e00" providerId="ADAL" clId="{F0FE71C6-F0BC-4E6D-A81C-4E62D06AB176}" dt="2024-04-01T16:38:58.753" v="1236" actId="403"/>
          <ac:spMkLst>
            <pc:docMk/>
            <pc:sldMk cId="1993530015" sldId="2147477899"/>
            <ac:spMk id="53" creationId="{6041EAC8-6340-99AE-070C-7AC03EFBA06D}"/>
          </ac:spMkLst>
        </pc:spChg>
        <pc:spChg chg="mod">
          <ac:chgData name="LYNAGH Connor" userId="6ba16826-a125-4f68-ab5d-84bd7aab3e00" providerId="ADAL" clId="{F0FE71C6-F0BC-4E6D-A81C-4E62D06AB176}" dt="2024-04-01T16:38:58.753" v="1236" actId="403"/>
          <ac:spMkLst>
            <pc:docMk/>
            <pc:sldMk cId="1993530015" sldId="2147477899"/>
            <ac:spMk id="54" creationId="{202499EE-49FB-F524-0232-D8AA20508CAE}"/>
          </ac:spMkLst>
        </pc:spChg>
        <pc:spChg chg="mod">
          <ac:chgData name="LYNAGH Connor" userId="6ba16826-a125-4f68-ab5d-84bd7aab3e00" providerId="ADAL" clId="{F0FE71C6-F0BC-4E6D-A81C-4E62D06AB176}" dt="2024-04-01T16:36:58.899" v="1106" actId="14100"/>
          <ac:spMkLst>
            <pc:docMk/>
            <pc:sldMk cId="1993530015" sldId="2147477899"/>
            <ac:spMk id="55" creationId="{3FDB6E51-31A6-53A6-9311-FB029F8B0669}"/>
          </ac:spMkLst>
        </pc:spChg>
        <pc:spChg chg="mod">
          <ac:chgData name="LYNAGH Connor" userId="6ba16826-a125-4f68-ab5d-84bd7aab3e00" providerId="ADAL" clId="{F0FE71C6-F0BC-4E6D-A81C-4E62D06AB176}" dt="2024-04-01T16:36:49.923" v="1103" actId="1076"/>
          <ac:spMkLst>
            <pc:docMk/>
            <pc:sldMk cId="1993530015" sldId="2147477899"/>
            <ac:spMk id="57" creationId="{E80705AC-DDF0-A0F0-21D0-B2E4DC8ACE19}"/>
          </ac:spMkLst>
        </pc:spChg>
        <pc:spChg chg="del">
          <ac:chgData name="LYNAGH Connor" userId="6ba16826-a125-4f68-ab5d-84bd7aab3e00" providerId="ADAL" clId="{F0FE71C6-F0BC-4E6D-A81C-4E62D06AB176}" dt="2024-04-01T16:36:12.538" v="1095" actId="478"/>
          <ac:spMkLst>
            <pc:docMk/>
            <pc:sldMk cId="1993530015" sldId="2147477899"/>
            <ac:spMk id="67" creationId="{E96DCC49-52DF-CC93-B619-521AE0E12F21}"/>
          </ac:spMkLst>
        </pc:spChg>
        <pc:spChg chg="del">
          <ac:chgData name="LYNAGH Connor" userId="6ba16826-a125-4f68-ab5d-84bd7aab3e00" providerId="ADAL" clId="{F0FE71C6-F0BC-4E6D-A81C-4E62D06AB176}" dt="2024-04-01T16:36:15.131" v="1096" actId="478"/>
          <ac:spMkLst>
            <pc:docMk/>
            <pc:sldMk cId="1993530015" sldId="2147477899"/>
            <ac:spMk id="68" creationId="{0D9495B5-9299-905B-357D-E74B6353887A}"/>
          </ac:spMkLst>
        </pc:spChg>
        <pc:grpChg chg="add mod">
          <ac:chgData name="LYNAGH Connor" userId="6ba16826-a125-4f68-ab5d-84bd7aab3e00" providerId="ADAL" clId="{F0FE71C6-F0BC-4E6D-A81C-4E62D06AB176}" dt="2024-04-01T16:34:47.567" v="1044" actId="1076"/>
          <ac:grpSpMkLst>
            <pc:docMk/>
            <pc:sldMk cId="1993530015" sldId="2147477899"/>
            <ac:grpSpMk id="4" creationId="{1D4A3995-4E5F-BC2E-D14D-C1626BAEBAB5}"/>
          </ac:grpSpMkLst>
        </pc:grpChg>
        <pc:grpChg chg="del">
          <ac:chgData name="LYNAGH Connor" userId="6ba16826-a125-4f68-ab5d-84bd7aab3e00" providerId="ADAL" clId="{F0FE71C6-F0BC-4E6D-A81C-4E62D06AB176}" dt="2024-04-01T16:34:33.886" v="1042" actId="478"/>
          <ac:grpSpMkLst>
            <pc:docMk/>
            <pc:sldMk cId="1993530015" sldId="2147477899"/>
            <ac:grpSpMk id="17" creationId="{CE05EA86-74E9-0833-060A-C46269C64D9D}"/>
          </ac:grpSpMkLst>
        </pc:grpChg>
        <pc:grpChg chg="mod">
          <ac:chgData name="LYNAGH Connor" userId="6ba16826-a125-4f68-ab5d-84bd7aab3e00" providerId="ADAL" clId="{F0FE71C6-F0BC-4E6D-A81C-4E62D06AB176}" dt="2024-04-01T16:36:49.923" v="1103" actId="1076"/>
          <ac:grpSpMkLst>
            <pc:docMk/>
            <pc:sldMk cId="1993530015" sldId="2147477899"/>
            <ac:grpSpMk id="56" creationId="{1B364C4A-6813-C0BE-B703-FC9DB2335F16}"/>
          </ac:grpSpMkLst>
        </pc:grpChg>
        <pc:picChg chg="add mod">
          <ac:chgData name="LYNAGH Connor" userId="6ba16826-a125-4f68-ab5d-84bd7aab3e00" providerId="ADAL" clId="{F0FE71C6-F0BC-4E6D-A81C-4E62D06AB176}" dt="2024-04-03T08:58:27.893" v="2295" actId="1036"/>
          <ac:picMkLst>
            <pc:docMk/>
            <pc:sldMk cId="1993530015" sldId="2147477899"/>
            <ac:picMk id="15" creationId="{0282020B-D759-9BDE-E2DD-31A7FFFDC62C}"/>
          </ac:picMkLst>
        </pc:picChg>
        <pc:picChg chg="add mod">
          <ac:chgData name="LYNAGH Connor" userId="6ba16826-a125-4f68-ab5d-84bd7aab3e00" providerId="ADAL" clId="{F0FE71C6-F0BC-4E6D-A81C-4E62D06AB176}" dt="2024-04-01T16:35:03.416" v="1089" actId="1037"/>
          <ac:picMkLst>
            <pc:docMk/>
            <pc:sldMk cId="1993530015" sldId="2147477899"/>
            <ac:picMk id="23" creationId="{B7DF218D-EBF2-72BC-4695-FD08034A8364}"/>
          </ac:picMkLst>
        </pc:picChg>
        <pc:picChg chg="del">
          <ac:chgData name="LYNAGH Connor" userId="6ba16826-a125-4f68-ab5d-84bd7aab3e00" providerId="ADAL" clId="{F0FE71C6-F0BC-4E6D-A81C-4E62D06AB176}" dt="2024-04-01T16:34:33.886" v="1042" actId="478"/>
          <ac:picMkLst>
            <pc:docMk/>
            <pc:sldMk cId="1993530015" sldId="2147477899"/>
            <ac:picMk id="32" creationId="{F24209FB-0084-E668-9332-19CF13C515F0}"/>
          </ac:picMkLst>
        </pc:picChg>
        <pc:picChg chg="del">
          <ac:chgData name="LYNAGH Connor" userId="6ba16826-a125-4f68-ab5d-84bd7aab3e00" providerId="ADAL" clId="{F0FE71C6-F0BC-4E6D-A81C-4E62D06AB176}" dt="2024-04-01T16:34:33.886" v="1042" actId="478"/>
          <ac:picMkLst>
            <pc:docMk/>
            <pc:sldMk cId="1993530015" sldId="2147477899"/>
            <ac:picMk id="33" creationId="{1DEED916-58B3-8DF5-972A-D186D1464E38}"/>
          </ac:picMkLst>
        </pc:picChg>
        <pc:picChg chg="del">
          <ac:chgData name="LYNAGH Connor" userId="6ba16826-a125-4f68-ab5d-84bd7aab3e00" providerId="ADAL" clId="{F0FE71C6-F0BC-4E6D-A81C-4E62D06AB176}" dt="2024-04-01T16:34:08.750" v="1038" actId="478"/>
          <ac:picMkLst>
            <pc:docMk/>
            <pc:sldMk cId="1993530015" sldId="2147477899"/>
            <ac:picMk id="39" creationId="{74B7A613-AEA4-520A-43C9-EAA9943BF6ED}"/>
          </ac:picMkLst>
        </pc:picChg>
        <pc:picChg chg="del">
          <ac:chgData name="LYNAGH Connor" userId="6ba16826-a125-4f68-ab5d-84bd7aab3e00" providerId="ADAL" clId="{F0FE71C6-F0BC-4E6D-A81C-4E62D06AB176}" dt="2024-04-01T16:34:09.629" v="1039" actId="478"/>
          <ac:picMkLst>
            <pc:docMk/>
            <pc:sldMk cId="1993530015" sldId="2147477899"/>
            <ac:picMk id="40" creationId="{1A48E1A0-A2B5-9E42-AC7C-F3217F2A75BF}"/>
          </ac:picMkLst>
        </pc:picChg>
        <pc:picChg chg="mod">
          <ac:chgData name="LYNAGH Connor" userId="6ba16826-a125-4f68-ab5d-84bd7aab3e00" providerId="ADAL" clId="{F0FE71C6-F0BC-4E6D-A81C-4E62D06AB176}" dt="2024-04-01T16:36:49.923" v="1103" actId="1076"/>
          <ac:picMkLst>
            <pc:docMk/>
            <pc:sldMk cId="1993530015" sldId="2147477899"/>
            <ac:picMk id="58" creationId="{E94BA09B-7205-E441-4A30-16287E8E5BEC}"/>
          </ac:picMkLst>
        </pc:picChg>
        <pc:picChg chg="mod">
          <ac:chgData name="LYNAGH Connor" userId="6ba16826-a125-4f68-ab5d-84bd7aab3e00" providerId="ADAL" clId="{F0FE71C6-F0BC-4E6D-A81C-4E62D06AB176}" dt="2024-04-01T16:36:49.923" v="1103" actId="1076"/>
          <ac:picMkLst>
            <pc:docMk/>
            <pc:sldMk cId="1993530015" sldId="2147477899"/>
            <ac:picMk id="59" creationId="{1DAA0C40-4F3C-31E2-C102-0B98CF79A89B}"/>
          </ac:picMkLst>
        </pc:picChg>
        <pc:cxnChg chg="mod">
          <ac:chgData name="LYNAGH Connor" userId="6ba16826-a125-4f68-ab5d-84bd7aab3e00" providerId="ADAL" clId="{F0FE71C6-F0BC-4E6D-A81C-4E62D06AB176}" dt="2024-04-01T16:34:47.567" v="1044" actId="1076"/>
          <ac:cxnSpMkLst>
            <pc:docMk/>
            <pc:sldMk cId="1993530015" sldId="2147477899"/>
            <ac:cxnSpMk id="6" creationId="{A3ABD8D6-2011-B87B-72CE-7903BA3857A5}"/>
          </ac:cxnSpMkLst>
        </pc:cxnChg>
        <pc:cxnChg chg="mod">
          <ac:chgData name="LYNAGH Connor" userId="6ba16826-a125-4f68-ab5d-84bd7aab3e00" providerId="ADAL" clId="{F0FE71C6-F0BC-4E6D-A81C-4E62D06AB176}" dt="2024-04-01T16:34:47.567" v="1044" actId="1076"/>
          <ac:cxnSpMkLst>
            <pc:docMk/>
            <pc:sldMk cId="1993530015" sldId="2147477899"/>
            <ac:cxnSpMk id="7" creationId="{E8607D68-C8EA-35DC-62AD-5ADEF5B0648C}"/>
          </ac:cxnSpMkLst>
        </pc:cxnChg>
        <pc:cxnChg chg="add mod">
          <ac:chgData name="LYNAGH Connor" userId="6ba16826-a125-4f68-ab5d-84bd7aab3e00" providerId="ADAL" clId="{F0FE71C6-F0BC-4E6D-A81C-4E62D06AB176}" dt="2024-04-01T16:36:07.407" v="1094" actId="14861"/>
          <ac:cxnSpMkLst>
            <pc:docMk/>
            <pc:sldMk cId="1993530015" sldId="2147477899"/>
            <ac:cxnSpMk id="13" creationId="{34556256-3FB6-0365-DA1D-03C7A6C7E22A}"/>
          </ac:cxnSpMkLst>
        </pc:cxnChg>
        <pc:cxnChg chg="add mod">
          <ac:chgData name="LYNAGH Connor" userId="6ba16826-a125-4f68-ab5d-84bd7aab3e00" providerId="ADAL" clId="{F0FE71C6-F0BC-4E6D-A81C-4E62D06AB176}" dt="2024-04-01T16:36:07.407" v="1094" actId="14861"/>
          <ac:cxnSpMkLst>
            <pc:docMk/>
            <pc:sldMk cId="1993530015" sldId="2147477899"/>
            <ac:cxnSpMk id="14" creationId="{22680B37-1599-13CF-768C-AEF604985D33}"/>
          </ac:cxnSpMkLst>
        </pc:cxnChg>
        <pc:cxnChg chg="del">
          <ac:chgData name="LYNAGH Connor" userId="6ba16826-a125-4f68-ab5d-84bd7aab3e00" providerId="ADAL" clId="{F0FE71C6-F0BC-4E6D-A81C-4E62D06AB176}" dt="2024-04-01T16:34:33.886" v="1042" actId="478"/>
          <ac:cxnSpMkLst>
            <pc:docMk/>
            <pc:sldMk cId="1993530015" sldId="2147477899"/>
            <ac:cxnSpMk id="29" creationId="{6DF2120A-89E5-687E-AB33-FA2FE435D9D8}"/>
          </ac:cxnSpMkLst>
        </pc:cxnChg>
        <pc:cxnChg chg="del">
          <ac:chgData name="LYNAGH Connor" userId="6ba16826-a125-4f68-ab5d-84bd7aab3e00" providerId="ADAL" clId="{F0FE71C6-F0BC-4E6D-A81C-4E62D06AB176}" dt="2024-04-01T16:34:33.886" v="1042" actId="478"/>
          <ac:cxnSpMkLst>
            <pc:docMk/>
            <pc:sldMk cId="1993530015" sldId="2147477899"/>
            <ac:cxnSpMk id="31" creationId="{C09CFD1A-3A70-5445-0FA5-F5627C5BED22}"/>
          </ac:cxnSpMkLst>
        </pc:cxnChg>
      </pc:sldChg>
      <pc:sldChg chg="addSp delSp modSp add mod">
        <pc:chgData name="LYNAGH Connor" userId="6ba16826-a125-4f68-ab5d-84bd7aab3e00" providerId="ADAL" clId="{F0FE71C6-F0BC-4E6D-A81C-4E62D06AB176}" dt="2024-04-07T20:05:46.314" v="4027" actId="1076"/>
        <pc:sldMkLst>
          <pc:docMk/>
          <pc:sldMk cId="2654349321" sldId="2147477988"/>
        </pc:sldMkLst>
        <pc:spChg chg="mod">
          <ac:chgData name="LYNAGH Connor" userId="6ba16826-a125-4f68-ab5d-84bd7aab3e00" providerId="ADAL" clId="{F0FE71C6-F0BC-4E6D-A81C-4E62D06AB176}" dt="2024-04-01T17:20:32.554" v="1690" actId="20577"/>
          <ac:spMkLst>
            <pc:docMk/>
            <pc:sldMk cId="2654349321" sldId="2147477988"/>
            <ac:spMk id="2" creationId="{586B5CD1-483A-C5A4-77C3-3F76054C46A2}"/>
          </ac:spMkLst>
        </pc:spChg>
        <pc:spChg chg="mod">
          <ac:chgData name="LYNAGH Connor" userId="6ba16826-a125-4f68-ab5d-84bd7aab3e00" providerId="ADAL" clId="{F0FE71C6-F0BC-4E6D-A81C-4E62D06AB176}" dt="2024-04-01T16:48:55.745" v="1341" actId="1076"/>
          <ac:spMkLst>
            <pc:docMk/>
            <pc:sldMk cId="2654349321" sldId="2147477988"/>
            <ac:spMk id="4" creationId="{239DC6F0-0732-F7B2-0D81-980BBDD5AE07}"/>
          </ac:spMkLst>
        </pc:spChg>
        <pc:spChg chg="mod">
          <ac:chgData name="LYNAGH Connor" userId="6ba16826-a125-4f68-ab5d-84bd7aab3e00" providerId="ADAL" clId="{F0FE71C6-F0BC-4E6D-A81C-4E62D06AB176}" dt="2024-04-01T16:58:10.893" v="1470"/>
          <ac:spMkLst>
            <pc:docMk/>
            <pc:sldMk cId="2654349321" sldId="2147477988"/>
            <ac:spMk id="5" creationId="{72BAB8FF-DD58-469C-DFB5-9790057E816B}"/>
          </ac:spMkLst>
        </pc:spChg>
        <pc:spChg chg="add del mod">
          <ac:chgData name="LYNAGH Connor" userId="6ba16826-a125-4f68-ab5d-84bd7aab3e00" providerId="ADAL" clId="{F0FE71C6-F0BC-4E6D-A81C-4E62D06AB176}" dt="2024-04-07T20:05:46.314" v="4027" actId="1076"/>
          <ac:spMkLst>
            <pc:docMk/>
            <pc:sldMk cId="2654349321" sldId="2147477988"/>
            <ac:spMk id="7" creationId="{DAD6F105-E202-8D99-FA56-FEFF340CC517}"/>
          </ac:spMkLst>
        </pc:spChg>
        <pc:spChg chg="add mod">
          <ac:chgData name="LYNAGH Connor" userId="6ba16826-a125-4f68-ab5d-84bd7aab3e00" providerId="ADAL" clId="{F0FE71C6-F0BC-4E6D-A81C-4E62D06AB176}" dt="2024-04-01T16:46:04.760" v="1294" actId="1582"/>
          <ac:spMkLst>
            <pc:docMk/>
            <pc:sldMk cId="2654349321" sldId="2147477988"/>
            <ac:spMk id="8" creationId="{CD639E0D-D057-C424-74AD-CF121C27BE53}"/>
          </ac:spMkLst>
        </pc:spChg>
        <pc:spChg chg="mod">
          <ac:chgData name="LYNAGH Connor" userId="6ba16826-a125-4f68-ab5d-84bd7aab3e00" providerId="ADAL" clId="{F0FE71C6-F0BC-4E6D-A81C-4E62D06AB176}" dt="2024-04-01T16:47:15.028" v="1296"/>
          <ac:spMkLst>
            <pc:docMk/>
            <pc:sldMk cId="2654349321" sldId="2147477988"/>
            <ac:spMk id="10" creationId="{FB99202B-30FF-A1CC-FE9A-CC0334007926}"/>
          </ac:spMkLst>
        </pc:spChg>
        <pc:spChg chg="add del">
          <ac:chgData name="LYNAGH Connor" userId="6ba16826-a125-4f68-ab5d-84bd7aab3e00" providerId="ADAL" clId="{F0FE71C6-F0BC-4E6D-A81C-4E62D06AB176}" dt="2024-04-01T16:44:16.522" v="1240" actId="478"/>
          <ac:spMkLst>
            <pc:docMk/>
            <pc:sldMk cId="2654349321" sldId="2147477988"/>
            <ac:spMk id="11" creationId="{B3FD9E65-40DA-03C3-B14A-2AD8B4587085}"/>
          </ac:spMkLst>
        </pc:spChg>
        <pc:spChg chg="mod">
          <ac:chgData name="LYNAGH Connor" userId="6ba16826-a125-4f68-ab5d-84bd7aab3e00" providerId="ADAL" clId="{F0FE71C6-F0BC-4E6D-A81C-4E62D06AB176}" dt="2024-04-01T16:47:15.028" v="1296"/>
          <ac:spMkLst>
            <pc:docMk/>
            <pc:sldMk cId="2654349321" sldId="2147477988"/>
            <ac:spMk id="18" creationId="{952FA5A1-5F33-6F64-2598-052B720F9F18}"/>
          </ac:spMkLst>
        </pc:spChg>
        <pc:spChg chg="mod">
          <ac:chgData name="LYNAGH Connor" userId="6ba16826-a125-4f68-ab5d-84bd7aab3e00" providerId="ADAL" clId="{F0FE71C6-F0BC-4E6D-A81C-4E62D06AB176}" dt="2024-04-01T16:55:34.856" v="1469" actId="20577"/>
          <ac:spMkLst>
            <pc:docMk/>
            <pc:sldMk cId="2654349321" sldId="2147477988"/>
            <ac:spMk id="24" creationId="{D4755333-B0DB-50D3-1A35-5C7BE81EE8AC}"/>
          </ac:spMkLst>
        </pc:spChg>
        <pc:spChg chg="mod">
          <ac:chgData name="LYNAGH Connor" userId="6ba16826-a125-4f68-ab5d-84bd7aab3e00" providerId="ADAL" clId="{F0FE71C6-F0BC-4E6D-A81C-4E62D06AB176}" dt="2024-04-01T16:47:15.028" v="1296"/>
          <ac:spMkLst>
            <pc:docMk/>
            <pc:sldMk cId="2654349321" sldId="2147477988"/>
            <ac:spMk id="25" creationId="{31FEA7E4-17E7-0417-716A-CF3C1B4A2AB9}"/>
          </ac:spMkLst>
        </pc:spChg>
        <pc:spChg chg="mod">
          <ac:chgData name="LYNAGH Connor" userId="6ba16826-a125-4f68-ab5d-84bd7aab3e00" providerId="ADAL" clId="{F0FE71C6-F0BC-4E6D-A81C-4E62D06AB176}" dt="2024-04-01T16:47:15.028" v="1296"/>
          <ac:spMkLst>
            <pc:docMk/>
            <pc:sldMk cId="2654349321" sldId="2147477988"/>
            <ac:spMk id="28" creationId="{836C1EEE-E987-462D-2093-5F51EAF679BD}"/>
          </ac:spMkLst>
        </pc:spChg>
        <pc:spChg chg="mod">
          <ac:chgData name="LYNAGH Connor" userId="6ba16826-a125-4f68-ab5d-84bd7aab3e00" providerId="ADAL" clId="{F0FE71C6-F0BC-4E6D-A81C-4E62D06AB176}" dt="2024-04-01T16:47:15.028" v="1296"/>
          <ac:spMkLst>
            <pc:docMk/>
            <pc:sldMk cId="2654349321" sldId="2147477988"/>
            <ac:spMk id="35" creationId="{5BC8305D-9D46-06A3-B9C6-657C6D5BB370}"/>
          </ac:spMkLst>
        </pc:spChg>
        <pc:spChg chg="mod">
          <ac:chgData name="LYNAGH Connor" userId="6ba16826-a125-4f68-ab5d-84bd7aab3e00" providerId="ADAL" clId="{F0FE71C6-F0BC-4E6D-A81C-4E62D06AB176}" dt="2024-04-01T16:47:15.028" v="1296"/>
          <ac:spMkLst>
            <pc:docMk/>
            <pc:sldMk cId="2654349321" sldId="2147477988"/>
            <ac:spMk id="40" creationId="{8D458CC3-2686-ACF3-A9BE-C632CB816686}"/>
          </ac:spMkLst>
        </pc:spChg>
        <pc:spChg chg="mod">
          <ac:chgData name="LYNAGH Connor" userId="6ba16826-a125-4f68-ab5d-84bd7aab3e00" providerId="ADAL" clId="{F0FE71C6-F0BC-4E6D-A81C-4E62D06AB176}" dt="2024-04-01T16:47:15.028" v="1296"/>
          <ac:spMkLst>
            <pc:docMk/>
            <pc:sldMk cId="2654349321" sldId="2147477988"/>
            <ac:spMk id="41" creationId="{49788C06-BE10-1238-9510-5DC47DAEABD2}"/>
          </ac:spMkLst>
        </pc:spChg>
        <pc:spChg chg="mod">
          <ac:chgData name="LYNAGH Connor" userId="6ba16826-a125-4f68-ab5d-84bd7aab3e00" providerId="ADAL" clId="{F0FE71C6-F0BC-4E6D-A81C-4E62D06AB176}" dt="2024-04-01T16:47:15.028" v="1296"/>
          <ac:spMkLst>
            <pc:docMk/>
            <pc:sldMk cId="2654349321" sldId="2147477988"/>
            <ac:spMk id="42" creationId="{C0C7C2EB-8A11-9363-B04C-23F757402D09}"/>
          </ac:spMkLst>
        </pc:spChg>
        <pc:spChg chg="mod">
          <ac:chgData name="LYNAGH Connor" userId="6ba16826-a125-4f68-ab5d-84bd7aab3e00" providerId="ADAL" clId="{F0FE71C6-F0BC-4E6D-A81C-4E62D06AB176}" dt="2024-04-01T16:47:15.028" v="1296"/>
          <ac:spMkLst>
            <pc:docMk/>
            <pc:sldMk cId="2654349321" sldId="2147477988"/>
            <ac:spMk id="43" creationId="{9A7A4073-7D3A-634F-4504-0C730EF001A2}"/>
          </ac:spMkLst>
        </pc:spChg>
        <pc:spChg chg="mod">
          <ac:chgData name="LYNAGH Connor" userId="6ba16826-a125-4f68-ab5d-84bd7aab3e00" providerId="ADAL" clId="{F0FE71C6-F0BC-4E6D-A81C-4E62D06AB176}" dt="2024-04-01T16:47:15.028" v="1296"/>
          <ac:spMkLst>
            <pc:docMk/>
            <pc:sldMk cId="2654349321" sldId="2147477988"/>
            <ac:spMk id="44" creationId="{9761A41C-77D9-428C-FB78-F90635F33AAA}"/>
          </ac:spMkLst>
        </pc:spChg>
        <pc:spChg chg="mod">
          <ac:chgData name="LYNAGH Connor" userId="6ba16826-a125-4f68-ab5d-84bd7aab3e00" providerId="ADAL" clId="{F0FE71C6-F0BC-4E6D-A81C-4E62D06AB176}" dt="2024-04-01T16:47:15.028" v="1296"/>
          <ac:spMkLst>
            <pc:docMk/>
            <pc:sldMk cId="2654349321" sldId="2147477988"/>
            <ac:spMk id="45" creationId="{3F942C44-8086-7D56-65F0-E31F340FA3B4}"/>
          </ac:spMkLst>
        </pc:spChg>
        <pc:spChg chg="mod">
          <ac:chgData name="LYNAGH Connor" userId="6ba16826-a125-4f68-ab5d-84bd7aab3e00" providerId="ADAL" clId="{F0FE71C6-F0BC-4E6D-A81C-4E62D06AB176}" dt="2024-04-01T16:47:15.028" v="1296"/>
          <ac:spMkLst>
            <pc:docMk/>
            <pc:sldMk cId="2654349321" sldId="2147477988"/>
            <ac:spMk id="46" creationId="{27A59EFB-FDD0-06BB-389D-16EF31C0CC2A}"/>
          </ac:spMkLst>
        </pc:spChg>
        <pc:spChg chg="mod">
          <ac:chgData name="LYNAGH Connor" userId="6ba16826-a125-4f68-ab5d-84bd7aab3e00" providerId="ADAL" clId="{F0FE71C6-F0BC-4E6D-A81C-4E62D06AB176}" dt="2024-04-01T16:47:15.028" v="1296"/>
          <ac:spMkLst>
            <pc:docMk/>
            <pc:sldMk cId="2654349321" sldId="2147477988"/>
            <ac:spMk id="47" creationId="{286A5455-4A58-3A26-A0D8-60D9D9F86814}"/>
          </ac:spMkLst>
        </pc:spChg>
        <pc:spChg chg="mod">
          <ac:chgData name="LYNAGH Connor" userId="6ba16826-a125-4f68-ab5d-84bd7aab3e00" providerId="ADAL" clId="{F0FE71C6-F0BC-4E6D-A81C-4E62D06AB176}" dt="2024-04-01T16:47:15.028" v="1296"/>
          <ac:spMkLst>
            <pc:docMk/>
            <pc:sldMk cId="2654349321" sldId="2147477988"/>
            <ac:spMk id="48" creationId="{26552518-C20C-B801-52EC-10ACA0F31310}"/>
          </ac:spMkLst>
        </pc:spChg>
        <pc:spChg chg="mod">
          <ac:chgData name="LYNAGH Connor" userId="6ba16826-a125-4f68-ab5d-84bd7aab3e00" providerId="ADAL" clId="{F0FE71C6-F0BC-4E6D-A81C-4E62D06AB176}" dt="2024-04-01T16:47:15.028" v="1296"/>
          <ac:spMkLst>
            <pc:docMk/>
            <pc:sldMk cId="2654349321" sldId="2147477988"/>
            <ac:spMk id="49" creationId="{B6A41789-6C93-146A-8D56-EC06231511BA}"/>
          </ac:spMkLst>
        </pc:spChg>
        <pc:spChg chg="mod">
          <ac:chgData name="LYNAGH Connor" userId="6ba16826-a125-4f68-ab5d-84bd7aab3e00" providerId="ADAL" clId="{F0FE71C6-F0BC-4E6D-A81C-4E62D06AB176}" dt="2024-04-01T16:47:15.028" v="1296"/>
          <ac:spMkLst>
            <pc:docMk/>
            <pc:sldMk cId="2654349321" sldId="2147477988"/>
            <ac:spMk id="50" creationId="{AF6D7C25-F437-8732-917C-022E34C184DC}"/>
          </ac:spMkLst>
        </pc:spChg>
        <pc:spChg chg="mod">
          <ac:chgData name="LYNAGH Connor" userId="6ba16826-a125-4f68-ab5d-84bd7aab3e00" providerId="ADAL" clId="{F0FE71C6-F0BC-4E6D-A81C-4E62D06AB176}" dt="2024-04-01T16:47:15.028" v="1296"/>
          <ac:spMkLst>
            <pc:docMk/>
            <pc:sldMk cId="2654349321" sldId="2147477988"/>
            <ac:spMk id="51" creationId="{9A86E370-06AB-AE65-CEF1-D6492232DEA2}"/>
          </ac:spMkLst>
        </pc:spChg>
        <pc:spChg chg="mod">
          <ac:chgData name="LYNAGH Connor" userId="6ba16826-a125-4f68-ab5d-84bd7aab3e00" providerId="ADAL" clId="{F0FE71C6-F0BC-4E6D-A81C-4E62D06AB176}" dt="2024-04-01T16:47:15.028" v="1296"/>
          <ac:spMkLst>
            <pc:docMk/>
            <pc:sldMk cId="2654349321" sldId="2147477988"/>
            <ac:spMk id="52" creationId="{BFEA2146-7679-AFB0-B729-76E1401B5424}"/>
          </ac:spMkLst>
        </pc:spChg>
        <pc:spChg chg="mod">
          <ac:chgData name="LYNAGH Connor" userId="6ba16826-a125-4f68-ab5d-84bd7aab3e00" providerId="ADAL" clId="{F0FE71C6-F0BC-4E6D-A81C-4E62D06AB176}" dt="2024-04-01T16:47:15.028" v="1296"/>
          <ac:spMkLst>
            <pc:docMk/>
            <pc:sldMk cId="2654349321" sldId="2147477988"/>
            <ac:spMk id="53" creationId="{98B94715-893C-7006-7DFB-3C7FF7441697}"/>
          </ac:spMkLst>
        </pc:spChg>
        <pc:spChg chg="mod">
          <ac:chgData name="LYNAGH Connor" userId="6ba16826-a125-4f68-ab5d-84bd7aab3e00" providerId="ADAL" clId="{F0FE71C6-F0BC-4E6D-A81C-4E62D06AB176}" dt="2024-04-01T16:47:15.028" v="1296"/>
          <ac:spMkLst>
            <pc:docMk/>
            <pc:sldMk cId="2654349321" sldId="2147477988"/>
            <ac:spMk id="55" creationId="{584A4F52-9EED-0820-18C9-6F36FB6BD4A4}"/>
          </ac:spMkLst>
        </pc:spChg>
        <pc:spChg chg="mod">
          <ac:chgData name="LYNAGH Connor" userId="6ba16826-a125-4f68-ab5d-84bd7aab3e00" providerId="ADAL" clId="{F0FE71C6-F0BC-4E6D-A81C-4E62D06AB176}" dt="2024-04-01T16:47:15.028" v="1296"/>
          <ac:spMkLst>
            <pc:docMk/>
            <pc:sldMk cId="2654349321" sldId="2147477988"/>
            <ac:spMk id="56" creationId="{4B3014BC-8718-5C3B-13A8-FF1D1910963B}"/>
          </ac:spMkLst>
        </pc:spChg>
        <pc:spChg chg="mod">
          <ac:chgData name="LYNAGH Connor" userId="6ba16826-a125-4f68-ab5d-84bd7aab3e00" providerId="ADAL" clId="{F0FE71C6-F0BC-4E6D-A81C-4E62D06AB176}" dt="2024-04-01T16:47:15.028" v="1296"/>
          <ac:spMkLst>
            <pc:docMk/>
            <pc:sldMk cId="2654349321" sldId="2147477988"/>
            <ac:spMk id="57" creationId="{6A7115B4-4D4F-DBE5-97B4-33D4D07922D9}"/>
          </ac:spMkLst>
        </pc:spChg>
        <pc:spChg chg="mod">
          <ac:chgData name="LYNAGH Connor" userId="6ba16826-a125-4f68-ab5d-84bd7aab3e00" providerId="ADAL" clId="{F0FE71C6-F0BC-4E6D-A81C-4E62D06AB176}" dt="2024-04-01T16:47:15.028" v="1296"/>
          <ac:spMkLst>
            <pc:docMk/>
            <pc:sldMk cId="2654349321" sldId="2147477988"/>
            <ac:spMk id="62" creationId="{2BD6C42F-960C-6D82-D592-F370CC029920}"/>
          </ac:spMkLst>
        </pc:spChg>
        <pc:spChg chg="mod">
          <ac:chgData name="LYNAGH Connor" userId="6ba16826-a125-4f68-ab5d-84bd7aab3e00" providerId="ADAL" clId="{F0FE71C6-F0BC-4E6D-A81C-4E62D06AB176}" dt="2024-04-01T16:47:15.028" v="1296"/>
          <ac:spMkLst>
            <pc:docMk/>
            <pc:sldMk cId="2654349321" sldId="2147477988"/>
            <ac:spMk id="68" creationId="{C1AC069C-2EBD-551E-379C-ECBFF830616E}"/>
          </ac:spMkLst>
        </pc:spChg>
        <pc:spChg chg="mod">
          <ac:chgData name="LYNAGH Connor" userId="6ba16826-a125-4f68-ab5d-84bd7aab3e00" providerId="ADAL" clId="{F0FE71C6-F0BC-4E6D-A81C-4E62D06AB176}" dt="2024-04-01T16:47:15.028" v="1296"/>
          <ac:spMkLst>
            <pc:docMk/>
            <pc:sldMk cId="2654349321" sldId="2147477988"/>
            <ac:spMk id="69" creationId="{09FBC447-4CA3-A8FF-C23D-A613058D6F1E}"/>
          </ac:spMkLst>
        </pc:spChg>
        <pc:spChg chg="del">
          <ac:chgData name="LYNAGH Connor" userId="6ba16826-a125-4f68-ab5d-84bd7aab3e00" providerId="ADAL" clId="{F0FE71C6-F0BC-4E6D-A81C-4E62D06AB176}" dt="2024-04-01T16:45:17.379" v="1273" actId="478"/>
          <ac:spMkLst>
            <pc:docMk/>
            <pc:sldMk cId="2654349321" sldId="2147477988"/>
            <ac:spMk id="70" creationId="{9D86B4F8-0697-3B50-F960-55B297093AAD}"/>
          </ac:spMkLst>
        </pc:spChg>
        <pc:spChg chg="mod">
          <ac:chgData name="LYNAGH Connor" userId="6ba16826-a125-4f68-ab5d-84bd7aab3e00" providerId="ADAL" clId="{F0FE71C6-F0BC-4E6D-A81C-4E62D06AB176}" dt="2024-04-01T16:47:15.028" v="1296"/>
          <ac:spMkLst>
            <pc:docMk/>
            <pc:sldMk cId="2654349321" sldId="2147477988"/>
            <ac:spMk id="71" creationId="{CAE128CA-93B9-2A2F-E1E5-3D0AB1839220}"/>
          </ac:spMkLst>
        </pc:spChg>
        <pc:spChg chg="mod">
          <ac:chgData name="LYNAGH Connor" userId="6ba16826-a125-4f68-ab5d-84bd7aab3e00" providerId="ADAL" clId="{F0FE71C6-F0BC-4E6D-A81C-4E62D06AB176}" dt="2024-04-01T16:47:15.028" v="1296"/>
          <ac:spMkLst>
            <pc:docMk/>
            <pc:sldMk cId="2654349321" sldId="2147477988"/>
            <ac:spMk id="72" creationId="{A9149E03-8E0D-18DE-193E-03A60A36E930}"/>
          </ac:spMkLst>
        </pc:spChg>
        <pc:spChg chg="mod">
          <ac:chgData name="LYNAGH Connor" userId="6ba16826-a125-4f68-ab5d-84bd7aab3e00" providerId="ADAL" clId="{F0FE71C6-F0BC-4E6D-A81C-4E62D06AB176}" dt="2024-04-01T16:47:15.028" v="1296"/>
          <ac:spMkLst>
            <pc:docMk/>
            <pc:sldMk cId="2654349321" sldId="2147477988"/>
            <ac:spMk id="73" creationId="{88774BF0-4935-D76F-AAB9-49AEC317E3F7}"/>
          </ac:spMkLst>
        </pc:spChg>
        <pc:spChg chg="mod">
          <ac:chgData name="LYNAGH Connor" userId="6ba16826-a125-4f68-ab5d-84bd7aab3e00" providerId="ADAL" clId="{F0FE71C6-F0BC-4E6D-A81C-4E62D06AB176}" dt="2024-04-01T16:47:15.028" v="1296"/>
          <ac:spMkLst>
            <pc:docMk/>
            <pc:sldMk cId="2654349321" sldId="2147477988"/>
            <ac:spMk id="80" creationId="{8F25CBF9-CF83-2542-3D02-4EFCD7F1CDD1}"/>
          </ac:spMkLst>
        </pc:spChg>
        <pc:spChg chg="mod">
          <ac:chgData name="LYNAGH Connor" userId="6ba16826-a125-4f68-ab5d-84bd7aab3e00" providerId="ADAL" clId="{F0FE71C6-F0BC-4E6D-A81C-4E62D06AB176}" dt="2024-04-01T16:47:15.028" v="1296"/>
          <ac:spMkLst>
            <pc:docMk/>
            <pc:sldMk cId="2654349321" sldId="2147477988"/>
            <ac:spMk id="83" creationId="{FE18CE6E-9B97-67A2-D0FF-C43111966DBB}"/>
          </ac:spMkLst>
        </pc:spChg>
        <pc:spChg chg="mod">
          <ac:chgData name="LYNAGH Connor" userId="6ba16826-a125-4f68-ab5d-84bd7aab3e00" providerId="ADAL" clId="{F0FE71C6-F0BC-4E6D-A81C-4E62D06AB176}" dt="2024-04-01T16:47:15.028" v="1296"/>
          <ac:spMkLst>
            <pc:docMk/>
            <pc:sldMk cId="2654349321" sldId="2147477988"/>
            <ac:spMk id="87" creationId="{DABC00F6-EF88-F0B8-7878-0BE4A66BCEF2}"/>
          </ac:spMkLst>
        </pc:spChg>
        <pc:spChg chg="mod">
          <ac:chgData name="LYNAGH Connor" userId="6ba16826-a125-4f68-ab5d-84bd7aab3e00" providerId="ADAL" clId="{F0FE71C6-F0BC-4E6D-A81C-4E62D06AB176}" dt="2024-04-01T16:47:15.028" v="1296"/>
          <ac:spMkLst>
            <pc:docMk/>
            <pc:sldMk cId="2654349321" sldId="2147477988"/>
            <ac:spMk id="88" creationId="{A51D8D60-64E2-7BF1-307F-03F0FE9B3A30}"/>
          </ac:spMkLst>
        </pc:spChg>
        <pc:spChg chg="mod">
          <ac:chgData name="LYNAGH Connor" userId="6ba16826-a125-4f68-ab5d-84bd7aab3e00" providerId="ADAL" clId="{F0FE71C6-F0BC-4E6D-A81C-4E62D06AB176}" dt="2024-04-01T16:47:15.028" v="1296"/>
          <ac:spMkLst>
            <pc:docMk/>
            <pc:sldMk cId="2654349321" sldId="2147477988"/>
            <ac:spMk id="89" creationId="{06704832-8046-94F6-A4BC-068DF0F56FCC}"/>
          </ac:spMkLst>
        </pc:spChg>
        <pc:spChg chg="mod">
          <ac:chgData name="LYNAGH Connor" userId="6ba16826-a125-4f68-ab5d-84bd7aab3e00" providerId="ADAL" clId="{F0FE71C6-F0BC-4E6D-A81C-4E62D06AB176}" dt="2024-04-01T16:47:15.028" v="1296"/>
          <ac:spMkLst>
            <pc:docMk/>
            <pc:sldMk cId="2654349321" sldId="2147477988"/>
            <ac:spMk id="90" creationId="{3849819E-60D2-5E5A-810C-D4BD122E162B}"/>
          </ac:spMkLst>
        </pc:spChg>
        <pc:spChg chg="mod">
          <ac:chgData name="LYNAGH Connor" userId="6ba16826-a125-4f68-ab5d-84bd7aab3e00" providerId="ADAL" clId="{F0FE71C6-F0BC-4E6D-A81C-4E62D06AB176}" dt="2024-04-01T16:47:15.028" v="1296"/>
          <ac:spMkLst>
            <pc:docMk/>
            <pc:sldMk cId="2654349321" sldId="2147477988"/>
            <ac:spMk id="91" creationId="{85FAC86C-F6C8-075C-7B4D-08720C6FCB87}"/>
          </ac:spMkLst>
        </pc:spChg>
        <pc:spChg chg="mod">
          <ac:chgData name="LYNAGH Connor" userId="6ba16826-a125-4f68-ab5d-84bd7aab3e00" providerId="ADAL" clId="{F0FE71C6-F0BC-4E6D-A81C-4E62D06AB176}" dt="2024-04-01T16:47:15.028" v="1296"/>
          <ac:spMkLst>
            <pc:docMk/>
            <pc:sldMk cId="2654349321" sldId="2147477988"/>
            <ac:spMk id="92" creationId="{EE6027EE-E299-9AFD-353E-B2424D29970A}"/>
          </ac:spMkLst>
        </pc:spChg>
        <pc:spChg chg="mod">
          <ac:chgData name="LYNAGH Connor" userId="6ba16826-a125-4f68-ab5d-84bd7aab3e00" providerId="ADAL" clId="{F0FE71C6-F0BC-4E6D-A81C-4E62D06AB176}" dt="2024-04-01T16:47:15.028" v="1296"/>
          <ac:spMkLst>
            <pc:docMk/>
            <pc:sldMk cId="2654349321" sldId="2147477988"/>
            <ac:spMk id="93" creationId="{F7B4AD39-31F5-6D22-8F07-3D11834E3BAC}"/>
          </ac:spMkLst>
        </pc:spChg>
        <pc:spChg chg="mod">
          <ac:chgData name="LYNAGH Connor" userId="6ba16826-a125-4f68-ab5d-84bd7aab3e00" providerId="ADAL" clId="{F0FE71C6-F0BC-4E6D-A81C-4E62D06AB176}" dt="2024-04-01T16:47:15.028" v="1296"/>
          <ac:spMkLst>
            <pc:docMk/>
            <pc:sldMk cId="2654349321" sldId="2147477988"/>
            <ac:spMk id="800" creationId="{9B6AC5D1-DBED-E9B1-0D02-7C55505AC86F}"/>
          </ac:spMkLst>
        </pc:spChg>
        <pc:spChg chg="mod">
          <ac:chgData name="LYNAGH Connor" userId="6ba16826-a125-4f68-ab5d-84bd7aab3e00" providerId="ADAL" clId="{F0FE71C6-F0BC-4E6D-A81C-4E62D06AB176}" dt="2024-04-01T16:47:15.028" v="1296"/>
          <ac:spMkLst>
            <pc:docMk/>
            <pc:sldMk cId="2654349321" sldId="2147477988"/>
            <ac:spMk id="801" creationId="{C3D5CDDA-82C8-DE85-BE7D-0C189EDD4966}"/>
          </ac:spMkLst>
        </pc:spChg>
        <pc:spChg chg="mod">
          <ac:chgData name="LYNAGH Connor" userId="6ba16826-a125-4f68-ab5d-84bd7aab3e00" providerId="ADAL" clId="{F0FE71C6-F0BC-4E6D-A81C-4E62D06AB176}" dt="2024-04-01T16:47:15.028" v="1296"/>
          <ac:spMkLst>
            <pc:docMk/>
            <pc:sldMk cId="2654349321" sldId="2147477988"/>
            <ac:spMk id="802" creationId="{F2A1A8DA-0006-C381-4348-01429E3B32CB}"/>
          </ac:spMkLst>
        </pc:spChg>
        <pc:spChg chg="mod">
          <ac:chgData name="LYNAGH Connor" userId="6ba16826-a125-4f68-ab5d-84bd7aab3e00" providerId="ADAL" clId="{F0FE71C6-F0BC-4E6D-A81C-4E62D06AB176}" dt="2024-04-01T16:47:15.028" v="1296"/>
          <ac:spMkLst>
            <pc:docMk/>
            <pc:sldMk cId="2654349321" sldId="2147477988"/>
            <ac:spMk id="804" creationId="{99434A45-AB53-5F19-5FF7-18E3FD7F1BC2}"/>
          </ac:spMkLst>
        </pc:spChg>
        <pc:spChg chg="mod">
          <ac:chgData name="LYNAGH Connor" userId="6ba16826-a125-4f68-ab5d-84bd7aab3e00" providerId="ADAL" clId="{F0FE71C6-F0BC-4E6D-A81C-4E62D06AB176}" dt="2024-04-01T16:47:15.028" v="1296"/>
          <ac:spMkLst>
            <pc:docMk/>
            <pc:sldMk cId="2654349321" sldId="2147477988"/>
            <ac:spMk id="805" creationId="{10F59E82-3A05-6A55-7DB0-9939580C3120}"/>
          </ac:spMkLst>
        </pc:spChg>
        <pc:spChg chg="mod">
          <ac:chgData name="LYNAGH Connor" userId="6ba16826-a125-4f68-ab5d-84bd7aab3e00" providerId="ADAL" clId="{F0FE71C6-F0BC-4E6D-A81C-4E62D06AB176}" dt="2024-04-01T16:47:15.028" v="1296"/>
          <ac:spMkLst>
            <pc:docMk/>
            <pc:sldMk cId="2654349321" sldId="2147477988"/>
            <ac:spMk id="806" creationId="{9E46CF18-691A-0F21-771B-52AF2BAAEC54}"/>
          </ac:spMkLst>
        </pc:spChg>
        <pc:spChg chg="mod">
          <ac:chgData name="LYNAGH Connor" userId="6ba16826-a125-4f68-ab5d-84bd7aab3e00" providerId="ADAL" clId="{F0FE71C6-F0BC-4E6D-A81C-4E62D06AB176}" dt="2024-04-01T16:47:15.028" v="1296"/>
          <ac:spMkLst>
            <pc:docMk/>
            <pc:sldMk cId="2654349321" sldId="2147477988"/>
            <ac:spMk id="807" creationId="{027B5E5C-12B5-93AB-4237-B749F6F31AD3}"/>
          </ac:spMkLst>
        </pc:spChg>
        <pc:spChg chg="mod">
          <ac:chgData name="LYNAGH Connor" userId="6ba16826-a125-4f68-ab5d-84bd7aab3e00" providerId="ADAL" clId="{F0FE71C6-F0BC-4E6D-A81C-4E62D06AB176}" dt="2024-04-01T16:47:15.028" v="1296"/>
          <ac:spMkLst>
            <pc:docMk/>
            <pc:sldMk cId="2654349321" sldId="2147477988"/>
            <ac:spMk id="809" creationId="{C4FFDC16-EAD0-686F-31F9-F74E1C6BF54A}"/>
          </ac:spMkLst>
        </pc:spChg>
        <pc:spChg chg="mod">
          <ac:chgData name="LYNAGH Connor" userId="6ba16826-a125-4f68-ab5d-84bd7aab3e00" providerId="ADAL" clId="{F0FE71C6-F0BC-4E6D-A81C-4E62D06AB176}" dt="2024-04-01T16:47:15.028" v="1296"/>
          <ac:spMkLst>
            <pc:docMk/>
            <pc:sldMk cId="2654349321" sldId="2147477988"/>
            <ac:spMk id="811" creationId="{F6EF883C-4118-E7CF-1F9C-D7EEDEE9BCB4}"/>
          </ac:spMkLst>
        </pc:spChg>
        <pc:spChg chg="mod">
          <ac:chgData name="LYNAGH Connor" userId="6ba16826-a125-4f68-ab5d-84bd7aab3e00" providerId="ADAL" clId="{F0FE71C6-F0BC-4E6D-A81C-4E62D06AB176}" dt="2024-04-01T16:47:15.028" v="1296"/>
          <ac:spMkLst>
            <pc:docMk/>
            <pc:sldMk cId="2654349321" sldId="2147477988"/>
            <ac:spMk id="812" creationId="{7A3AA2B7-3E1D-046F-9F91-617630EE7E4C}"/>
          </ac:spMkLst>
        </pc:spChg>
        <pc:spChg chg="mod">
          <ac:chgData name="LYNAGH Connor" userId="6ba16826-a125-4f68-ab5d-84bd7aab3e00" providerId="ADAL" clId="{F0FE71C6-F0BC-4E6D-A81C-4E62D06AB176}" dt="2024-04-01T16:47:15.028" v="1296"/>
          <ac:spMkLst>
            <pc:docMk/>
            <pc:sldMk cId="2654349321" sldId="2147477988"/>
            <ac:spMk id="813" creationId="{2C5C1C37-0E16-E3BF-95D4-8903ECB99D4A}"/>
          </ac:spMkLst>
        </pc:spChg>
        <pc:spChg chg="mod">
          <ac:chgData name="LYNAGH Connor" userId="6ba16826-a125-4f68-ab5d-84bd7aab3e00" providerId="ADAL" clId="{F0FE71C6-F0BC-4E6D-A81C-4E62D06AB176}" dt="2024-04-01T16:47:15.028" v="1296"/>
          <ac:spMkLst>
            <pc:docMk/>
            <pc:sldMk cId="2654349321" sldId="2147477988"/>
            <ac:spMk id="815" creationId="{01FEF7CD-B155-AA9F-FB1F-6DF35018BEFC}"/>
          </ac:spMkLst>
        </pc:spChg>
        <pc:spChg chg="mod">
          <ac:chgData name="LYNAGH Connor" userId="6ba16826-a125-4f68-ab5d-84bd7aab3e00" providerId="ADAL" clId="{F0FE71C6-F0BC-4E6D-A81C-4E62D06AB176}" dt="2024-04-01T16:47:15.028" v="1296"/>
          <ac:spMkLst>
            <pc:docMk/>
            <pc:sldMk cId="2654349321" sldId="2147477988"/>
            <ac:spMk id="817" creationId="{B3CFB87B-5DB5-61FF-9392-08E55A36BF28}"/>
          </ac:spMkLst>
        </pc:spChg>
        <pc:spChg chg="mod">
          <ac:chgData name="LYNAGH Connor" userId="6ba16826-a125-4f68-ab5d-84bd7aab3e00" providerId="ADAL" clId="{F0FE71C6-F0BC-4E6D-A81C-4E62D06AB176}" dt="2024-04-01T16:47:15.028" v="1296"/>
          <ac:spMkLst>
            <pc:docMk/>
            <pc:sldMk cId="2654349321" sldId="2147477988"/>
            <ac:spMk id="820" creationId="{7FB57D62-D55D-8D63-00A2-99E5B9380E82}"/>
          </ac:spMkLst>
        </pc:spChg>
        <pc:spChg chg="mod">
          <ac:chgData name="LYNAGH Connor" userId="6ba16826-a125-4f68-ab5d-84bd7aab3e00" providerId="ADAL" clId="{F0FE71C6-F0BC-4E6D-A81C-4E62D06AB176}" dt="2024-04-01T16:47:15.028" v="1296"/>
          <ac:spMkLst>
            <pc:docMk/>
            <pc:sldMk cId="2654349321" sldId="2147477988"/>
            <ac:spMk id="821" creationId="{DF1DB3A2-55F6-8042-5B19-0B48FE78708C}"/>
          </ac:spMkLst>
        </pc:spChg>
        <pc:spChg chg="mod">
          <ac:chgData name="LYNAGH Connor" userId="6ba16826-a125-4f68-ab5d-84bd7aab3e00" providerId="ADAL" clId="{F0FE71C6-F0BC-4E6D-A81C-4E62D06AB176}" dt="2024-04-01T16:47:15.028" v="1296"/>
          <ac:spMkLst>
            <pc:docMk/>
            <pc:sldMk cId="2654349321" sldId="2147477988"/>
            <ac:spMk id="826" creationId="{B1886A23-F3D4-FFA8-8904-061BB59258B8}"/>
          </ac:spMkLst>
        </pc:spChg>
        <pc:spChg chg="mod">
          <ac:chgData name="LYNAGH Connor" userId="6ba16826-a125-4f68-ab5d-84bd7aab3e00" providerId="ADAL" clId="{F0FE71C6-F0BC-4E6D-A81C-4E62D06AB176}" dt="2024-04-01T16:47:15.028" v="1296"/>
          <ac:spMkLst>
            <pc:docMk/>
            <pc:sldMk cId="2654349321" sldId="2147477988"/>
            <ac:spMk id="828" creationId="{77DE87A6-F8FB-9F94-5F0E-2C54510C0E21}"/>
          </ac:spMkLst>
        </pc:spChg>
        <pc:spChg chg="mod">
          <ac:chgData name="LYNAGH Connor" userId="6ba16826-a125-4f68-ab5d-84bd7aab3e00" providerId="ADAL" clId="{F0FE71C6-F0BC-4E6D-A81C-4E62D06AB176}" dt="2024-04-01T16:47:15.028" v="1296"/>
          <ac:spMkLst>
            <pc:docMk/>
            <pc:sldMk cId="2654349321" sldId="2147477988"/>
            <ac:spMk id="829" creationId="{101B5C11-092C-6670-5DBE-B88FB6C3317C}"/>
          </ac:spMkLst>
        </pc:spChg>
        <pc:spChg chg="mod">
          <ac:chgData name="LYNAGH Connor" userId="6ba16826-a125-4f68-ab5d-84bd7aab3e00" providerId="ADAL" clId="{F0FE71C6-F0BC-4E6D-A81C-4E62D06AB176}" dt="2024-04-01T16:47:15.028" v="1296"/>
          <ac:spMkLst>
            <pc:docMk/>
            <pc:sldMk cId="2654349321" sldId="2147477988"/>
            <ac:spMk id="830" creationId="{4F53470F-A532-3700-2F81-FE7A98A7B6FC}"/>
          </ac:spMkLst>
        </pc:spChg>
        <pc:spChg chg="mod">
          <ac:chgData name="LYNAGH Connor" userId="6ba16826-a125-4f68-ab5d-84bd7aab3e00" providerId="ADAL" clId="{F0FE71C6-F0BC-4E6D-A81C-4E62D06AB176}" dt="2024-04-01T16:47:15.028" v="1296"/>
          <ac:spMkLst>
            <pc:docMk/>
            <pc:sldMk cId="2654349321" sldId="2147477988"/>
            <ac:spMk id="831" creationId="{FDC83791-7679-18FC-2482-1F735C51FC49}"/>
          </ac:spMkLst>
        </pc:spChg>
        <pc:spChg chg="mod">
          <ac:chgData name="LYNAGH Connor" userId="6ba16826-a125-4f68-ab5d-84bd7aab3e00" providerId="ADAL" clId="{F0FE71C6-F0BC-4E6D-A81C-4E62D06AB176}" dt="2024-04-01T16:47:15.028" v="1296"/>
          <ac:spMkLst>
            <pc:docMk/>
            <pc:sldMk cId="2654349321" sldId="2147477988"/>
            <ac:spMk id="1024" creationId="{77CB7C92-6F2F-FCCA-7600-2410AAB5A7C1}"/>
          </ac:spMkLst>
        </pc:spChg>
        <pc:spChg chg="mod">
          <ac:chgData name="LYNAGH Connor" userId="6ba16826-a125-4f68-ab5d-84bd7aab3e00" providerId="ADAL" clId="{F0FE71C6-F0BC-4E6D-A81C-4E62D06AB176}" dt="2024-04-01T16:47:15.028" v="1296"/>
          <ac:spMkLst>
            <pc:docMk/>
            <pc:sldMk cId="2654349321" sldId="2147477988"/>
            <ac:spMk id="1026" creationId="{11F84CFC-AF72-A258-8B27-0E238AE4002D}"/>
          </ac:spMkLst>
        </pc:spChg>
        <pc:spChg chg="mod">
          <ac:chgData name="LYNAGH Connor" userId="6ba16826-a125-4f68-ab5d-84bd7aab3e00" providerId="ADAL" clId="{F0FE71C6-F0BC-4E6D-A81C-4E62D06AB176}" dt="2024-04-01T16:47:15.028" v="1296"/>
          <ac:spMkLst>
            <pc:docMk/>
            <pc:sldMk cId="2654349321" sldId="2147477988"/>
            <ac:spMk id="1027" creationId="{7EEA2AB4-D578-89A4-FF6F-650C036D4D95}"/>
          </ac:spMkLst>
        </pc:spChg>
        <pc:spChg chg="mod">
          <ac:chgData name="LYNAGH Connor" userId="6ba16826-a125-4f68-ab5d-84bd7aab3e00" providerId="ADAL" clId="{F0FE71C6-F0BC-4E6D-A81C-4E62D06AB176}" dt="2024-04-01T16:47:15.028" v="1296"/>
          <ac:spMkLst>
            <pc:docMk/>
            <pc:sldMk cId="2654349321" sldId="2147477988"/>
            <ac:spMk id="1028" creationId="{9D162DB1-2D6A-1D43-0144-F8B605D49BB8}"/>
          </ac:spMkLst>
        </pc:spChg>
        <pc:spChg chg="mod">
          <ac:chgData name="LYNAGH Connor" userId="6ba16826-a125-4f68-ab5d-84bd7aab3e00" providerId="ADAL" clId="{F0FE71C6-F0BC-4E6D-A81C-4E62D06AB176}" dt="2024-04-01T16:47:15.028" v="1296"/>
          <ac:spMkLst>
            <pc:docMk/>
            <pc:sldMk cId="2654349321" sldId="2147477988"/>
            <ac:spMk id="1029" creationId="{8E8C7994-8CFD-B0A8-5A78-34CBDEE58424}"/>
          </ac:spMkLst>
        </pc:spChg>
        <pc:spChg chg="mod">
          <ac:chgData name="LYNAGH Connor" userId="6ba16826-a125-4f68-ab5d-84bd7aab3e00" providerId="ADAL" clId="{F0FE71C6-F0BC-4E6D-A81C-4E62D06AB176}" dt="2024-04-01T16:47:15.028" v="1296"/>
          <ac:spMkLst>
            <pc:docMk/>
            <pc:sldMk cId="2654349321" sldId="2147477988"/>
            <ac:spMk id="1030" creationId="{E2AED725-5C47-9F07-B70C-8EF8330A23AB}"/>
          </ac:spMkLst>
        </pc:spChg>
        <pc:spChg chg="mod">
          <ac:chgData name="LYNAGH Connor" userId="6ba16826-a125-4f68-ab5d-84bd7aab3e00" providerId="ADAL" clId="{F0FE71C6-F0BC-4E6D-A81C-4E62D06AB176}" dt="2024-04-01T16:47:15.028" v="1296"/>
          <ac:spMkLst>
            <pc:docMk/>
            <pc:sldMk cId="2654349321" sldId="2147477988"/>
            <ac:spMk id="1033" creationId="{138252B7-93A4-17C0-AA0C-92E6F3B5D7B6}"/>
          </ac:spMkLst>
        </pc:spChg>
        <pc:spChg chg="mod">
          <ac:chgData name="LYNAGH Connor" userId="6ba16826-a125-4f68-ab5d-84bd7aab3e00" providerId="ADAL" clId="{F0FE71C6-F0BC-4E6D-A81C-4E62D06AB176}" dt="2024-04-01T16:47:15.028" v="1296"/>
          <ac:spMkLst>
            <pc:docMk/>
            <pc:sldMk cId="2654349321" sldId="2147477988"/>
            <ac:spMk id="1035" creationId="{E63B277C-5443-F3BE-5C00-384AE046FC35}"/>
          </ac:spMkLst>
        </pc:spChg>
        <pc:spChg chg="mod">
          <ac:chgData name="LYNAGH Connor" userId="6ba16826-a125-4f68-ab5d-84bd7aab3e00" providerId="ADAL" clId="{F0FE71C6-F0BC-4E6D-A81C-4E62D06AB176}" dt="2024-04-01T16:47:15.028" v="1296"/>
          <ac:spMkLst>
            <pc:docMk/>
            <pc:sldMk cId="2654349321" sldId="2147477988"/>
            <ac:spMk id="1036" creationId="{80B55F4E-5A79-0D26-EA9E-FA952BCE5A9D}"/>
          </ac:spMkLst>
        </pc:spChg>
        <pc:spChg chg="mod">
          <ac:chgData name="LYNAGH Connor" userId="6ba16826-a125-4f68-ab5d-84bd7aab3e00" providerId="ADAL" clId="{F0FE71C6-F0BC-4E6D-A81C-4E62D06AB176}" dt="2024-04-01T16:47:15.028" v="1296"/>
          <ac:spMkLst>
            <pc:docMk/>
            <pc:sldMk cId="2654349321" sldId="2147477988"/>
            <ac:spMk id="1038" creationId="{FD992143-1BE0-970D-B28F-71660AF353BA}"/>
          </ac:spMkLst>
        </pc:spChg>
        <pc:spChg chg="mod">
          <ac:chgData name="LYNAGH Connor" userId="6ba16826-a125-4f68-ab5d-84bd7aab3e00" providerId="ADAL" clId="{F0FE71C6-F0BC-4E6D-A81C-4E62D06AB176}" dt="2024-04-01T16:47:15.028" v="1296"/>
          <ac:spMkLst>
            <pc:docMk/>
            <pc:sldMk cId="2654349321" sldId="2147477988"/>
            <ac:spMk id="1039" creationId="{0B7E8A29-94FB-D376-7B1A-A67F66BA4241}"/>
          </ac:spMkLst>
        </pc:spChg>
        <pc:spChg chg="mod">
          <ac:chgData name="LYNAGH Connor" userId="6ba16826-a125-4f68-ab5d-84bd7aab3e00" providerId="ADAL" clId="{F0FE71C6-F0BC-4E6D-A81C-4E62D06AB176}" dt="2024-04-01T16:47:15.028" v="1296"/>
          <ac:spMkLst>
            <pc:docMk/>
            <pc:sldMk cId="2654349321" sldId="2147477988"/>
            <ac:spMk id="1040" creationId="{33EBFFFB-3506-3B08-D358-5C3AB230ED97}"/>
          </ac:spMkLst>
        </pc:spChg>
        <pc:spChg chg="mod">
          <ac:chgData name="LYNAGH Connor" userId="6ba16826-a125-4f68-ab5d-84bd7aab3e00" providerId="ADAL" clId="{F0FE71C6-F0BC-4E6D-A81C-4E62D06AB176}" dt="2024-04-01T16:47:15.028" v="1296"/>
          <ac:spMkLst>
            <pc:docMk/>
            <pc:sldMk cId="2654349321" sldId="2147477988"/>
            <ac:spMk id="1041" creationId="{93C15CC2-6D85-6F00-2AD2-924CFF040DDC}"/>
          </ac:spMkLst>
        </pc:spChg>
        <pc:spChg chg="mod">
          <ac:chgData name="LYNAGH Connor" userId="6ba16826-a125-4f68-ab5d-84bd7aab3e00" providerId="ADAL" clId="{F0FE71C6-F0BC-4E6D-A81C-4E62D06AB176}" dt="2024-04-01T16:47:15.028" v="1296"/>
          <ac:spMkLst>
            <pc:docMk/>
            <pc:sldMk cId="2654349321" sldId="2147477988"/>
            <ac:spMk id="1042" creationId="{6F349C7D-7ADE-B59A-8FA8-453BBE214FA5}"/>
          </ac:spMkLst>
        </pc:spChg>
        <pc:spChg chg="mod">
          <ac:chgData name="LYNAGH Connor" userId="6ba16826-a125-4f68-ab5d-84bd7aab3e00" providerId="ADAL" clId="{F0FE71C6-F0BC-4E6D-A81C-4E62D06AB176}" dt="2024-04-01T16:47:15.028" v="1296"/>
          <ac:spMkLst>
            <pc:docMk/>
            <pc:sldMk cId="2654349321" sldId="2147477988"/>
            <ac:spMk id="1044" creationId="{6D60BDB1-3906-A956-C2F8-352C842A38F9}"/>
          </ac:spMkLst>
        </pc:spChg>
        <pc:spChg chg="mod">
          <ac:chgData name="LYNAGH Connor" userId="6ba16826-a125-4f68-ab5d-84bd7aab3e00" providerId="ADAL" clId="{F0FE71C6-F0BC-4E6D-A81C-4E62D06AB176}" dt="2024-04-01T16:47:15.028" v="1296"/>
          <ac:spMkLst>
            <pc:docMk/>
            <pc:sldMk cId="2654349321" sldId="2147477988"/>
            <ac:spMk id="1045" creationId="{46E17295-8DB1-3BEC-D10B-EE2F2729B77A}"/>
          </ac:spMkLst>
        </pc:spChg>
        <pc:spChg chg="mod">
          <ac:chgData name="LYNAGH Connor" userId="6ba16826-a125-4f68-ab5d-84bd7aab3e00" providerId="ADAL" clId="{F0FE71C6-F0BC-4E6D-A81C-4E62D06AB176}" dt="2024-04-01T16:47:15.028" v="1296"/>
          <ac:spMkLst>
            <pc:docMk/>
            <pc:sldMk cId="2654349321" sldId="2147477988"/>
            <ac:spMk id="1046" creationId="{5B0A1656-01FE-B908-AD3D-A5639116B0C7}"/>
          </ac:spMkLst>
        </pc:spChg>
        <pc:spChg chg="mod">
          <ac:chgData name="LYNAGH Connor" userId="6ba16826-a125-4f68-ab5d-84bd7aab3e00" providerId="ADAL" clId="{F0FE71C6-F0BC-4E6D-A81C-4E62D06AB176}" dt="2024-04-01T16:47:15.028" v="1296"/>
          <ac:spMkLst>
            <pc:docMk/>
            <pc:sldMk cId="2654349321" sldId="2147477988"/>
            <ac:spMk id="1047" creationId="{8D758AB8-DCED-DEBF-4C70-6DAA080EED8C}"/>
          </ac:spMkLst>
        </pc:spChg>
        <pc:spChg chg="mod">
          <ac:chgData name="LYNAGH Connor" userId="6ba16826-a125-4f68-ab5d-84bd7aab3e00" providerId="ADAL" clId="{F0FE71C6-F0BC-4E6D-A81C-4E62D06AB176}" dt="2024-04-01T16:47:15.028" v="1296"/>
          <ac:spMkLst>
            <pc:docMk/>
            <pc:sldMk cId="2654349321" sldId="2147477988"/>
            <ac:spMk id="1048" creationId="{925E232E-419E-CDE9-2F86-06E3E15F964A}"/>
          </ac:spMkLst>
        </pc:spChg>
        <pc:spChg chg="mod">
          <ac:chgData name="LYNAGH Connor" userId="6ba16826-a125-4f68-ab5d-84bd7aab3e00" providerId="ADAL" clId="{F0FE71C6-F0BC-4E6D-A81C-4E62D06AB176}" dt="2024-04-01T16:47:15.028" v="1296"/>
          <ac:spMkLst>
            <pc:docMk/>
            <pc:sldMk cId="2654349321" sldId="2147477988"/>
            <ac:spMk id="1051" creationId="{D559CB1D-6FF8-FA84-F339-A60ECCFA71B3}"/>
          </ac:spMkLst>
        </pc:spChg>
        <pc:spChg chg="mod">
          <ac:chgData name="LYNAGH Connor" userId="6ba16826-a125-4f68-ab5d-84bd7aab3e00" providerId="ADAL" clId="{F0FE71C6-F0BC-4E6D-A81C-4E62D06AB176}" dt="2024-04-01T16:47:15.028" v="1296"/>
          <ac:spMkLst>
            <pc:docMk/>
            <pc:sldMk cId="2654349321" sldId="2147477988"/>
            <ac:spMk id="1052" creationId="{8A70182C-572F-E524-C80C-9F64542DA003}"/>
          </ac:spMkLst>
        </pc:spChg>
        <pc:spChg chg="mod">
          <ac:chgData name="LYNAGH Connor" userId="6ba16826-a125-4f68-ab5d-84bd7aab3e00" providerId="ADAL" clId="{F0FE71C6-F0BC-4E6D-A81C-4E62D06AB176}" dt="2024-04-01T16:47:15.028" v="1296"/>
          <ac:spMkLst>
            <pc:docMk/>
            <pc:sldMk cId="2654349321" sldId="2147477988"/>
            <ac:spMk id="1053" creationId="{E1204361-5928-0740-ED14-416D10819EE3}"/>
          </ac:spMkLst>
        </pc:spChg>
        <pc:spChg chg="mod">
          <ac:chgData name="LYNAGH Connor" userId="6ba16826-a125-4f68-ab5d-84bd7aab3e00" providerId="ADAL" clId="{F0FE71C6-F0BC-4E6D-A81C-4E62D06AB176}" dt="2024-04-01T16:47:15.028" v="1296"/>
          <ac:spMkLst>
            <pc:docMk/>
            <pc:sldMk cId="2654349321" sldId="2147477988"/>
            <ac:spMk id="1055" creationId="{330DC417-EA71-3E1D-23E8-1FA793BA1C6E}"/>
          </ac:spMkLst>
        </pc:spChg>
        <pc:spChg chg="mod">
          <ac:chgData name="LYNAGH Connor" userId="6ba16826-a125-4f68-ab5d-84bd7aab3e00" providerId="ADAL" clId="{F0FE71C6-F0BC-4E6D-A81C-4E62D06AB176}" dt="2024-04-01T16:47:15.028" v="1296"/>
          <ac:spMkLst>
            <pc:docMk/>
            <pc:sldMk cId="2654349321" sldId="2147477988"/>
            <ac:spMk id="1056" creationId="{1EC2B0C9-23E8-E3F8-1792-3FCF501CBDDC}"/>
          </ac:spMkLst>
        </pc:spChg>
        <pc:spChg chg="mod">
          <ac:chgData name="LYNAGH Connor" userId="6ba16826-a125-4f68-ab5d-84bd7aab3e00" providerId="ADAL" clId="{F0FE71C6-F0BC-4E6D-A81C-4E62D06AB176}" dt="2024-04-01T16:47:15.028" v="1296"/>
          <ac:spMkLst>
            <pc:docMk/>
            <pc:sldMk cId="2654349321" sldId="2147477988"/>
            <ac:spMk id="1057" creationId="{19623BEE-A2BA-20B0-F8BB-9553D1FD3BB8}"/>
          </ac:spMkLst>
        </pc:spChg>
        <pc:spChg chg="mod">
          <ac:chgData name="LYNAGH Connor" userId="6ba16826-a125-4f68-ab5d-84bd7aab3e00" providerId="ADAL" clId="{F0FE71C6-F0BC-4E6D-A81C-4E62D06AB176}" dt="2024-04-01T16:47:15.028" v="1296"/>
          <ac:spMkLst>
            <pc:docMk/>
            <pc:sldMk cId="2654349321" sldId="2147477988"/>
            <ac:spMk id="1058" creationId="{32217674-4EAE-2D76-67EC-73E350D58751}"/>
          </ac:spMkLst>
        </pc:spChg>
        <pc:spChg chg="mod">
          <ac:chgData name="LYNAGH Connor" userId="6ba16826-a125-4f68-ab5d-84bd7aab3e00" providerId="ADAL" clId="{F0FE71C6-F0BC-4E6D-A81C-4E62D06AB176}" dt="2024-04-01T16:47:15.028" v="1296"/>
          <ac:spMkLst>
            <pc:docMk/>
            <pc:sldMk cId="2654349321" sldId="2147477988"/>
            <ac:spMk id="1059" creationId="{1CBB276E-BD20-1716-D40F-AAA8F1233DF9}"/>
          </ac:spMkLst>
        </pc:spChg>
        <pc:spChg chg="mod">
          <ac:chgData name="LYNAGH Connor" userId="6ba16826-a125-4f68-ab5d-84bd7aab3e00" providerId="ADAL" clId="{F0FE71C6-F0BC-4E6D-A81C-4E62D06AB176}" dt="2024-04-01T16:47:15.028" v="1296"/>
          <ac:spMkLst>
            <pc:docMk/>
            <pc:sldMk cId="2654349321" sldId="2147477988"/>
            <ac:spMk id="1061" creationId="{5F5929ED-7FE2-A386-996D-E75476FED5DA}"/>
          </ac:spMkLst>
        </pc:spChg>
        <pc:spChg chg="mod">
          <ac:chgData name="LYNAGH Connor" userId="6ba16826-a125-4f68-ab5d-84bd7aab3e00" providerId="ADAL" clId="{F0FE71C6-F0BC-4E6D-A81C-4E62D06AB176}" dt="2024-04-01T16:47:15.028" v="1296"/>
          <ac:spMkLst>
            <pc:docMk/>
            <pc:sldMk cId="2654349321" sldId="2147477988"/>
            <ac:spMk id="1062" creationId="{3AE4EDC7-01DA-5736-D7C0-E97F10FBEC9B}"/>
          </ac:spMkLst>
        </pc:spChg>
        <pc:spChg chg="mod">
          <ac:chgData name="LYNAGH Connor" userId="6ba16826-a125-4f68-ab5d-84bd7aab3e00" providerId="ADAL" clId="{F0FE71C6-F0BC-4E6D-A81C-4E62D06AB176}" dt="2024-04-01T16:47:15.028" v="1296"/>
          <ac:spMkLst>
            <pc:docMk/>
            <pc:sldMk cId="2654349321" sldId="2147477988"/>
            <ac:spMk id="1065" creationId="{F4C543F4-3F29-EBAE-F137-FF48CADB4CB0}"/>
          </ac:spMkLst>
        </pc:spChg>
        <pc:spChg chg="mod">
          <ac:chgData name="LYNAGH Connor" userId="6ba16826-a125-4f68-ab5d-84bd7aab3e00" providerId="ADAL" clId="{F0FE71C6-F0BC-4E6D-A81C-4E62D06AB176}" dt="2024-04-01T16:47:15.028" v="1296"/>
          <ac:spMkLst>
            <pc:docMk/>
            <pc:sldMk cId="2654349321" sldId="2147477988"/>
            <ac:spMk id="1066" creationId="{0B828F71-A5F8-D58A-2197-C275DAE51C6D}"/>
          </ac:spMkLst>
        </pc:spChg>
        <pc:spChg chg="mod">
          <ac:chgData name="LYNAGH Connor" userId="6ba16826-a125-4f68-ab5d-84bd7aab3e00" providerId="ADAL" clId="{F0FE71C6-F0BC-4E6D-A81C-4E62D06AB176}" dt="2024-04-01T16:47:15.028" v="1296"/>
          <ac:spMkLst>
            <pc:docMk/>
            <pc:sldMk cId="2654349321" sldId="2147477988"/>
            <ac:spMk id="1067" creationId="{FE6A260C-D04F-01F5-8DBD-E654DAD491F6}"/>
          </ac:spMkLst>
        </pc:spChg>
        <pc:spChg chg="mod">
          <ac:chgData name="LYNAGH Connor" userId="6ba16826-a125-4f68-ab5d-84bd7aab3e00" providerId="ADAL" clId="{F0FE71C6-F0BC-4E6D-A81C-4E62D06AB176}" dt="2024-04-01T16:47:15.028" v="1296"/>
          <ac:spMkLst>
            <pc:docMk/>
            <pc:sldMk cId="2654349321" sldId="2147477988"/>
            <ac:spMk id="1070" creationId="{05B512BF-8D71-B728-76A6-7D9AB6B77B3E}"/>
          </ac:spMkLst>
        </pc:spChg>
        <pc:spChg chg="mod">
          <ac:chgData name="LYNAGH Connor" userId="6ba16826-a125-4f68-ab5d-84bd7aab3e00" providerId="ADAL" clId="{F0FE71C6-F0BC-4E6D-A81C-4E62D06AB176}" dt="2024-04-01T16:47:15.028" v="1296"/>
          <ac:spMkLst>
            <pc:docMk/>
            <pc:sldMk cId="2654349321" sldId="2147477988"/>
            <ac:spMk id="1071" creationId="{7F917FA1-B8F4-F965-A6EC-D4B56D2A65C1}"/>
          </ac:spMkLst>
        </pc:spChg>
        <pc:spChg chg="mod">
          <ac:chgData name="LYNAGH Connor" userId="6ba16826-a125-4f68-ab5d-84bd7aab3e00" providerId="ADAL" clId="{F0FE71C6-F0BC-4E6D-A81C-4E62D06AB176}" dt="2024-04-01T16:47:15.028" v="1296"/>
          <ac:spMkLst>
            <pc:docMk/>
            <pc:sldMk cId="2654349321" sldId="2147477988"/>
            <ac:spMk id="1072" creationId="{EEFB4333-E2F0-DFA7-DFAA-61ABF0C6EB25}"/>
          </ac:spMkLst>
        </pc:spChg>
        <pc:spChg chg="mod">
          <ac:chgData name="LYNAGH Connor" userId="6ba16826-a125-4f68-ab5d-84bd7aab3e00" providerId="ADAL" clId="{F0FE71C6-F0BC-4E6D-A81C-4E62D06AB176}" dt="2024-04-01T16:47:15.028" v="1296"/>
          <ac:spMkLst>
            <pc:docMk/>
            <pc:sldMk cId="2654349321" sldId="2147477988"/>
            <ac:spMk id="1074" creationId="{0A73B7BB-102E-77C5-AB56-232D3325A756}"/>
          </ac:spMkLst>
        </pc:spChg>
        <pc:spChg chg="mod">
          <ac:chgData name="LYNAGH Connor" userId="6ba16826-a125-4f68-ab5d-84bd7aab3e00" providerId="ADAL" clId="{F0FE71C6-F0BC-4E6D-A81C-4E62D06AB176}" dt="2024-04-01T16:47:15.028" v="1296"/>
          <ac:spMkLst>
            <pc:docMk/>
            <pc:sldMk cId="2654349321" sldId="2147477988"/>
            <ac:spMk id="1075" creationId="{67B05AD3-B991-F8C9-AB2C-243EED02AD6D}"/>
          </ac:spMkLst>
        </pc:spChg>
        <pc:spChg chg="mod">
          <ac:chgData name="LYNAGH Connor" userId="6ba16826-a125-4f68-ab5d-84bd7aab3e00" providerId="ADAL" clId="{F0FE71C6-F0BC-4E6D-A81C-4E62D06AB176}" dt="2024-04-01T16:47:15.028" v="1296"/>
          <ac:spMkLst>
            <pc:docMk/>
            <pc:sldMk cId="2654349321" sldId="2147477988"/>
            <ac:spMk id="1076" creationId="{560FFC2A-0FFF-571C-B9E2-18ED70DFA00F}"/>
          </ac:spMkLst>
        </pc:spChg>
        <pc:spChg chg="mod">
          <ac:chgData name="LYNAGH Connor" userId="6ba16826-a125-4f68-ab5d-84bd7aab3e00" providerId="ADAL" clId="{F0FE71C6-F0BC-4E6D-A81C-4E62D06AB176}" dt="2024-04-01T16:47:15.028" v="1296"/>
          <ac:spMkLst>
            <pc:docMk/>
            <pc:sldMk cId="2654349321" sldId="2147477988"/>
            <ac:spMk id="1077" creationId="{490A0524-A505-F13C-AD29-6B5A12F6B360}"/>
          </ac:spMkLst>
        </pc:spChg>
        <pc:spChg chg="mod">
          <ac:chgData name="LYNAGH Connor" userId="6ba16826-a125-4f68-ab5d-84bd7aab3e00" providerId="ADAL" clId="{F0FE71C6-F0BC-4E6D-A81C-4E62D06AB176}" dt="2024-04-01T16:47:15.028" v="1296"/>
          <ac:spMkLst>
            <pc:docMk/>
            <pc:sldMk cId="2654349321" sldId="2147477988"/>
            <ac:spMk id="1078" creationId="{DECEE994-FA9C-68A8-CFD0-D1B0135CCAD4}"/>
          </ac:spMkLst>
        </pc:spChg>
        <pc:spChg chg="mod">
          <ac:chgData name="LYNAGH Connor" userId="6ba16826-a125-4f68-ab5d-84bd7aab3e00" providerId="ADAL" clId="{F0FE71C6-F0BC-4E6D-A81C-4E62D06AB176}" dt="2024-04-01T16:47:15.028" v="1296"/>
          <ac:spMkLst>
            <pc:docMk/>
            <pc:sldMk cId="2654349321" sldId="2147477988"/>
            <ac:spMk id="1080" creationId="{CB872899-1C67-22DF-FAA2-55E1AA90F7FF}"/>
          </ac:spMkLst>
        </pc:spChg>
        <pc:spChg chg="mod">
          <ac:chgData name="LYNAGH Connor" userId="6ba16826-a125-4f68-ab5d-84bd7aab3e00" providerId="ADAL" clId="{F0FE71C6-F0BC-4E6D-A81C-4E62D06AB176}" dt="2024-04-01T16:47:15.028" v="1296"/>
          <ac:spMkLst>
            <pc:docMk/>
            <pc:sldMk cId="2654349321" sldId="2147477988"/>
            <ac:spMk id="1081" creationId="{E94AC334-B2F0-18F3-73F6-F31EFEA4E145}"/>
          </ac:spMkLst>
        </pc:spChg>
        <pc:spChg chg="mod">
          <ac:chgData name="LYNAGH Connor" userId="6ba16826-a125-4f68-ab5d-84bd7aab3e00" providerId="ADAL" clId="{F0FE71C6-F0BC-4E6D-A81C-4E62D06AB176}" dt="2024-04-01T16:47:15.028" v="1296"/>
          <ac:spMkLst>
            <pc:docMk/>
            <pc:sldMk cId="2654349321" sldId="2147477988"/>
            <ac:spMk id="1082" creationId="{2F06AE57-D5E4-7C8D-8AFA-C1A129D7ACB2}"/>
          </ac:spMkLst>
        </pc:spChg>
        <pc:spChg chg="mod">
          <ac:chgData name="LYNAGH Connor" userId="6ba16826-a125-4f68-ab5d-84bd7aab3e00" providerId="ADAL" clId="{F0FE71C6-F0BC-4E6D-A81C-4E62D06AB176}" dt="2024-04-01T16:47:15.028" v="1296"/>
          <ac:spMkLst>
            <pc:docMk/>
            <pc:sldMk cId="2654349321" sldId="2147477988"/>
            <ac:spMk id="1083" creationId="{39AC5FFD-61FC-2E8C-D524-ED9DCDE8EDB7}"/>
          </ac:spMkLst>
        </pc:spChg>
        <pc:spChg chg="mod">
          <ac:chgData name="LYNAGH Connor" userId="6ba16826-a125-4f68-ab5d-84bd7aab3e00" providerId="ADAL" clId="{F0FE71C6-F0BC-4E6D-A81C-4E62D06AB176}" dt="2024-04-01T16:47:15.028" v="1296"/>
          <ac:spMkLst>
            <pc:docMk/>
            <pc:sldMk cId="2654349321" sldId="2147477988"/>
            <ac:spMk id="1084" creationId="{9AF440A5-F67F-113E-D45C-5F2BF303281E}"/>
          </ac:spMkLst>
        </pc:spChg>
        <pc:spChg chg="mod">
          <ac:chgData name="LYNAGH Connor" userId="6ba16826-a125-4f68-ab5d-84bd7aab3e00" providerId="ADAL" clId="{F0FE71C6-F0BC-4E6D-A81C-4E62D06AB176}" dt="2024-04-01T16:47:15.028" v="1296"/>
          <ac:spMkLst>
            <pc:docMk/>
            <pc:sldMk cId="2654349321" sldId="2147477988"/>
            <ac:spMk id="1087" creationId="{CB3C35B1-E0E4-C11D-9B6E-FDE06A471F30}"/>
          </ac:spMkLst>
        </pc:spChg>
        <pc:spChg chg="mod">
          <ac:chgData name="LYNAGH Connor" userId="6ba16826-a125-4f68-ab5d-84bd7aab3e00" providerId="ADAL" clId="{F0FE71C6-F0BC-4E6D-A81C-4E62D06AB176}" dt="2024-04-01T16:47:15.028" v="1296"/>
          <ac:spMkLst>
            <pc:docMk/>
            <pc:sldMk cId="2654349321" sldId="2147477988"/>
            <ac:spMk id="1088" creationId="{356C7EC0-ADAE-1DD1-5AD0-25898C0999DE}"/>
          </ac:spMkLst>
        </pc:spChg>
        <pc:spChg chg="mod">
          <ac:chgData name="LYNAGH Connor" userId="6ba16826-a125-4f68-ab5d-84bd7aab3e00" providerId="ADAL" clId="{F0FE71C6-F0BC-4E6D-A81C-4E62D06AB176}" dt="2024-04-01T16:47:15.028" v="1296"/>
          <ac:spMkLst>
            <pc:docMk/>
            <pc:sldMk cId="2654349321" sldId="2147477988"/>
            <ac:spMk id="1089" creationId="{55E6E32C-F99E-C911-DFA0-51DE839BE9E4}"/>
          </ac:spMkLst>
        </pc:spChg>
        <pc:spChg chg="mod">
          <ac:chgData name="LYNAGH Connor" userId="6ba16826-a125-4f68-ab5d-84bd7aab3e00" providerId="ADAL" clId="{F0FE71C6-F0BC-4E6D-A81C-4E62D06AB176}" dt="2024-04-01T16:47:15.028" v="1296"/>
          <ac:spMkLst>
            <pc:docMk/>
            <pc:sldMk cId="2654349321" sldId="2147477988"/>
            <ac:spMk id="1091" creationId="{03D3C9EC-712F-4AD7-3910-29FCA9B7F1E1}"/>
          </ac:spMkLst>
        </pc:spChg>
        <pc:spChg chg="mod">
          <ac:chgData name="LYNAGH Connor" userId="6ba16826-a125-4f68-ab5d-84bd7aab3e00" providerId="ADAL" clId="{F0FE71C6-F0BC-4E6D-A81C-4E62D06AB176}" dt="2024-04-01T16:47:15.028" v="1296"/>
          <ac:spMkLst>
            <pc:docMk/>
            <pc:sldMk cId="2654349321" sldId="2147477988"/>
            <ac:spMk id="1092" creationId="{C4EC752B-5274-E001-AC33-00BAD9777540}"/>
          </ac:spMkLst>
        </pc:spChg>
        <pc:spChg chg="mod">
          <ac:chgData name="LYNAGH Connor" userId="6ba16826-a125-4f68-ab5d-84bd7aab3e00" providerId="ADAL" clId="{F0FE71C6-F0BC-4E6D-A81C-4E62D06AB176}" dt="2024-04-01T16:47:15.028" v="1296"/>
          <ac:spMkLst>
            <pc:docMk/>
            <pc:sldMk cId="2654349321" sldId="2147477988"/>
            <ac:spMk id="1093" creationId="{714C069F-DF86-4086-D24B-0D2F14FD2E7A}"/>
          </ac:spMkLst>
        </pc:spChg>
        <pc:spChg chg="mod">
          <ac:chgData name="LYNAGH Connor" userId="6ba16826-a125-4f68-ab5d-84bd7aab3e00" providerId="ADAL" clId="{F0FE71C6-F0BC-4E6D-A81C-4E62D06AB176}" dt="2024-04-01T16:47:15.028" v="1296"/>
          <ac:spMkLst>
            <pc:docMk/>
            <pc:sldMk cId="2654349321" sldId="2147477988"/>
            <ac:spMk id="1094" creationId="{DFB01B0F-6787-4D71-AC7F-CC86F0A0D40A}"/>
          </ac:spMkLst>
        </pc:spChg>
        <pc:spChg chg="mod">
          <ac:chgData name="LYNAGH Connor" userId="6ba16826-a125-4f68-ab5d-84bd7aab3e00" providerId="ADAL" clId="{F0FE71C6-F0BC-4E6D-A81C-4E62D06AB176}" dt="2024-04-01T16:47:15.028" v="1296"/>
          <ac:spMkLst>
            <pc:docMk/>
            <pc:sldMk cId="2654349321" sldId="2147477988"/>
            <ac:spMk id="1095" creationId="{0B3651A2-D872-0258-BD1C-6CB5B3E078A9}"/>
          </ac:spMkLst>
        </pc:spChg>
        <pc:spChg chg="mod">
          <ac:chgData name="LYNAGH Connor" userId="6ba16826-a125-4f68-ab5d-84bd7aab3e00" providerId="ADAL" clId="{F0FE71C6-F0BC-4E6D-A81C-4E62D06AB176}" dt="2024-04-01T16:47:15.028" v="1296"/>
          <ac:spMkLst>
            <pc:docMk/>
            <pc:sldMk cId="2654349321" sldId="2147477988"/>
            <ac:spMk id="1097" creationId="{75011D26-2580-3B45-60D1-9F2E834D1446}"/>
          </ac:spMkLst>
        </pc:spChg>
        <pc:spChg chg="mod">
          <ac:chgData name="LYNAGH Connor" userId="6ba16826-a125-4f68-ab5d-84bd7aab3e00" providerId="ADAL" clId="{F0FE71C6-F0BC-4E6D-A81C-4E62D06AB176}" dt="2024-04-01T16:47:15.028" v="1296"/>
          <ac:spMkLst>
            <pc:docMk/>
            <pc:sldMk cId="2654349321" sldId="2147477988"/>
            <ac:spMk id="1098" creationId="{D54AE08F-C3C4-73FE-7D5B-7FD57DD585A4}"/>
          </ac:spMkLst>
        </pc:spChg>
        <pc:spChg chg="mod">
          <ac:chgData name="LYNAGH Connor" userId="6ba16826-a125-4f68-ab5d-84bd7aab3e00" providerId="ADAL" clId="{F0FE71C6-F0BC-4E6D-A81C-4E62D06AB176}" dt="2024-04-01T16:47:15.028" v="1296"/>
          <ac:spMkLst>
            <pc:docMk/>
            <pc:sldMk cId="2654349321" sldId="2147477988"/>
            <ac:spMk id="1101" creationId="{F2BF2AE9-DEB2-57C0-EDFC-AA3B56B81FD3}"/>
          </ac:spMkLst>
        </pc:spChg>
        <pc:spChg chg="mod">
          <ac:chgData name="LYNAGH Connor" userId="6ba16826-a125-4f68-ab5d-84bd7aab3e00" providerId="ADAL" clId="{F0FE71C6-F0BC-4E6D-A81C-4E62D06AB176}" dt="2024-04-01T16:47:15.028" v="1296"/>
          <ac:spMkLst>
            <pc:docMk/>
            <pc:sldMk cId="2654349321" sldId="2147477988"/>
            <ac:spMk id="1102" creationId="{29FA0A4F-594B-2D31-A5F5-9F71CED9B7A7}"/>
          </ac:spMkLst>
        </pc:spChg>
        <pc:spChg chg="mod">
          <ac:chgData name="LYNAGH Connor" userId="6ba16826-a125-4f68-ab5d-84bd7aab3e00" providerId="ADAL" clId="{F0FE71C6-F0BC-4E6D-A81C-4E62D06AB176}" dt="2024-04-01T16:47:15.028" v="1296"/>
          <ac:spMkLst>
            <pc:docMk/>
            <pc:sldMk cId="2654349321" sldId="2147477988"/>
            <ac:spMk id="1103" creationId="{8FA95CE9-277C-2E69-7170-C43B12ED5B86}"/>
          </ac:spMkLst>
        </pc:spChg>
        <pc:spChg chg="mod">
          <ac:chgData name="LYNAGH Connor" userId="6ba16826-a125-4f68-ab5d-84bd7aab3e00" providerId="ADAL" clId="{F0FE71C6-F0BC-4E6D-A81C-4E62D06AB176}" dt="2024-04-01T16:47:15.028" v="1296"/>
          <ac:spMkLst>
            <pc:docMk/>
            <pc:sldMk cId="2654349321" sldId="2147477988"/>
            <ac:spMk id="1106" creationId="{EEF40142-345B-4531-5366-BCF96DE7EC0F}"/>
          </ac:spMkLst>
        </pc:spChg>
        <pc:spChg chg="mod">
          <ac:chgData name="LYNAGH Connor" userId="6ba16826-a125-4f68-ab5d-84bd7aab3e00" providerId="ADAL" clId="{F0FE71C6-F0BC-4E6D-A81C-4E62D06AB176}" dt="2024-04-01T16:47:15.028" v="1296"/>
          <ac:spMkLst>
            <pc:docMk/>
            <pc:sldMk cId="2654349321" sldId="2147477988"/>
            <ac:spMk id="1107" creationId="{CB75EF12-D721-C190-C3F2-E101DB766FC7}"/>
          </ac:spMkLst>
        </pc:spChg>
        <pc:spChg chg="mod">
          <ac:chgData name="LYNAGH Connor" userId="6ba16826-a125-4f68-ab5d-84bd7aab3e00" providerId="ADAL" clId="{F0FE71C6-F0BC-4E6D-A81C-4E62D06AB176}" dt="2024-04-01T16:47:15.028" v="1296"/>
          <ac:spMkLst>
            <pc:docMk/>
            <pc:sldMk cId="2654349321" sldId="2147477988"/>
            <ac:spMk id="1108" creationId="{C9673D48-6615-858E-5957-361AB14338B8}"/>
          </ac:spMkLst>
        </pc:spChg>
        <pc:spChg chg="mod">
          <ac:chgData name="LYNAGH Connor" userId="6ba16826-a125-4f68-ab5d-84bd7aab3e00" providerId="ADAL" clId="{F0FE71C6-F0BC-4E6D-A81C-4E62D06AB176}" dt="2024-04-01T16:47:15.028" v="1296"/>
          <ac:spMkLst>
            <pc:docMk/>
            <pc:sldMk cId="2654349321" sldId="2147477988"/>
            <ac:spMk id="1110" creationId="{4B700DF9-3E95-C584-CD42-E55554CF9DD1}"/>
          </ac:spMkLst>
        </pc:spChg>
        <pc:spChg chg="mod">
          <ac:chgData name="LYNAGH Connor" userId="6ba16826-a125-4f68-ab5d-84bd7aab3e00" providerId="ADAL" clId="{F0FE71C6-F0BC-4E6D-A81C-4E62D06AB176}" dt="2024-04-01T16:47:15.028" v="1296"/>
          <ac:spMkLst>
            <pc:docMk/>
            <pc:sldMk cId="2654349321" sldId="2147477988"/>
            <ac:spMk id="1111" creationId="{573AEF41-2EFA-D433-5752-926820D66A1E}"/>
          </ac:spMkLst>
        </pc:spChg>
        <pc:spChg chg="mod">
          <ac:chgData name="LYNAGH Connor" userId="6ba16826-a125-4f68-ab5d-84bd7aab3e00" providerId="ADAL" clId="{F0FE71C6-F0BC-4E6D-A81C-4E62D06AB176}" dt="2024-04-01T16:47:15.028" v="1296"/>
          <ac:spMkLst>
            <pc:docMk/>
            <pc:sldMk cId="2654349321" sldId="2147477988"/>
            <ac:spMk id="1112" creationId="{D19CE7A9-D47B-49B6-109D-6A187C7A3691}"/>
          </ac:spMkLst>
        </pc:spChg>
        <pc:spChg chg="mod">
          <ac:chgData name="LYNAGH Connor" userId="6ba16826-a125-4f68-ab5d-84bd7aab3e00" providerId="ADAL" clId="{F0FE71C6-F0BC-4E6D-A81C-4E62D06AB176}" dt="2024-04-01T16:47:15.028" v="1296"/>
          <ac:spMkLst>
            <pc:docMk/>
            <pc:sldMk cId="2654349321" sldId="2147477988"/>
            <ac:spMk id="1113" creationId="{FD72DB8D-1CBE-8864-A9E1-7EFC5465A79C}"/>
          </ac:spMkLst>
        </pc:spChg>
        <pc:spChg chg="mod">
          <ac:chgData name="LYNAGH Connor" userId="6ba16826-a125-4f68-ab5d-84bd7aab3e00" providerId="ADAL" clId="{F0FE71C6-F0BC-4E6D-A81C-4E62D06AB176}" dt="2024-04-01T16:47:15.028" v="1296"/>
          <ac:spMkLst>
            <pc:docMk/>
            <pc:sldMk cId="2654349321" sldId="2147477988"/>
            <ac:spMk id="1114" creationId="{0BE23F5B-F7F1-2904-1E8C-55EB75902D2A}"/>
          </ac:spMkLst>
        </pc:spChg>
        <pc:spChg chg="mod">
          <ac:chgData name="LYNAGH Connor" userId="6ba16826-a125-4f68-ab5d-84bd7aab3e00" providerId="ADAL" clId="{F0FE71C6-F0BC-4E6D-A81C-4E62D06AB176}" dt="2024-04-01T16:47:15.028" v="1296"/>
          <ac:spMkLst>
            <pc:docMk/>
            <pc:sldMk cId="2654349321" sldId="2147477988"/>
            <ac:spMk id="1116" creationId="{D56BDD3C-E54E-A675-7FBC-89E43B3E4AF2}"/>
          </ac:spMkLst>
        </pc:spChg>
        <pc:spChg chg="mod">
          <ac:chgData name="LYNAGH Connor" userId="6ba16826-a125-4f68-ab5d-84bd7aab3e00" providerId="ADAL" clId="{F0FE71C6-F0BC-4E6D-A81C-4E62D06AB176}" dt="2024-04-01T16:47:15.028" v="1296"/>
          <ac:spMkLst>
            <pc:docMk/>
            <pc:sldMk cId="2654349321" sldId="2147477988"/>
            <ac:spMk id="1117" creationId="{F0477205-01EC-0FE5-C21E-88F080CE522D}"/>
          </ac:spMkLst>
        </pc:spChg>
        <pc:spChg chg="mod">
          <ac:chgData name="LYNAGH Connor" userId="6ba16826-a125-4f68-ab5d-84bd7aab3e00" providerId="ADAL" clId="{F0FE71C6-F0BC-4E6D-A81C-4E62D06AB176}" dt="2024-04-01T16:47:15.028" v="1296"/>
          <ac:spMkLst>
            <pc:docMk/>
            <pc:sldMk cId="2654349321" sldId="2147477988"/>
            <ac:spMk id="1118" creationId="{C80AC5C5-F5E0-44A8-019A-E9DCD4578F8C}"/>
          </ac:spMkLst>
        </pc:spChg>
        <pc:spChg chg="mod">
          <ac:chgData name="LYNAGH Connor" userId="6ba16826-a125-4f68-ab5d-84bd7aab3e00" providerId="ADAL" clId="{F0FE71C6-F0BC-4E6D-A81C-4E62D06AB176}" dt="2024-04-01T16:47:15.028" v="1296"/>
          <ac:spMkLst>
            <pc:docMk/>
            <pc:sldMk cId="2654349321" sldId="2147477988"/>
            <ac:spMk id="1119" creationId="{5753D894-02D1-175B-ABE6-E4C966895B8E}"/>
          </ac:spMkLst>
        </pc:spChg>
        <pc:spChg chg="mod">
          <ac:chgData name="LYNAGH Connor" userId="6ba16826-a125-4f68-ab5d-84bd7aab3e00" providerId="ADAL" clId="{F0FE71C6-F0BC-4E6D-A81C-4E62D06AB176}" dt="2024-04-01T16:47:15.028" v="1296"/>
          <ac:spMkLst>
            <pc:docMk/>
            <pc:sldMk cId="2654349321" sldId="2147477988"/>
            <ac:spMk id="1120" creationId="{584C5890-68DE-A2A8-1CDF-34EE45EBBD36}"/>
          </ac:spMkLst>
        </pc:spChg>
        <pc:spChg chg="mod">
          <ac:chgData name="LYNAGH Connor" userId="6ba16826-a125-4f68-ab5d-84bd7aab3e00" providerId="ADAL" clId="{F0FE71C6-F0BC-4E6D-A81C-4E62D06AB176}" dt="2024-04-01T16:47:15.028" v="1296"/>
          <ac:spMkLst>
            <pc:docMk/>
            <pc:sldMk cId="2654349321" sldId="2147477988"/>
            <ac:spMk id="1123" creationId="{A19D702F-4715-FF72-61A2-04B824E8200A}"/>
          </ac:spMkLst>
        </pc:spChg>
        <pc:spChg chg="mod">
          <ac:chgData name="LYNAGH Connor" userId="6ba16826-a125-4f68-ab5d-84bd7aab3e00" providerId="ADAL" clId="{F0FE71C6-F0BC-4E6D-A81C-4E62D06AB176}" dt="2024-04-01T16:47:15.028" v="1296"/>
          <ac:spMkLst>
            <pc:docMk/>
            <pc:sldMk cId="2654349321" sldId="2147477988"/>
            <ac:spMk id="1124" creationId="{3682F502-73DE-3045-9E2F-BEB2D4704BCB}"/>
          </ac:spMkLst>
        </pc:spChg>
        <pc:spChg chg="mod">
          <ac:chgData name="LYNAGH Connor" userId="6ba16826-a125-4f68-ab5d-84bd7aab3e00" providerId="ADAL" clId="{F0FE71C6-F0BC-4E6D-A81C-4E62D06AB176}" dt="2024-04-01T16:47:15.028" v="1296"/>
          <ac:spMkLst>
            <pc:docMk/>
            <pc:sldMk cId="2654349321" sldId="2147477988"/>
            <ac:spMk id="1125" creationId="{B96D5C96-B458-8D09-EB5F-7D340A176233}"/>
          </ac:spMkLst>
        </pc:spChg>
        <pc:spChg chg="mod">
          <ac:chgData name="LYNAGH Connor" userId="6ba16826-a125-4f68-ab5d-84bd7aab3e00" providerId="ADAL" clId="{F0FE71C6-F0BC-4E6D-A81C-4E62D06AB176}" dt="2024-04-01T16:47:15.028" v="1296"/>
          <ac:spMkLst>
            <pc:docMk/>
            <pc:sldMk cId="2654349321" sldId="2147477988"/>
            <ac:spMk id="1127" creationId="{D688DE5E-0B49-7DC2-6B20-DCE4F0F36959}"/>
          </ac:spMkLst>
        </pc:spChg>
        <pc:spChg chg="mod">
          <ac:chgData name="LYNAGH Connor" userId="6ba16826-a125-4f68-ab5d-84bd7aab3e00" providerId="ADAL" clId="{F0FE71C6-F0BC-4E6D-A81C-4E62D06AB176}" dt="2024-04-01T16:47:15.028" v="1296"/>
          <ac:spMkLst>
            <pc:docMk/>
            <pc:sldMk cId="2654349321" sldId="2147477988"/>
            <ac:spMk id="1128" creationId="{5A876A70-D5A7-558E-9693-048D0B913D2C}"/>
          </ac:spMkLst>
        </pc:spChg>
        <pc:spChg chg="mod">
          <ac:chgData name="LYNAGH Connor" userId="6ba16826-a125-4f68-ab5d-84bd7aab3e00" providerId="ADAL" clId="{F0FE71C6-F0BC-4E6D-A81C-4E62D06AB176}" dt="2024-04-01T16:47:15.028" v="1296"/>
          <ac:spMkLst>
            <pc:docMk/>
            <pc:sldMk cId="2654349321" sldId="2147477988"/>
            <ac:spMk id="1129" creationId="{641B9489-9C0F-DD70-3C3D-A9B5105C4479}"/>
          </ac:spMkLst>
        </pc:spChg>
        <pc:spChg chg="mod">
          <ac:chgData name="LYNAGH Connor" userId="6ba16826-a125-4f68-ab5d-84bd7aab3e00" providerId="ADAL" clId="{F0FE71C6-F0BC-4E6D-A81C-4E62D06AB176}" dt="2024-04-01T16:47:15.028" v="1296"/>
          <ac:spMkLst>
            <pc:docMk/>
            <pc:sldMk cId="2654349321" sldId="2147477988"/>
            <ac:spMk id="1130" creationId="{F993E356-299A-5662-107C-8432E8D060AF}"/>
          </ac:spMkLst>
        </pc:spChg>
        <pc:spChg chg="mod">
          <ac:chgData name="LYNAGH Connor" userId="6ba16826-a125-4f68-ab5d-84bd7aab3e00" providerId="ADAL" clId="{F0FE71C6-F0BC-4E6D-A81C-4E62D06AB176}" dt="2024-04-01T16:47:15.028" v="1296"/>
          <ac:spMkLst>
            <pc:docMk/>
            <pc:sldMk cId="2654349321" sldId="2147477988"/>
            <ac:spMk id="1131" creationId="{93FC6B1A-7392-AEE5-3E35-D81746D9DF69}"/>
          </ac:spMkLst>
        </pc:spChg>
        <pc:spChg chg="mod">
          <ac:chgData name="LYNAGH Connor" userId="6ba16826-a125-4f68-ab5d-84bd7aab3e00" providerId="ADAL" clId="{F0FE71C6-F0BC-4E6D-A81C-4E62D06AB176}" dt="2024-04-01T16:47:15.028" v="1296"/>
          <ac:spMkLst>
            <pc:docMk/>
            <pc:sldMk cId="2654349321" sldId="2147477988"/>
            <ac:spMk id="1133" creationId="{DBC994F7-D8E8-F79C-112A-4D082F88C798}"/>
          </ac:spMkLst>
        </pc:spChg>
        <pc:spChg chg="mod">
          <ac:chgData name="LYNAGH Connor" userId="6ba16826-a125-4f68-ab5d-84bd7aab3e00" providerId="ADAL" clId="{F0FE71C6-F0BC-4E6D-A81C-4E62D06AB176}" dt="2024-04-01T16:47:15.028" v="1296"/>
          <ac:spMkLst>
            <pc:docMk/>
            <pc:sldMk cId="2654349321" sldId="2147477988"/>
            <ac:spMk id="1134" creationId="{187DA982-0437-57A7-AF5D-F12078265247}"/>
          </ac:spMkLst>
        </pc:spChg>
        <pc:spChg chg="mod">
          <ac:chgData name="LYNAGH Connor" userId="6ba16826-a125-4f68-ab5d-84bd7aab3e00" providerId="ADAL" clId="{F0FE71C6-F0BC-4E6D-A81C-4E62D06AB176}" dt="2024-04-01T16:47:15.028" v="1296"/>
          <ac:spMkLst>
            <pc:docMk/>
            <pc:sldMk cId="2654349321" sldId="2147477988"/>
            <ac:spMk id="1135" creationId="{02E66560-2B48-B70C-0E1B-576E21934912}"/>
          </ac:spMkLst>
        </pc:spChg>
        <pc:spChg chg="mod">
          <ac:chgData name="LYNAGH Connor" userId="6ba16826-a125-4f68-ab5d-84bd7aab3e00" providerId="ADAL" clId="{F0FE71C6-F0BC-4E6D-A81C-4E62D06AB176}" dt="2024-04-01T16:47:15.028" v="1296"/>
          <ac:spMkLst>
            <pc:docMk/>
            <pc:sldMk cId="2654349321" sldId="2147477988"/>
            <ac:spMk id="1136" creationId="{C118129D-4E81-1B20-16D0-238555445CAD}"/>
          </ac:spMkLst>
        </pc:spChg>
        <pc:spChg chg="mod">
          <ac:chgData name="LYNAGH Connor" userId="6ba16826-a125-4f68-ab5d-84bd7aab3e00" providerId="ADAL" clId="{F0FE71C6-F0BC-4E6D-A81C-4E62D06AB176}" dt="2024-04-01T16:47:15.028" v="1296"/>
          <ac:spMkLst>
            <pc:docMk/>
            <pc:sldMk cId="2654349321" sldId="2147477988"/>
            <ac:spMk id="1139" creationId="{6E496EED-BD81-D5FB-EE9A-0CE87170CECC}"/>
          </ac:spMkLst>
        </pc:spChg>
        <pc:spChg chg="mod">
          <ac:chgData name="LYNAGH Connor" userId="6ba16826-a125-4f68-ab5d-84bd7aab3e00" providerId="ADAL" clId="{F0FE71C6-F0BC-4E6D-A81C-4E62D06AB176}" dt="2024-04-01T16:47:15.028" v="1296"/>
          <ac:spMkLst>
            <pc:docMk/>
            <pc:sldMk cId="2654349321" sldId="2147477988"/>
            <ac:spMk id="1140" creationId="{8D538651-0BC4-CA24-7B22-D2B130DC79CF}"/>
          </ac:spMkLst>
        </pc:spChg>
        <pc:spChg chg="mod">
          <ac:chgData name="LYNAGH Connor" userId="6ba16826-a125-4f68-ab5d-84bd7aab3e00" providerId="ADAL" clId="{F0FE71C6-F0BC-4E6D-A81C-4E62D06AB176}" dt="2024-04-01T16:47:15.028" v="1296"/>
          <ac:spMkLst>
            <pc:docMk/>
            <pc:sldMk cId="2654349321" sldId="2147477988"/>
            <ac:spMk id="1141" creationId="{07D0EB30-0BF5-CB79-0E93-E57B1EF87588}"/>
          </ac:spMkLst>
        </pc:spChg>
        <pc:spChg chg="mod">
          <ac:chgData name="LYNAGH Connor" userId="6ba16826-a125-4f68-ab5d-84bd7aab3e00" providerId="ADAL" clId="{F0FE71C6-F0BC-4E6D-A81C-4E62D06AB176}" dt="2024-04-01T16:47:15.028" v="1296"/>
          <ac:spMkLst>
            <pc:docMk/>
            <pc:sldMk cId="2654349321" sldId="2147477988"/>
            <ac:spMk id="1144" creationId="{56140624-5974-DD8B-871D-45A42EAB7A34}"/>
          </ac:spMkLst>
        </pc:spChg>
        <pc:spChg chg="mod">
          <ac:chgData name="LYNAGH Connor" userId="6ba16826-a125-4f68-ab5d-84bd7aab3e00" providerId="ADAL" clId="{F0FE71C6-F0BC-4E6D-A81C-4E62D06AB176}" dt="2024-04-01T16:47:15.028" v="1296"/>
          <ac:spMkLst>
            <pc:docMk/>
            <pc:sldMk cId="2654349321" sldId="2147477988"/>
            <ac:spMk id="1145" creationId="{96FD0B6D-7BAF-7AEF-98CD-853BF33C71E0}"/>
          </ac:spMkLst>
        </pc:spChg>
        <pc:spChg chg="mod">
          <ac:chgData name="LYNAGH Connor" userId="6ba16826-a125-4f68-ab5d-84bd7aab3e00" providerId="ADAL" clId="{F0FE71C6-F0BC-4E6D-A81C-4E62D06AB176}" dt="2024-04-01T16:47:15.028" v="1296"/>
          <ac:spMkLst>
            <pc:docMk/>
            <pc:sldMk cId="2654349321" sldId="2147477988"/>
            <ac:spMk id="1146" creationId="{3B1A2C93-D3B2-E1BF-807D-C529AFCC6009}"/>
          </ac:spMkLst>
        </pc:spChg>
        <pc:spChg chg="mod">
          <ac:chgData name="LYNAGH Connor" userId="6ba16826-a125-4f68-ab5d-84bd7aab3e00" providerId="ADAL" clId="{F0FE71C6-F0BC-4E6D-A81C-4E62D06AB176}" dt="2024-04-01T16:47:15.028" v="1296"/>
          <ac:spMkLst>
            <pc:docMk/>
            <pc:sldMk cId="2654349321" sldId="2147477988"/>
            <ac:spMk id="1148" creationId="{97905EE1-B4D0-687F-EFD0-E841F971A613}"/>
          </ac:spMkLst>
        </pc:spChg>
        <pc:spChg chg="mod">
          <ac:chgData name="LYNAGH Connor" userId="6ba16826-a125-4f68-ab5d-84bd7aab3e00" providerId="ADAL" clId="{F0FE71C6-F0BC-4E6D-A81C-4E62D06AB176}" dt="2024-04-01T16:47:15.028" v="1296"/>
          <ac:spMkLst>
            <pc:docMk/>
            <pc:sldMk cId="2654349321" sldId="2147477988"/>
            <ac:spMk id="1149" creationId="{3BEBE396-6515-D210-A41B-6BB6526DCA99}"/>
          </ac:spMkLst>
        </pc:spChg>
        <pc:spChg chg="mod">
          <ac:chgData name="LYNAGH Connor" userId="6ba16826-a125-4f68-ab5d-84bd7aab3e00" providerId="ADAL" clId="{F0FE71C6-F0BC-4E6D-A81C-4E62D06AB176}" dt="2024-04-01T16:47:15.028" v="1296"/>
          <ac:spMkLst>
            <pc:docMk/>
            <pc:sldMk cId="2654349321" sldId="2147477988"/>
            <ac:spMk id="1150" creationId="{3EFAE7E9-B5D0-AC89-AECC-5381365C7F74}"/>
          </ac:spMkLst>
        </pc:spChg>
        <pc:spChg chg="mod">
          <ac:chgData name="LYNAGH Connor" userId="6ba16826-a125-4f68-ab5d-84bd7aab3e00" providerId="ADAL" clId="{F0FE71C6-F0BC-4E6D-A81C-4E62D06AB176}" dt="2024-04-01T16:47:15.028" v="1296"/>
          <ac:spMkLst>
            <pc:docMk/>
            <pc:sldMk cId="2654349321" sldId="2147477988"/>
            <ac:spMk id="1151" creationId="{BC766380-4A46-1101-F7DA-DDB53AABB38D}"/>
          </ac:spMkLst>
        </pc:spChg>
        <pc:spChg chg="mod">
          <ac:chgData name="LYNAGH Connor" userId="6ba16826-a125-4f68-ab5d-84bd7aab3e00" providerId="ADAL" clId="{F0FE71C6-F0BC-4E6D-A81C-4E62D06AB176}" dt="2024-04-01T16:47:15.028" v="1296"/>
          <ac:spMkLst>
            <pc:docMk/>
            <pc:sldMk cId="2654349321" sldId="2147477988"/>
            <ac:spMk id="1152" creationId="{9BC38AF3-24E9-5166-2117-F8B9A5CCE8E8}"/>
          </ac:spMkLst>
        </pc:spChg>
        <pc:spChg chg="mod">
          <ac:chgData name="LYNAGH Connor" userId="6ba16826-a125-4f68-ab5d-84bd7aab3e00" providerId="ADAL" clId="{F0FE71C6-F0BC-4E6D-A81C-4E62D06AB176}" dt="2024-04-01T16:47:15.028" v="1296"/>
          <ac:spMkLst>
            <pc:docMk/>
            <pc:sldMk cId="2654349321" sldId="2147477988"/>
            <ac:spMk id="1154" creationId="{7FF461F6-DA7F-C693-6163-314A6ACFD51D}"/>
          </ac:spMkLst>
        </pc:spChg>
        <pc:spChg chg="mod">
          <ac:chgData name="LYNAGH Connor" userId="6ba16826-a125-4f68-ab5d-84bd7aab3e00" providerId="ADAL" clId="{F0FE71C6-F0BC-4E6D-A81C-4E62D06AB176}" dt="2024-04-01T16:47:15.028" v="1296"/>
          <ac:spMkLst>
            <pc:docMk/>
            <pc:sldMk cId="2654349321" sldId="2147477988"/>
            <ac:spMk id="1155" creationId="{F8797A0F-5607-04D5-5B51-5E7266538F91}"/>
          </ac:spMkLst>
        </pc:spChg>
        <pc:spChg chg="mod">
          <ac:chgData name="LYNAGH Connor" userId="6ba16826-a125-4f68-ab5d-84bd7aab3e00" providerId="ADAL" clId="{F0FE71C6-F0BC-4E6D-A81C-4E62D06AB176}" dt="2024-04-01T16:47:15.028" v="1296"/>
          <ac:spMkLst>
            <pc:docMk/>
            <pc:sldMk cId="2654349321" sldId="2147477988"/>
            <ac:spMk id="1156" creationId="{1D25D3A6-ADC1-379F-1FAA-6A42EEB49032}"/>
          </ac:spMkLst>
        </pc:spChg>
        <pc:spChg chg="mod">
          <ac:chgData name="LYNAGH Connor" userId="6ba16826-a125-4f68-ab5d-84bd7aab3e00" providerId="ADAL" clId="{F0FE71C6-F0BC-4E6D-A81C-4E62D06AB176}" dt="2024-04-01T16:47:15.028" v="1296"/>
          <ac:spMkLst>
            <pc:docMk/>
            <pc:sldMk cId="2654349321" sldId="2147477988"/>
            <ac:spMk id="1157" creationId="{2A98CB2C-D811-0F23-D28D-EF764C33EA57}"/>
          </ac:spMkLst>
        </pc:spChg>
        <pc:spChg chg="mod">
          <ac:chgData name="LYNAGH Connor" userId="6ba16826-a125-4f68-ab5d-84bd7aab3e00" providerId="ADAL" clId="{F0FE71C6-F0BC-4E6D-A81C-4E62D06AB176}" dt="2024-04-01T16:47:15.028" v="1296"/>
          <ac:spMkLst>
            <pc:docMk/>
            <pc:sldMk cId="2654349321" sldId="2147477988"/>
            <ac:spMk id="1158" creationId="{57AD2392-F850-486A-3D34-3BC8561F8BCC}"/>
          </ac:spMkLst>
        </pc:spChg>
        <pc:spChg chg="mod">
          <ac:chgData name="LYNAGH Connor" userId="6ba16826-a125-4f68-ab5d-84bd7aab3e00" providerId="ADAL" clId="{F0FE71C6-F0BC-4E6D-A81C-4E62D06AB176}" dt="2024-04-01T16:47:15.028" v="1296"/>
          <ac:spMkLst>
            <pc:docMk/>
            <pc:sldMk cId="2654349321" sldId="2147477988"/>
            <ac:spMk id="1161" creationId="{1A79D09D-164D-BEB2-E1D0-3ED4344B314B}"/>
          </ac:spMkLst>
        </pc:spChg>
        <pc:spChg chg="mod">
          <ac:chgData name="LYNAGH Connor" userId="6ba16826-a125-4f68-ab5d-84bd7aab3e00" providerId="ADAL" clId="{F0FE71C6-F0BC-4E6D-A81C-4E62D06AB176}" dt="2024-04-01T16:47:15.028" v="1296"/>
          <ac:spMkLst>
            <pc:docMk/>
            <pc:sldMk cId="2654349321" sldId="2147477988"/>
            <ac:spMk id="1162" creationId="{2828350A-BED2-408C-84C3-CDD2E605D335}"/>
          </ac:spMkLst>
        </pc:spChg>
        <pc:spChg chg="mod">
          <ac:chgData name="LYNAGH Connor" userId="6ba16826-a125-4f68-ab5d-84bd7aab3e00" providerId="ADAL" clId="{F0FE71C6-F0BC-4E6D-A81C-4E62D06AB176}" dt="2024-04-01T16:47:15.028" v="1296"/>
          <ac:spMkLst>
            <pc:docMk/>
            <pc:sldMk cId="2654349321" sldId="2147477988"/>
            <ac:spMk id="1163" creationId="{42F98F50-4169-6D2D-75B9-64A577429FE2}"/>
          </ac:spMkLst>
        </pc:spChg>
        <pc:spChg chg="mod">
          <ac:chgData name="LYNAGH Connor" userId="6ba16826-a125-4f68-ab5d-84bd7aab3e00" providerId="ADAL" clId="{F0FE71C6-F0BC-4E6D-A81C-4E62D06AB176}" dt="2024-04-01T16:47:15.028" v="1296"/>
          <ac:spMkLst>
            <pc:docMk/>
            <pc:sldMk cId="2654349321" sldId="2147477988"/>
            <ac:spMk id="1165" creationId="{256973FE-0B08-A2A4-4C68-20DC8C3D69FB}"/>
          </ac:spMkLst>
        </pc:spChg>
        <pc:spChg chg="mod">
          <ac:chgData name="LYNAGH Connor" userId="6ba16826-a125-4f68-ab5d-84bd7aab3e00" providerId="ADAL" clId="{F0FE71C6-F0BC-4E6D-A81C-4E62D06AB176}" dt="2024-04-01T16:47:15.028" v="1296"/>
          <ac:spMkLst>
            <pc:docMk/>
            <pc:sldMk cId="2654349321" sldId="2147477988"/>
            <ac:spMk id="1166" creationId="{40BC312B-921F-A8AC-7E25-6A5BCE674A35}"/>
          </ac:spMkLst>
        </pc:spChg>
        <pc:spChg chg="mod">
          <ac:chgData name="LYNAGH Connor" userId="6ba16826-a125-4f68-ab5d-84bd7aab3e00" providerId="ADAL" clId="{F0FE71C6-F0BC-4E6D-A81C-4E62D06AB176}" dt="2024-04-01T16:47:15.028" v="1296"/>
          <ac:spMkLst>
            <pc:docMk/>
            <pc:sldMk cId="2654349321" sldId="2147477988"/>
            <ac:spMk id="1167" creationId="{51BA7A47-25A4-5285-FBA8-9F56E4862F2F}"/>
          </ac:spMkLst>
        </pc:spChg>
        <pc:spChg chg="mod">
          <ac:chgData name="LYNAGH Connor" userId="6ba16826-a125-4f68-ab5d-84bd7aab3e00" providerId="ADAL" clId="{F0FE71C6-F0BC-4E6D-A81C-4E62D06AB176}" dt="2024-04-01T16:47:15.028" v="1296"/>
          <ac:spMkLst>
            <pc:docMk/>
            <pc:sldMk cId="2654349321" sldId="2147477988"/>
            <ac:spMk id="1168" creationId="{35FBA152-1A73-0987-7CC9-11A0ED81757B}"/>
          </ac:spMkLst>
        </pc:spChg>
        <pc:spChg chg="mod">
          <ac:chgData name="LYNAGH Connor" userId="6ba16826-a125-4f68-ab5d-84bd7aab3e00" providerId="ADAL" clId="{F0FE71C6-F0BC-4E6D-A81C-4E62D06AB176}" dt="2024-04-01T16:47:15.028" v="1296"/>
          <ac:spMkLst>
            <pc:docMk/>
            <pc:sldMk cId="2654349321" sldId="2147477988"/>
            <ac:spMk id="1169" creationId="{C78D5C9D-E927-3154-7566-C1BC4BFD9542}"/>
          </ac:spMkLst>
        </pc:spChg>
        <pc:spChg chg="mod">
          <ac:chgData name="LYNAGH Connor" userId="6ba16826-a125-4f68-ab5d-84bd7aab3e00" providerId="ADAL" clId="{F0FE71C6-F0BC-4E6D-A81C-4E62D06AB176}" dt="2024-04-01T16:47:15.028" v="1296"/>
          <ac:spMkLst>
            <pc:docMk/>
            <pc:sldMk cId="2654349321" sldId="2147477988"/>
            <ac:spMk id="1171" creationId="{30FAADDE-39AE-8452-CC00-A43772C3220E}"/>
          </ac:spMkLst>
        </pc:spChg>
        <pc:spChg chg="mod">
          <ac:chgData name="LYNAGH Connor" userId="6ba16826-a125-4f68-ab5d-84bd7aab3e00" providerId="ADAL" clId="{F0FE71C6-F0BC-4E6D-A81C-4E62D06AB176}" dt="2024-04-01T16:47:15.028" v="1296"/>
          <ac:spMkLst>
            <pc:docMk/>
            <pc:sldMk cId="2654349321" sldId="2147477988"/>
            <ac:spMk id="1172" creationId="{60CF62AB-71D9-6028-E2FF-5555FB8D82D4}"/>
          </ac:spMkLst>
        </pc:spChg>
        <pc:spChg chg="mod">
          <ac:chgData name="LYNAGH Connor" userId="6ba16826-a125-4f68-ab5d-84bd7aab3e00" providerId="ADAL" clId="{F0FE71C6-F0BC-4E6D-A81C-4E62D06AB176}" dt="2024-04-01T16:47:15.028" v="1296"/>
          <ac:spMkLst>
            <pc:docMk/>
            <pc:sldMk cId="2654349321" sldId="2147477988"/>
            <ac:spMk id="1173" creationId="{63273097-B0DA-4D48-A91A-A1B83E81843A}"/>
          </ac:spMkLst>
        </pc:spChg>
        <pc:spChg chg="mod">
          <ac:chgData name="LYNAGH Connor" userId="6ba16826-a125-4f68-ab5d-84bd7aab3e00" providerId="ADAL" clId="{F0FE71C6-F0BC-4E6D-A81C-4E62D06AB176}" dt="2024-04-01T16:47:15.028" v="1296"/>
          <ac:spMkLst>
            <pc:docMk/>
            <pc:sldMk cId="2654349321" sldId="2147477988"/>
            <ac:spMk id="1174" creationId="{003FEC00-D637-BF0C-27B0-C604C340A3D5}"/>
          </ac:spMkLst>
        </pc:spChg>
        <pc:spChg chg="mod">
          <ac:chgData name="LYNAGH Connor" userId="6ba16826-a125-4f68-ab5d-84bd7aab3e00" providerId="ADAL" clId="{F0FE71C6-F0BC-4E6D-A81C-4E62D06AB176}" dt="2024-04-01T16:47:15.028" v="1296"/>
          <ac:spMkLst>
            <pc:docMk/>
            <pc:sldMk cId="2654349321" sldId="2147477988"/>
            <ac:spMk id="1175" creationId="{C5AEF055-F6F3-12FA-BA00-5C44912535FC}"/>
          </ac:spMkLst>
        </pc:spChg>
        <pc:spChg chg="mod">
          <ac:chgData name="LYNAGH Connor" userId="6ba16826-a125-4f68-ab5d-84bd7aab3e00" providerId="ADAL" clId="{F0FE71C6-F0BC-4E6D-A81C-4E62D06AB176}" dt="2024-04-01T16:47:15.028" v="1296"/>
          <ac:spMkLst>
            <pc:docMk/>
            <pc:sldMk cId="2654349321" sldId="2147477988"/>
            <ac:spMk id="1178" creationId="{3EDAFFB5-1EA6-E28F-934C-A239ADB46A38}"/>
          </ac:spMkLst>
        </pc:spChg>
        <pc:spChg chg="mod">
          <ac:chgData name="LYNAGH Connor" userId="6ba16826-a125-4f68-ab5d-84bd7aab3e00" providerId="ADAL" clId="{F0FE71C6-F0BC-4E6D-A81C-4E62D06AB176}" dt="2024-04-01T16:47:15.028" v="1296"/>
          <ac:spMkLst>
            <pc:docMk/>
            <pc:sldMk cId="2654349321" sldId="2147477988"/>
            <ac:spMk id="1179" creationId="{C3E78B06-3CCC-FF46-047E-7D9ABD15E659}"/>
          </ac:spMkLst>
        </pc:spChg>
        <pc:spChg chg="mod">
          <ac:chgData name="LYNAGH Connor" userId="6ba16826-a125-4f68-ab5d-84bd7aab3e00" providerId="ADAL" clId="{F0FE71C6-F0BC-4E6D-A81C-4E62D06AB176}" dt="2024-04-01T16:47:15.028" v="1296"/>
          <ac:spMkLst>
            <pc:docMk/>
            <pc:sldMk cId="2654349321" sldId="2147477988"/>
            <ac:spMk id="1180" creationId="{AF7AAA81-32DB-092F-9659-524E3D867862}"/>
          </ac:spMkLst>
        </pc:spChg>
        <pc:spChg chg="mod">
          <ac:chgData name="LYNAGH Connor" userId="6ba16826-a125-4f68-ab5d-84bd7aab3e00" providerId="ADAL" clId="{F0FE71C6-F0BC-4E6D-A81C-4E62D06AB176}" dt="2024-04-01T16:47:15.028" v="1296"/>
          <ac:spMkLst>
            <pc:docMk/>
            <pc:sldMk cId="2654349321" sldId="2147477988"/>
            <ac:spMk id="1182" creationId="{23011099-4388-9480-2CF8-67D22447114B}"/>
          </ac:spMkLst>
        </pc:spChg>
        <pc:spChg chg="mod">
          <ac:chgData name="LYNAGH Connor" userId="6ba16826-a125-4f68-ab5d-84bd7aab3e00" providerId="ADAL" clId="{F0FE71C6-F0BC-4E6D-A81C-4E62D06AB176}" dt="2024-04-01T16:47:15.028" v="1296"/>
          <ac:spMkLst>
            <pc:docMk/>
            <pc:sldMk cId="2654349321" sldId="2147477988"/>
            <ac:spMk id="1183" creationId="{34794220-1E7E-05CB-2158-18454E5B0B9E}"/>
          </ac:spMkLst>
        </pc:spChg>
        <pc:spChg chg="mod">
          <ac:chgData name="LYNAGH Connor" userId="6ba16826-a125-4f68-ab5d-84bd7aab3e00" providerId="ADAL" clId="{F0FE71C6-F0BC-4E6D-A81C-4E62D06AB176}" dt="2024-04-01T16:47:15.028" v="1296"/>
          <ac:spMkLst>
            <pc:docMk/>
            <pc:sldMk cId="2654349321" sldId="2147477988"/>
            <ac:spMk id="1184" creationId="{97379151-A73B-1E64-C0AE-AEF4B4CE922E}"/>
          </ac:spMkLst>
        </pc:spChg>
        <pc:spChg chg="mod">
          <ac:chgData name="LYNAGH Connor" userId="6ba16826-a125-4f68-ab5d-84bd7aab3e00" providerId="ADAL" clId="{F0FE71C6-F0BC-4E6D-A81C-4E62D06AB176}" dt="2024-04-01T16:47:15.028" v="1296"/>
          <ac:spMkLst>
            <pc:docMk/>
            <pc:sldMk cId="2654349321" sldId="2147477988"/>
            <ac:spMk id="1185" creationId="{6B3794D6-5EF8-1EDD-2712-92A2E3F00C70}"/>
          </ac:spMkLst>
        </pc:spChg>
        <pc:spChg chg="mod">
          <ac:chgData name="LYNAGH Connor" userId="6ba16826-a125-4f68-ab5d-84bd7aab3e00" providerId="ADAL" clId="{F0FE71C6-F0BC-4E6D-A81C-4E62D06AB176}" dt="2024-04-01T16:47:15.028" v="1296"/>
          <ac:spMkLst>
            <pc:docMk/>
            <pc:sldMk cId="2654349321" sldId="2147477988"/>
            <ac:spMk id="1186" creationId="{C4723045-2F4B-F45E-A0FB-09749DE93BC0}"/>
          </ac:spMkLst>
        </pc:spChg>
        <pc:spChg chg="mod">
          <ac:chgData name="LYNAGH Connor" userId="6ba16826-a125-4f68-ab5d-84bd7aab3e00" providerId="ADAL" clId="{F0FE71C6-F0BC-4E6D-A81C-4E62D06AB176}" dt="2024-04-01T16:47:15.028" v="1296"/>
          <ac:spMkLst>
            <pc:docMk/>
            <pc:sldMk cId="2654349321" sldId="2147477988"/>
            <ac:spMk id="1188" creationId="{B2F6E27B-7574-21D8-7650-411378BF056A}"/>
          </ac:spMkLst>
        </pc:spChg>
        <pc:spChg chg="mod">
          <ac:chgData name="LYNAGH Connor" userId="6ba16826-a125-4f68-ab5d-84bd7aab3e00" providerId="ADAL" clId="{F0FE71C6-F0BC-4E6D-A81C-4E62D06AB176}" dt="2024-04-01T16:47:15.028" v="1296"/>
          <ac:spMkLst>
            <pc:docMk/>
            <pc:sldMk cId="2654349321" sldId="2147477988"/>
            <ac:spMk id="1189" creationId="{BB516DE9-448E-7F71-662D-4A20496158F2}"/>
          </ac:spMkLst>
        </pc:spChg>
        <pc:spChg chg="mod">
          <ac:chgData name="LYNAGH Connor" userId="6ba16826-a125-4f68-ab5d-84bd7aab3e00" providerId="ADAL" clId="{F0FE71C6-F0BC-4E6D-A81C-4E62D06AB176}" dt="2024-04-01T16:47:15.028" v="1296"/>
          <ac:spMkLst>
            <pc:docMk/>
            <pc:sldMk cId="2654349321" sldId="2147477988"/>
            <ac:spMk id="1191" creationId="{459E56A7-1E74-B3A6-7918-BF87A82C6CD3}"/>
          </ac:spMkLst>
        </pc:spChg>
        <pc:spChg chg="mod">
          <ac:chgData name="LYNAGH Connor" userId="6ba16826-a125-4f68-ab5d-84bd7aab3e00" providerId="ADAL" clId="{F0FE71C6-F0BC-4E6D-A81C-4E62D06AB176}" dt="2024-04-01T16:47:15.028" v="1296"/>
          <ac:spMkLst>
            <pc:docMk/>
            <pc:sldMk cId="2654349321" sldId="2147477988"/>
            <ac:spMk id="1192" creationId="{DDB2E11F-965D-9C22-E16E-DD31552ACD66}"/>
          </ac:spMkLst>
        </pc:spChg>
        <pc:spChg chg="mod">
          <ac:chgData name="LYNAGH Connor" userId="6ba16826-a125-4f68-ab5d-84bd7aab3e00" providerId="ADAL" clId="{F0FE71C6-F0BC-4E6D-A81C-4E62D06AB176}" dt="2024-04-01T16:47:15.028" v="1296"/>
          <ac:spMkLst>
            <pc:docMk/>
            <pc:sldMk cId="2654349321" sldId="2147477988"/>
            <ac:spMk id="1197" creationId="{B325BD36-F217-08E2-0809-4F3EF3973A49}"/>
          </ac:spMkLst>
        </pc:spChg>
        <pc:spChg chg="mod">
          <ac:chgData name="LYNAGH Connor" userId="6ba16826-a125-4f68-ab5d-84bd7aab3e00" providerId="ADAL" clId="{F0FE71C6-F0BC-4E6D-A81C-4E62D06AB176}" dt="2024-04-01T16:47:15.028" v="1296"/>
          <ac:spMkLst>
            <pc:docMk/>
            <pc:sldMk cId="2654349321" sldId="2147477988"/>
            <ac:spMk id="1198" creationId="{3CDD561D-E65F-3169-0AAC-98DFD2B14003}"/>
          </ac:spMkLst>
        </pc:spChg>
        <pc:spChg chg="mod">
          <ac:chgData name="LYNAGH Connor" userId="6ba16826-a125-4f68-ab5d-84bd7aab3e00" providerId="ADAL" clId="{F0FE71C6-F0BC-4E6D-A81C-4E62D06AB176}" dt="2024-04-01T16:47:15.028" v="1296"/>
          <ac:spMkLst>
            <pc:docMk/>
            <pc:sldMk cId="2654349321" sldId="2147477988"/>
            <ac:spMk id="1199" creationId="{8D72FC8D-F06C-7F04-E171-BD37F32FDD22}"/>
          </ac:spMkLst>
        </pc:spChg>
        <pc:spChg chg="mod">
          <ac:chgData name="LYNAGH Connor" userId="6ba16826-a125-4f68-ab5d-84bd7aab3e00" providerId="ADAL" clId="{F0FE71C6-F0BC-4E6D-A81C-4E62D06AB176}" dt="2024-04-01T16:47:15.028" v="1296"/>
          <ac:spMkLst>
            <pc:docMk/>
            <pc:sldMk cId="2654349321" sldId="2147477988"/>
            <ac:spMk id="1200" creationId="{C4B2DEAD-46B7-0528-1786-BF0AD1497C84}"/>
          </ac:spMkLst>
        </pc:spChg>
        <pc:spChg chg="mod">
          <ac:chgData name="LYNAGH Connor" userId="6ba16826-a125-4f68-ab5d-84bd7aab3e00" providerId="ADAL" clId="{F0FE71C6-F0BC-4E6D-A81C-4E62D06AB176}" dt="2024-04-01T16:47:15.028" v="1296"/>
          <ac:spMkLst>
            <pc:docMk/>
            <pc:sldMk cId="2654349321" sldId="2147477988"/>
            <ac:spMk id="1201" creationId="{D2E01CE7-7693-508A-6888-353278691E84}"/>
          </ac:spMkLst>
        </pc:spChg>
        <pc:spChg chg="mod">
          <ac:chgData name="LYNAGH Connor" userId="6ba16826-a125-4f68-ab5d-84bd7aab3e00" providerId="ADAL" clId="{F0FE71C6-F0BC-4E6D-A81C-4E62D06AB176}" dt="2024-04-01T16:47:15.028" v="1296"/>
          <ac:spMkLst>
            <pc:docMk/>
            <pc:sldMk cId="2654349321" sldId="2147477988"/>
            <ac:spMk id="1202" creationId="{2F6E8832-A23F-E7B2-BF29-A9A77938F963}"/>
          </ac:spMkLst>
        </pc:spChg>
        <pc:spChg chg="mod">
          <ac:chgData name="LYNAGH Connor" userId="6ba16826-a125-4f68-ab5d-84bd7aab3e00" providerId="ADAL" clId="{F0FE71C6-F0BC-4E6D-A81C-4E62D06AB176}" dt="2024-04-01T16:47:15.028" v="1296"/>
          <ac:spMkLst>
            <pc:docMk/>
            <pc:sldMk cId="2654349321" sldId="2147477988"/>
            <ac:spMk id="1203" creationId="{D2C2B031-515F-2BF7-16C7-0EDE5BFC15B4}"/>
          </ac:spMkLst>
        </pc:spChg>
        <pc:spChg chg="mod">
          <ac:chgData name="LYNAGH Connor" userId="6ba16826-a125-4f68-ab5d-84bd7aab3e00" providerId="ADAL" clId="{F0FE71C6-F0BC-4E6D-A81C-4E62D06AB176}" dt="2024-04-01T16:47:15.028" v="1296"/>
          <ac:spMkLst>
            <pc:docMk/>
            <pc:sldMk cId="2654349321" sldId="2147477988"/>
            <ac:spMk id="1204" creationId="{C8F06438-0E3B-0194-6935-4393C8DBBCD7}"/>
          </ac:spMkLst>
        </pc:spChg>
        <pc:spChg chg="mod">
          <ac:chgData name="LYNAGH Connor" userId="6ba16826-a125-4f68-ab5d-84bd7aab3e00" providerId="ADAL" clId="{F0FE71C6-F0BC-4E6D-A81C-4E62D06AB176}" dt="2024-04-01T16:47:15.028" v="1296"/>
          <ac:spMkLst>
            <pc:docMk/>
            <pc:sldMk cId="2654349321" sldId="2147477988"/>
            <ac:spMk id="1205" creationId="{47035AE6-113A-4644-1AFB-95253D52955B}"/>
          </ac:spMkLst>
        </pc:spChg>
        <pc:spChg chg="mod">
          <ac:chgData name="LYNAGH Connor" userId="6ba16826-a125-4f68-ab5d-84bd7aab3e00" providerId="ADAL" clId="{F0FE71C6-F0BC-4E6D-A81C-4E62D06AB176}" dt="2024-04-01T16:47:15.028" v="1296"/>
          <ac:spMkLst>
            <pc:docMk/>
            <pc:sldMk cId="2654349321" sldId="2147477988"/>
            <ac:spMk id="1206" creationId="{E5AFE0FD-EBDF-E971-7A13-7DF0848E5D6C}"/>
          </ac:spMkLst>
        </pc:spChg>
        <pc:spChg chg="mod">
          <ac:chgData name="LYNAGH Connor" userId="6ba16826-a125-4f68-ab5d-84bd7aab3e00" providerId="ADAL" clId="{F0FE71C6-F0BC-4E6D-A81C-4E62D06AB176}" dt="2024-04-01T16:47:15.028" v="1296"/>
          <ac:spMkLst>
            <pc:docMk/>
            <pc:sldMk cId="2654349321" sldId="2147477988"/>
            <ac:spMk id="1207" creationId="{819AC30A-8087-B53D-9F9D-3273B6E3B067}"/>
          </ac:spMkLst>
        </pc:spChg>
        <pc:spChg chg="mod">
          <ac:chgData name="LYNAGH Connor" userId="6ba16826-a125-4f68-ab5d-84bd7aab3e00" providerId="ADAL" clId="{F0FE71C6-F0BC-4E6D-A81C-4E62D06AB176}" dt="2024-04-01T16:47:15.028" v="1296"/>
          <ac:spMkLst>
            <pc:docMk/>
            <pc:sldMk cId="2654349321" sldId="2147477988"/>
            <ac:spMk id="1208" creationId="{8B270264-CB92-49B9-11BF-72450AE1624A}"/>
          </ac:spMkLst>
        </pc:spChg>
        <pc:spChg chg="mod">
          <ac:chgData name="LYNAGH Connor" userId="6ba16826-a125-4f68-ab5d-84bd7aab3e00" providerId="ADAL" clId="{F0FE71C6-F0BC-4E6D-A81C-4E62D06AB176}" dt="2024-04-01T16:47:15.028" v="1296"/>
          <ac:spMkLst>
            <pc:docMk/>
            <pc:sldMk cId="2654349321" sldId="2147477988"/>
            <ac:spMk id="1209" creationId="{B05BFA86-14EA-58DF-50AB-5A3CB033E3AD}"/>
          </ac:spMkLst>
        </pc:spChg>
        <pc:spChg chg="mod">
          <ac:chgData name="LYNAGH Connor" userId="6ba16826-a125-4f68-ab5d-84bd7aab3e00" providerId="ADAL" clId="{F0FE71C6-F0BC-4E6D-A81C-4E62D06AB176}" dt="2024-04-01T16:47:15.028" v="1296"/>
          <ac:spMkLst>
            <pc:docMk/>
            <pc:sldMk cId="2654349321" sldId="2147477988"/>
            <ac:spMk id="1210" creationId="{A057CA84-9F24-9562-5272-893C9B409422}"/>
          </ac:spMkLst>
        </pc:spChg>
        <pc:spChg chg="mod">
          <ac:chgData name="LYNAGH Connor" userId="6ba16826-a125-4f68-ab5d-84bd7aab3e00" providerId="ADAL" clId="{F0FE71C6-F0BC-4E6D-A81C-4E62D06AB176}" dt="2024-04-01T16:47:15.028" v="1296"/>
          <ac:spMkLst>
            <pc:docMk/>
            <pc:sldMk cId="2654349321" sldId="2147477988"/>
            <ac:spMk id="1211" creationId="{0619036F-4E63-102B-1F01-02513629153E}"/>
          </ac:spMkLst>
        </pc:spChg>
        <pc:spChg chg="mod">
          <ac:chgData name="LYNAGH Connor" userId="6ba16826-a125-4f68-ab5d-84bd7aab3e00" providerId="ADAL" clId="{F0FE71C6-F0BC-4E6D-A81C-4E62D06AB176}" dt="2024-04-01T16:47:15.028" v="1296"/>
          <ac:spMkLst>
            <pc:docMk/>
            <pc:sldMk cId="2654349321" sldId="2147477988"/>
            <ac:spMk id="1212" creationId="{3784847B-A639-3B05-CB89-093F41565BC0}"/>
          </ac:spMkLst>
        </pc:spChg>
        <pc:spChg chg="mod">
          <ac:chgData name="LYNAGH Connor" userId="6ba16826-a125-4f68-ab5d-84bd7aab3e00" providerId="ADAL" clId="{F0FE71C6-F0BC-4E6D-A81C-4E62D06AB176}" dt="2024-04-01T16:47:15.028" v="1296"/>
          <ac:spMkLst>
            <pc:docMk/>
            <pc:sldMk cId="2654349321" sldId="2147477988"/>
            <ac:spMk id="1213" creationId="{0947CE10-223C-4D10-68C2-03D33C48A9EA}"/>
          </ac:spMkLst>
        </pc:spChg>
        <pc:spChg chg="mod">
          <ac:chgData name="LYNAGH Connor" userId="6ba16826-a125-4f68-ab5d-84bd7aab3e00" providerId="ADAL" clId="{F0FE71C6-F0BC-4E6D-A81C-4E62D06AB176}" dt="2024-04-01T16:47:15.028" v="1296"/>
          <ac:spMkLst>
            <pc:docMk/>
            <pc:sldMk cId="2654349321" sldId="2147477988"/>
            <ac:spMk id="1214" creationId="{E836881F-B58A-EF05-25F9-AAD60FF225D8}"/>
          </ac:spMkLst>
        </pc:spChg>
        <pc:spChg chg="mod">
          <ac:chgData name="LYNAGH Connor" userId="6ba16826-a125-4f68-ab5d-84bd7aab3e00" providerId="ADAL" clId="{F0FE71C6-F0BC-4E6D-A81C-4E62D06AB176}" dt="2024-04-01T16:47:15.028" v="1296"/>
          <ac:spMkLst>
            <pc:docMk/>
            <pc:sldMk cId="2654349321" sldId="2147477988"/>
            <ac:spMk id="1215" creationId="{F6056702-49A3-6B7D-056D-D7264E1CDC62}"/>
          </ac:spMkLst>
        </pc:spChg>
        <pc:spChg chg="mod">
          <ac:chgData name="LYNAGH Connor" userId="6ba16826-a125-4f68-ab5d-84bd7aab3e00" providerId="ADAL" clId="{F0FE71C6-F0BC-4E6D-A81C-4E62D06AB176}" dt="2024-04-01T16:47:15.028" v="1296"/>
          <ac:spMkLst>
            <pc:docMk/>
            <pc:sldMk cId="2654349321" sldId="2147477988"/>
            <ac:spMk id="1216" creationId="{118F7FE9-4E07-7189-F6AE-E0DCB6C726B0}"/>
          </ac:spMkLst>
        </pc:spChg>
        <pc:spChg chg="mod">
          <ac:chgData name="LYNAGH Connor" userId="6ba16826-a125-4f68-ab5d-84bd7aab3e00" providerId="ADAL" clId="{F0FE71C6-F0BC-4E6D-A81C-4E62D06AB176}" dt="2024-04-01T16:47:15.028" v="1296"/>
          <ac:spMkLst>
            <pc:docMk/>
            <pc:sldMk cId="2654349321" sldId="2147477988"/>
            <ac:spMk id="1217" creationId="{8C02A29D-CBD5-3CE4-DE32-7D6EF189C9D6}"/>
          </ac:spMkLst>
        </pc:spChg>
        <pc:spChg chg="mod">
          <ac:chgData name="LYNAGH Connor" userId="6ba16826-a125-4f68-ab5d-84bd7aab3e00" providerId="ADAL" clId="{F0FE71C6-F0BC-4E6D-A81C-4E62D06AB176}" dt="2024-04-01T16:47:15.028" v="1296"/>
          <ac:spMkLst>
            <pc:docMk/>
            <pc:sldMk cId="2654349321" sldId="2147477988"/>
            <ac:spMk id="1218" creationId="{4FC7712A-B76F-CBC3-42DE-33105C6B5BF8}"/>
          </ac:spMkLst>
        </pc:spChg>
        <pc:spChg chg="mod">
          <ac:chgData name="LYNAGH Connor" userId="6ba16826-a125-4f68-ab5d-84bd7aab3e00" providerId="ADAL" clId="{F0FE71C6-F0BC-4E6D-A81C-4E62D06AB176}" dt="2024-04-01T16:47:15.028" v="1296"/>
          <ac:spMkLst>
            <pc:docMk/>
            <pc:sldMk cId="2654349321" sldId="2147477988"/>
            <ac:spMk id="1219" creationId="{7A44C9CA-C77A-2285-E278-B438CF7E4BCA}"/>
          </ac:spMkLst>
        </pc:spChg>
        <pc:spChg chg="mod">
          <ac:chgData name="LYNAGH Connor" userId="6ba16826-a125-4f68-ab5d-84bd7aab3e00" providerId="ADAL" clId="{F0FE71C6-F0BC-4E6D-A81C-4E62D06AB176}" dt="2024-04-01T16:47:15.028" v="1296"/>
          <ac:spMkLst>
            <pc:docMk/>
            <pc:sldMk cId="2654349321" sldId="2147477988"/>
            <ac:spMk id="1220" creationId="{571DA475-689A-60A1-844A-F053D794195D}"/>
          </ac:spMkLst>
        </pc:spChg>
        <pc:spChg chg="mod">
          <ac:chgData name="LYNAGH Connor" userId="6ba16826-a125-4f68-ab5d-84bd7aab3e00" providerId="ADAL" clId="{F0FE71C6-F0BC-4E6D-A81C-4E62D06AB176}" dt="2024-04-01T16:47:15.028" v="1296"/>
          <ac:spMkLst>
            <pc:docMk/>
            <pc:sldMk cId="2654349321" sldId="2147477988"/>
            <ac:spMk id="1221" creationId="{C4B513F7-018F-6CEE-7A24-3B634E6751D7}"/>
          </ac:spMkLst>
        </pc:spChg>
        <pc:spChg chg="mod">
          <ac:chgData name="LYNAGH Connor" userId="6ba16826-a125-4f68-ab5d-84bd7aab3e00" providerId="ADAL" clId="{F0FE71C6-F0BC-4E6D-A81C-4E62D06AB176}" dt="2024-04-01T16:47:15.028" v="1296"/>
          <ac:spMkLst>
            <pc:docMk/>
            <pc:sldMk cId="2654349321" sldId="2147477988"/>
            <ac:spMk id="1222" creationId="{D6429909-61F4-1ED8-306A-9121DB1038CA}"/>
          </ac:spMkLst>
        </pc:spChg>
        <pc:spChg chg="mod">
          <ac:chgData name="LYNAGH Connor" userId="6ba16826-a125-4f68-ab5d-84bd7aab3e00" providerId="ADAL" clId="{F0FE71C6-F0BC-4E6D-A81C-4E62D06AB176}" dt="2024-04-01T16:47:15.028" v="1296"/>
          <ac:spMkLst>
            <pc:docMk/>
            <pc:sldMk cId="2654349321" sldId="2147477988"/>
            <ac:spMk id="1223" creationId="{F75D3ACF-0800-02EF-455C-FDD80A82B7B9}"/>
          </ac:spMkLst>
        </pc:spChg>
        <pc:spChg chg="mod">
          <ac:chgData name="LYNAGH Connor" userId="6ba16826-a125-4f68-ab5d-84bd7aab3e00" providerId="ADAL" clId="{F0FE71C6-F0BC-4E6D-A81C-4E62D06AB176}" dt="2024-04-01T16:47:15.028" v="1296"/>
          <ac:spMkLst>
            <pc:docMk/>
            <pc:sldMk cId="2654349321" sldId="2147477988"/>
            <ac:spMk id="1224" creationId="{DAFDE6F1-AC01-4D81-1134-6C3055367483}"/>
          </ac:spMkLst>
        </pc:spChg>
        <pc:spChg chg="mod">
          <ac:chgData name="LYNAGH Connor" userId="6ba16826-a125-4f68-ab5d-84bd7aab3e00" providerId="ADAL" clId="{F0FE71C6-F0BC-4E6D-A81C-4E62D06AB176}" dt="2024-04-01T16:47:15.028" v="1296"/>
          <ac:spMkLst>
            <pc:docMk/>
            <pc:sldMk cId="2654349321" sldId="2147477988"/>
            <ac:spMk id="1225" creationId="{2ED97F12-F0DB-6DA6-C649-6156AB7EFB4B}"/>
          </ac:spMkLst>
        </pc:spChg>
        <pc:spChg chg="mod">
          <ac:chgData name="LYNAGH Connor" userId="6ba16826-a125-4f68-ab5d-84bd7aab3e00" providerId="ADAL" clId="{F0FE71C6-F0BC-4E6D-A81C-4E62D06AB176}" dt="2024-04-01T16:47:15.028" v="1296"/>
          <ac:spMkLst>
            <pc:docMk/>
            <pc:sldMk cId="2654349321" sldId="2147477988"/>
            <ac:spMk id="1226" creationId="{02A3900D-782A-A70A-BA7D-5725460EC6AB}"/>
          </ac:spMkLst>
        </pc:spChg>
        <pc:spChg chg="mod">
          <ac:chgData name="LYNAGH Connor" userId="6ba16826-a125-4f68-ab5d-84bd7aab3e00" providerId="ADAL" clId="{F0FE71C6-F0BC-4E6D-A81C-4E62D06AB176}" dt="2024-04-01T16:47:15.028" v="1296"/>
          <ac:spMkLst>
            <pc:docMk/>
            <pc:sldMk cId="2654349321" sldId="2147477988"/>
            <ac:spMk id="1227" creationId="{9B6EF2BD-B570-43CA-C4E9-145B983A352C}"/>
          </ac:spMkLst>
        </pc:spChg>
        <pc:spChg chg="mod">
          <ac:chgData name="LYNAGH Connor" userId="6ba16826-a125-4f68-ab5d-84bd7aab3e00" providerId="ADAL" clId="{F0FE71C6-F0BC-4E6D-A81C-4E62D06AB176}" dt="2024-04-01T16:47:15.028" v="1296"/>
          <ac:spMkLst>
            <pc:docMk/>
            <pc:sldMk cId="2654349321" sldId="2147477988"/>
            <ac:spMk id="1228" creationId="{81EB3CAD-3A6C-00E8-0B64-FA9DF19B7908}"/>
          </ac:spMkLst>
        </pc:spChg>
        <pc:spChg chg="mod">
          <ac:chgData name="LYNAGH Connor" userId="6ba16826-a125-4f68-ab5d-84bd7aab3e00" providerId="ADAL" clId="{F0FE71C6-F0BC-4E6D-A81C-4E62D06AB176}" dt="2024-04-01T16:47:15.028" v="1296"/>
          <ac:spMkLst>
            <pc:docMk/>
            <pc:sldMk cId="2654349321" sldId="2147477988"/>
            <ac:spMk id="1229" creationId="{D525DB8A-68E0-4CAF-FC10-C20299EB4809}"/>
          </ac:spMkLst>
        </pc:spChg>
        <pc:spChg chg="mod">
          <ac:chgData name="LYNAGH Connor" userId="6ba16826-a125-4f68-ab5d-84bd7aab3e00" providerId="ADAL" clId="{F0FE71C6-F0BC-4E6D-A81C-4E62D06AB176}" dt="2024-04-01T16:47:15.028" v="1296"/>
          <ac:spMkLst>
            <pc:docMk/>
            <pc:sldMk cId="2654349321" sldId="2147477988"/>
            <ac:spMk id="1230" creationId="{3B90B54F-DAFF-20BE-2AC0-CFDFE5E78B47}"/>
          </ac:spMkLst>
        </pc:spChg>
        <pc:spChg chg="mod">
          <ac:chgData name="LYNAGH Connor" userId="6ba16826-a125-4f68-ab5d-84bd7aab3e00" providerId="ADAL" clId="{F0FE71C6-F0BC-4E6D-A81C-4E62D06AB176}" dt="2024-04-01T16:47:15.028" v="1296"/>
          <ac:spMkLst>
            <pc:docMk/>
            <pc:sldMk cId="2654349321" sldId="2147477988"/>
            <ac:spMk id="1231" creationId="{AD446803-CD10-667D-2520-2C8C019A3AB4}"/>
          </ac:spMkLst>
        </pc:spChg>
        <pc:spChg chg="mod">
          <ac:chgData name="LYNAGH Connor" userId="6ba16826-a125-4f68-ab5d-84bd7aab3e00" providerId="ADAL" clId="{F0FE71C6-F0BC-4E6D-A81C-4E62D06AB176}" dt="2024-04-01T16:47:15.028" v="1296"/>
          <ac:spMkLst>
            <pc:docMk/>
            <pc:sldMk cId="2654349321" sldId="2147477988"/>
            <ac:spMk id="1232" creationId="{02EAE47F-F95E-2BE9-70E5-ECADFB688F83}"/>
          </ac:spMkLst>
        </pc:spChg>
        <pc:spChg chg="mod">
          <ac:chgData name="LYNAGH Connor" userId="6ba16826-a125-4f68-ab5d-84bd7aab3e00" providerId="ADAL" clId="{F0FE71C6-F0BC-4E6D-A81C-4E62D06AB176}" dt="2024-04-01T16:47:15.028" v="1296"/>
          <ac:spMkLst>
            <pc:docMk/>
            <pc:sldMk cId="2654349321" sldId="2147477988"/>
            <ac:spMk id="1233" creationId="{81735FC5-69EF-A6CB-C448-F4BB12EC4750}"/>
          </ac:spMkLst>
        </pc:spChg>
        <pc:spChg chg="mod">
          <ac:chgData name="LYNAGH Connor" userId="6ba16826-a125-4f68-ab5d-84bd7aab3e00" providerId="ADAL" clId="{F0FE71C6-F0BC-4E6D-A81C-4E62D06AB176}" dt="2024-04-01T16:47:15.028" v="1296"/>
          <ac:spMkLst>
            <pc:docMk/>
            <pc:sldMk cId="2654349321" sldId="2147477988"/>
            <ac:spMk id="1234" creationId="{BC77D8A2-08A3-5542-6CEF-ED1EE371E550}"/>
          </ac:spMkLst>
        </pc:spChg>
        <pc:spChg chg="mod">
          <ac:chgData name="LYNAGH Connor" userId="6ba16826-a125-4f68-ab5d-84bd7aab3e00" providerId="ADAL" clId="{F0FE71C6-F0BC-4E6D-A81C-4E62D06AB176}" dt="2024-04-01T16:47:15.028" v="1296"/>
          <ac:spMkLst>
            <pc:docMk/>
            <pc:sldMk cId="2654349321" sldId="2147477988"/>
            <ac:spMk id="1235" creationId="{0DBF84A1-10DC-498B-E3B9-CD41F7162846}"/>
          </ac:spMkLst>
        </pc:spChg>
        <pc:spChg chg="mod">
          <ac:chgData name="LYNAGH Connor" userId="6ba16826-a125-4f68-ab5d-84bd7aab3e00" providerId="ADAL" clId="{F0FE71C6-F0BC-4E6D-A81C-4E62D06AB176}" dt="2024-04-01T16:47:15.028" v="1296"/>
          <ac:spMkLst>
            <pc:docMk/>
            <pc:sldMk cId="2654349321" sldId="2147477988"/>
            <ac:spMk id="1236" creationId="{EDC15A76-572B-1275-36A1-D2A614501182}"/>
          </ac:spMkLst>
        </pc:spChg>
        <pc:spChg chg="mod">
          <ac:chgData name="LYNAGH Connor" userId="6ba16826-a125-4f68-ab5d-84bd7aab3e00" providerId="ADAL" clId="{F0FE71C6-F0BC-4E6D-A81C-4E62D06AB176}" dt="2024-04-01T16:47:15.028" v="1296"/>
          <ac:spMkLst>
            <pc:docMk/>
            <pc:sldMk cId="2654349321" sldId="2147477988"/>
            <ac:spMk id="1237" creationId="{A5BF0C31-5C08-414A-A3AB-01DE48B8DFC2}"/>
          </ac:spMkLst>
        </pc:spChg>
        <pc:spChg chg="mod">
          <ac:chgData name="LYNAGH Connor" userId="6ba16826-a125-4f68-ab5d-84bd7aab3e00" providerId="ADAL" clId="{F0FE71C6-F0BC-4E6D-A81C-4E62D06AB176}" dt="2024-04-01T16:47:15.028" v="1296"/>
          <ac:spMkLst>
            <pc:docMk/>
            <pc:sldMk cId="2654349321" sldId="2147477988"/>
            <ac:spMk id="1238" creationId="{4ED45C23-6C27-FAC0-DCDB-F73F8743995F}"/>
          </ac:spMkLst>
        </pc:spChg>
        <pc:spChg chg="mod">
          <ac:chgData name="LYNAGH Connor" userId="6ba16826-a125-4f68-ab5d-84bd7aab3e00" providerId="ADAL" clId="{F0FE71C6-F0BC-4E6D-A81C-4E62D06AB176}" dt="2024-04-01T16:47:15.028" v="1296"/>
          <ac:spMkLst>
            <pc:docMk/>
            <pc:sldMk cId="2654349321" sldId="2147477988"/>
            <ac:spMk id="1239" creationId="{328BCB64-C841-89C1-594B-31F1919F458B}"/>
          </ac:spMkLst>
        </pc:spChg>
        <pc:spChg chg="mod">
          <ac:chgData name="LYNAGH Connor" userId="6ba16826-a125-4f68-ab5d-84bd7aab3e00" providerId="ADAL" clId="{F0FE71C6-F0BC-4E6D-A81C-4E62D06AB176}" dt="2024-04-01T16:47:15.028" v="1296"/>
          <ac:spMkLst>
            <pc:docMk/>
            <pc:sldMk cId="2654349321" sldId="2147477988"/>
            <ac:spMk id="1240" creationId="{1FCE4CE6-54BB-94A0-96ED-4C0ADE52C773}"/>
          </ac:spMkLst>
        </pc:spChg>
        <pc:spChg chg="mod">
          <ac:chgData name="LYNAGH Connor" userId="6ba16826-a125-4f68-ab5d-84bd7aab3e00" providerId="ADAL" clId="{F0FE71C6-F0BC-4E6D-A81C-4E62D06AB176}" dt="2024-04-01T16:47:15.028" v="1296"/>
          <ac:spMkLst>
            <pc:docMk/>
            <pc:sldMk cId="2654349321" sldId="2147477988"/>
            <ac:spMk id="1241" creationId="{B8128503-3B4D-DA15-BCF1-803212C9CFB2}"/>
          </ac:spMkLst>
        </pc:spChg>
        <pc:spChg chg="mod">
          <ac:chgData name="LYNAGH Connor" userId="6ba16826-a125-4f68-ab5d-84bd7aab3e00" providerId="ADAL" clId="{F0FE71C6-F0BC-4E6D-A81C-4E62D06AB176}" dt="2024-04-01T16:47:15.028" v="1296"/>
          <ac:spMkLst>
            <pc:docMk/>
            <pc:sldMk cId="2654349321" sldId="2147477988"/>
            <ac:spMk id="1243" creationId="{F1F5E1AF-3E75-8AB1-1639-6CC4CA8DA97B}"/>
          </ac:spMkLst>
        </pc:spChg>
        <pc:spChg chg="mod">
          <ac:chgData name="LYNAGH Connor" userId="6ba16826-a125-4f68-ab5d-84bd7aab3e00" providerId="ADAL" clId="{F0FE71C6-F0BC-4E6D-A81C-4E62D06AB176}" dt="2024-04-01T16:47:15.028" v="1296"/>
          <ac:spMkLst>
            <pc:docMk/>
            <pc:sldMk cId="2654349321" sldId="2147477988"/>
            <ac:spMk id="1244" creationId="{3B31E10A-E1CD-7BE3-AAF3-60DF2621C6AD}"/>
          </ac:spMkLst>
        </pc:spChg>
        <pc:spChg chg="mod">
          <ac:chgData name="LYNAGH Connor" userId="6ba16826-a125-4f68-ab5d-84bd7aab3e00" providerId="ADAL" clId="{F0FE71C6-F0BC-4E6D-A81C-4E62D06AB176}" dt="2024-04-01T16:47:15.028" v="1296"/>
          <ac:spMkLst>
            <pc:docMk/>
            <pc:sldMk cId="2654349321" sldId="2147477988"/>
            <ac:spMk id="1247" creationId="{510EE420-3837-F39B-6F3E-C1482B15419F}"/>
          </ac:spMkLst>
        </pc:spChg>
        <pc:spChg chg="mod">
          <ac:chgData name="LYNAGH Connor" userId="6ba16826-a125-4f68-ab5d-84bd7aab3e00" providerId="ADAL" clId="{F0FE71C6-F0BC-4E6D-A81C-4E62D06AB176}" dt="2024-04-01T16:47:15.028" v="1296"/>
          <ac:spMkLst>
            <pc:docMk/>
            <pc:sldMk cId="2654349321" sldId="2147477988"/>
            <ac:spMk id="1251" creationId="{B4F2A849-1149-EC73-F9CC-C4E053CD5EA8}"/>
          </ac:spMkLst>
        </pc:spChg>
        <pc:spChg chg="mod">
          <ac:chgData name="LYNAGH Connor" userId="6ba16826-a125-4f68-ab5d-84bd7aab3e00" providerId="ADAL" clId="{F0FE71C6-F0BC-4E6D-A81C-4E62D06AB176}" dt="2024-04-01T16:47:15.028" v="1296"/>
          <ac:spMkLst>
            <pc:docMk/>
            <pc:sldMk cId="2654349321" sldId="2147477988"/>
            <ac:spMk id="1252" creationId="{162E9FFD-2885-C3C1-02A5-38044F3E2077}"/>
          </ac:spMkLst>
        </pc:spChg>
        <pc:spChg chg="mod">
          <ac:chgData name="LYNAGH Connor" userId="6ba16826-a125-4f68-ab5d-84bd7aab3e00" providerId="ADAL" clId="{F0FE71C6-F0BC-4E6D-A81C-4E62D06AB176}" dt="2024-04-01T16:47:15.028" v="1296"/>
          <ac:spMkLst>
            <pc:docMk/>
            <pc:sldMk cId="2654349321" sldId="2147477988"/>
            <ac:spMk id="1253" creationId="{91983DF1-17E1-81C4-4FFF-C5FAC5734503}"/>
          </ac:spMkLst>
        </pc:spChg>
        <pc:spChg chg="mod">
          <ac:chgData name="LYNAGH Connor" userId="6ba16826-a125-4f68-ab5d-84bd7aab3e00" providerId="ADAL" clId="{F0FE71C6-F0BC-4E6D-A81C-4E62D06AB176}" dt="2024-04-01T16:47:15.028" v="1296"/>
          <ac:spMkLst>
            <pc:docMk/>
            <pc:sldMk cId="2654349321" sldId="2147477988"/>
            <ac:spMk id="1255" creationId="{B9DD3703-1373-2811-5C7F-C64DE972985A}"/>
          </ac:spMkLst>
        </pc:spChg>
        <pc:spChg chg="mod">
          <ac:chgData name="LYNAGH Connor" userId="6ba16826-a125-4f68-ab5d-84bd7aab3e00" providerId="ADAL" clId="{F0FE71C6-F0BC-4E6D-A81C-4E62D06AB176}" dt="2024-04-01T16:47:15.028" v="1296"/>
          <ac:spMkLst>
            <pc:docMk/>
            <pc:sldMk cId="2654349321" sldId="2147477988"/>
            <ac:spMk id="1256" creationId="{CF009585-8CB4-62C5-FD37-0867CB3147AA}"/>
          </ac:spMkLst>
        </pc:spChg>
        <pc:spChg chg="mod">
          <ac:chgData name="LYNAGH Connor" userId="6ba16826-a125-4f68-ab5d-84bd7aab3e00" providerId="ADAL" clId="{F0FE71C6-F0BC-4E6D-A81C-4E62D06AB176}" dt="2024-04-01T16:47:15.028" v="1296"/>
          <ac:spMkLst>
            <pc:docMk/>
            <pc:sldMk cId="2654349321" sldId="2147477988"/>
            <ac:spMk id="1257" creationId="{3A8EF47C-1876-19D0-8F27-78FF4E2852BC}"/>
          </ac:spMkLst>
        </pc:spChg>
        <pc:spChg chg="mod">
          <ac:chgData name="LYNAGH Connor" userId="6ba16826-a125-4f68-ab5d-84bd7aab3e00" providerId="ADAL" clId="{F0FE71C6-F0BC-4E6D-A81C-4E62D06AB176}" dt="2024-04-01T16:47:15.028" v="1296"/>
          <ac:spMkLst>
            <pc:docMk/>
            <pc:sldMk cId="2654349321" sldId="2147477988"/>
            <ac:spMk id="1258" creationId="{07114C38-C68E-0B96-1298-3B2CDBB34D59}"/>
          </ac:spMkLst>
        </pc:spChg>
        <pc:spChg chg="mod">
          <ac:chgData name="LYNAGH Connor" userId="6ba16826-a125-4f68-ab5d-84bd7aab3e00" providerId="ADAL" clId="{F0FE71C6-F0BC-4E6D-A81C-4E62D06AB176}" dt="2024-04-01T16:47:15.028" v="1296"/>
          <ac:spMkLst>
            <pc:docMk/>
            <pc:sldMk cId="2654349321" sldId="2147477988"/>
            <ac:spMk id="1259" creationId="{7EA16274-7AFE-F48D-8B9D-769B88627978}"/>
          </ac:spMkLst>
        </pc:spChg>
        <pc:spChg chg="mod">
          <ac:chgData name="LYNAGH Connor" userId="6ba16826-a125-4f68-ab5d-84bd7aab3e00" providerId="ADAL" clId="{F0FE71C6-F0BC-4E6D-A81C-4E62D06AB176}" dt="2024-04-01T16:47:15.028" v="1296"/>
          <ac:spMkLst>
            <pc:docMk/>
            <pc:sldMk cId="2654349321" sldId="2147477988"/>
            <ac:spMk id="1260" creationId="{7BC99FE1-5C00-D70C-1588-95A647C2F0C8}"/>
          </ac:spMkLst>
        </pc:spChg>
        <pc:spChg chg="mod">
          <ac:chgData name="LYNAGH Connor" userId="6ba16826-a125-4f68-ab5d-84bd7aab3e00" providerId="ADAL" clId="{F0FE71C6-F0BC-4E6D-A81C-4E62D06AB176}" dt="2024-04-01T16:47:15.028" v="1296"/>
          <ac:spMkLst>
            <pc:docMk/>
            <pc:sldMk cId="2654349321" sldId="2147477988"/>
            <ac:spMk id="1261" creationId="{0B748141-CB44-6DE8-2AD3-A69E05C3E71E}"/>
          </ac:spMkLst>
        </pc:spChg>
        <pc:spChg chg="mod">
          <ac:chgData name="LYNAGH Connor" userId="6ba16826-a125-4f68-ab5d-84bd7aab3e00" providerId="ADAL" clId="{F0FE71C6-F0BC-4E6D-A81C-4E62D06AB176}" dt="2024-04-01T16:47:15.028" v="1296"/>
          <ac:spMkLst>
            <pc:docMk/>
            <pc:sldMk cId="2654349321" sldId="2147477988"/>
            <ac:spMk id="1263" creationId="{522A2708-DC18-7370-36B7-F1D6D36072B5}"/>
          </ac:spMkLst>
        </pc:spChg>
        <pc:spChg chg="mod">
          <ac:chgData name="LYNAGH Connor" userId="6ba16826-a125-4f68-ab5d-84bd7aab3e00" providerId="ADAL" clId="{F0FE71C6-F0BC-4E6D-A81C-4E62D06AB176}" dt="2024-04-01T16:47:15.028" v="1296"/>
          <ac:spMkLst>
            <pc:docMk/>
            <pc:sldMk cId="2654349321" sldId="2147477988"/>
            <ac:spMk id="1264" creationId="{E77A2793-B7DE-5026-BDEC-924C1156308B}"/>
          </ac:spMkLst>
        </pc:spChg>
        <pc:spChg chg="mod">
          <ac:chgData name="LYNAGH Connor" userId="6ba16826-a125-4f68-ab5d-84bd7aab3e00" providerId="ADAL" clId="{F0FE71C6-F0BC-4E6D-A81C-4E62D06AB176}" dt="2024-04-01T16:47:15.028" v="1296"/>
          <ac:spMkLst>
            <pc:docMk/>
            <pc:sldMk cId="2654349321" sldId="2147477988"/>
            <ac:spMk id="1265" creationId="{5712A0B2-5D57-1637-9AED-88DB67B96F39}"/>
          </ac:spMkLst>
        </pc:spChg>
        <pc:spChg chg="mod">
          <ac:chgData name="LYNAGH Connor" userId="6ba16826-a125-4f68-ab5d-84bd7aab3e00" providerId="ADAL" clId="{F0FE71C6-F0BC-4E6D-A81C-4E62D06AB176}" dt="2024-04-01T16:47:15.028" v="1296"/>
          <ac:spMkLst>
            <pc:docMk/>
            <pc:sldMk cId="2654349321" sldId="2147477988"/>
            <ac:spMk id="1266" creationId="{6001B53A-9B04-7BEF-9018-1AAE7CD2282C}"/>
          </ac:spMkLst>
        </pc:spChg>
        <pc:spChg chg="mod">
          <ac:chgData name="LYNAGH Connor" userId="6ba16826-a125-4f68-ab5d-84bd7aab3e00" providerId="ADAL" clId="{F0FE71C6-F0BC-4E6D-A81C-4E62D06AB176}" dt="2024-04-01T16:47:15.028" v="1296"/>
          <ac:spMkLst>
            <pc:docMk/>
            <pc:sldMk cId="2654349321" sldId="2147477988"/>
            <ac:spMk id="1267" creationId="{EB7E83DF-3FD6-1589-1D99-CA2F440A198B}"/>
          </ac:spMkLst>
        </pc:spChg>
        <pc:spChg chg="mod">
          <ac:chgData name="LYNAGH Connor" userId="6ba16826-a125-4f68-ab5d-84bd7aab3e00" providerId="ADAL" clId="{F0FE71C6-F0BC-4E6D-A81C-4E62D06AB176}" dt="2024-04-01T16:47:15.028" v="1296"/>
          <ac:spMkLst>
            <pc:docMk/>
            <pc:sldMk cId="2654349321" sldId="2147477988"/>
            <ac:spMk id="1268" creationId="{502897E2-8CA2-1B4A-AB4B-7C4FC436D3CD}"/>
          </ac:spMkLst>
        </pc:spChg>
        <pc:spChg chg="mod">
          <ac:chgData name="LYNAGH Connor" userId="6ba16826-a125-4f68-ab5d-84bd7aab3e00" providerId="ADAL" clId="{F0FE71C6-F0BC-4E6D-A81C-4E62D06AB176}" dt="2024-04-01T16:47:15.028" v="1296"/>
          <ac:spMkLst>
            <pc:docMk/>
            <pc:sldMk cId="2654349321" sldId="2147477988"/>
            <ac:spMk id="1269" creationId="{6461C1F4-0D65-B111-CFEA-D896EDC6F65A}"/>
          </ac:spMkLst>
        </pc:spChg>
        <pc:spChg chg="mod">
          <ac:chgData name="LYNAGH Connor" userId="6ba16826-a125-4f68-ab5d-84bd7aab3e00" providerId="ADAL" clId="{F0FE71C6-F0BC-4E6D-A81C-4E62D06AB176}" dt="2024-04-01T16:47:15.028" v="1296"/>
          <ac:spMkLst>
            <pc:docMk/>
            <pc:sldMk cId="2654349321" sldId="2147477988"/>
            <ac:spMk id="1271" creationId="{C91809AD-18F9-702C-4545-894EE17DACF0}"/>
          </ac:spMkLst>
        </pc:spChg>
        <pc:spChg chg="mod">
          <ac:chgData name="LYNAGH Connor" userId="6ba16826-a125-4f68-ab5d-84bd7aab3e00" providerId="ADAL" clId="{F0FE71C6-F0BC-4E6D-A81C-4E62D06AB176}" dt="2024-04-01T16:47:15.028" v="1296"/>
          <ac:spMkLst>
            <pc:docMk/>
            <pc:sldMk cId="2654349321" sldId="2147477988"/>
            <ac:spMk id="1272" creationId="{53D174D7-4C58-0C50-8D4A-94E4955498F8}"/>
          </ac:spMkLst>
        </pc:spChg>
        <pc:spChg chg="mod">
          <ac:chgData name="LYNAGH Connor" userId="6ba16826-a125-4f68-ab5d-84bd7aab3e00" providerId="ADAL" clId="{F0FE71C6-F0BC-4E6D-A81C-4E62D06AB176}" dt="2024-04-01T16:47:15.028" v="1296"/>
          <ac:spMkLst>
            <pc:docMk/>
            <pc:sldMk cId="2654349321" sldId="2147477988"/>
            <ac:spMk id="1273" creationId="{9C35633D-8147-31CF-993D-92A5BCCE0642}"/>
          </ac:spMkLst>
        </pc:spChg>
        <pc:spChg chg="mod">
          <ac:chgData name="LYNAGH Connor" userId="6ba16826-a125-4f68-ab5d-84bd7aab3e00" providerId="ADAL" clId="{F0FE71C6-F0BC-4E6D-A81C-4E62D06AB176}" dt="2024-04-01T16:47:15.028" v="1296"/>
          <ac:spMkLst>
            <pc:docMk/>
            <pc:sldMk cId="2654349321" sldId="2147477988"/>
            <ac:spMk id="1274" creationId="{4F37C0F3-F079-6372-6CD9-1056840D94D1}"/>
          </ac:spMkLst>
        </pc:spChg>
        <pc:spChg chg="mod">
          <ac:chgData name="LYNAGH Connor" userId="6ba16826-a125-4f68-ab5d-84bd7aab3e00" providerId="ADAL" clId="{F0FE71C6-F0BC-4E6D-A81C-4E62D06AB176}" dt="2024-04-01T16:47:15.028" v="1296"/>
          <ac:spMkLst>
            <pc:docMk/>
            <pc:sldMk cId="2654349321" sldId="2147477988"/>
            <ac:spMk id="1275" creationId="{18960C99-6170-9CFF-939E-C49981C1778B}"/>
          </ac:spMkLst>
        </pc:spChg>
        <pc:spChg chg="mod">
          <ac:chgData name="LYNAGH Connor" userId="6ba16826-a125-4f68-ab5d-84bd7aab3e00" providerId="ADAL" clId="{F0FE71C6-F0BC-4E6D-A81C-4E62D06AB176}" dt="2024-04-01T16:47:15.028" v="1296"/>
          <ac:spMkLst>
            <pc:docMk/>
            <pc:sldMk cId="2654349321" sldId="2147477988"/>
            <ac:spMk id="1276" creationId="{38FEAD67-1A3E-493A-439B-7C85F1654346}"/>
          </ac:spMkLst>
        </pc:spChg>
        <pc:spChg chg="mod">
          <ac:chgData name="LYNAGH Connor" userId="6ba16826-a125-4f68-ab5d-84bd7aab3e00" providerId="ADAL" clId="{F0FE71C6-F0BC-4E6D-A81C-4E62D06AB176}" dt="2024-04-01T16:47:15.028" v="1296"/>
          <ac:spMkLst>
            <pc:docMk/>
            <pc:sldMk cId="2654349321" sldId="2147477988"/>
            <ac:spMk id="1277" creationId="{8B5DDBCB-DCB6-1C2E-2A4E-DC73F102196B}"/>
          </ac:spMkLst>
        </pc:spChg>
        <pc:spChg chg="mod">
          <ac:chgData name="LYNAGH Connor" userId="6ba16826-a125-4f68-ab5d-84bd7aab3e00" providerId="ADAL" clId="{F0FE71C6-F0BC-4E6D-A81C-4E62D06AB176}" dt="2024-04-01T16:47:15.028" v="1296"/>
          <ac:spMkLst>
            <pc:docMk/>
            <pc:sldMk cId="2654349321" sldId="2147477988"/>
            <ac:spMk id="1279" creationId="{E8F5CDE5-1DB8-E426-A075-39AE4E558C0A}"/>
          </ac:spMkLst>
        </pc:spChg>
        <pc:spChg chg="mod">
          <ac:chgData name="LYNAGH Connor" userId="6ba16826-a125-4f68-ab5d-84bd7aab3e00" providerId="ADAL" clId="{F0FE71C6-F0BC-4E6D-A81C-4E62D06AB176}" dt="2024-04-01T16:47:15.028" v="1296"/>
          <ac:spMkLst>
            <pc:docMk/>
            <pc:sldMk cId="2654349321" sldId="2147477988"/>
            <ac:spMk id="1280" creationId="{F3804D3C-4362-646F-FDB3-78343DE6D01E}"/>
          </ac:spMkLst>
        </pc:spChg>
        <pc:spChg chg="mod">
          <ac:chgData name="LYNAGH Connor" userId="6ba16826-a125-4f68-ab5d-84bd7aab3e00" providerId="ADAL" clId="{F0FE71C6-F0BC-4E6D-A81C-4E62D06AB176}" dt="2024-04-01T16:47:15.028" v="1296"/>
          <ac:spMkLst>
            <pc:docMk/>
            <pc:sldMk cId="2654349321" sldId="2147477988"/>
            <ac:spMk id="1281" creationId="{F832FF74-6EB6-3689-A5FF-DCA888FAA00B}"/>
          </ac:spMkLst>
        </pc:spChg>
        <pc:spChg chg="mod">
          <ac:chgData name="LYNAGH Connor" userId="6ba16826-a125-4f68-ab5d-84bd7aab3e00" providerId="ADAL" clId="{F0FE71C6-F0BC-4E6D-A81C-4E62D06AB176}" dt="2024-04-01T16:47:15.028" v="1296"/>
          <ac:spMkLst>
            <pc:docMk/>
            <pc:sldMk cId="2654349321" sldId="2147477988"/>
            <ac:spMk id="1282" creationId="{7EFE0C4C-46CF-FE5B-96FF-E230AAC91953}"/>
          </ac:spMkLst>
        </pc:spChg>
        <pc:spChg chg="mod">
          <ac:chgData name="LYNAGH Connor" userId="6ba16826-a125-4f68-ab5d-84bd7aab3e00" providerId="ADAL" clId="{F0FE71C6-F0BC-4E6D-A81C-4E62D06AB176}" dt="2024-04-01T16:47:15.028" v="1296"/>
          <ac:spMkLst>
            <pc:docMk/>
            <pc:sldMk cId="2654349321" sldId="2147477988"/>
            <ac:spMk id="1283" creationId="{69A2DE16-34DD-9227-62BA-0B044F687F88}"/>
          </ac:spMkLst>
        </pc:spChg>
        <pc:spChg chg="mod">
          <ac:chgData name="LYNAGH Connor" userId="6ba16826-a125-4f68-ab5d-84bd7aab3e00" providerId="ADAL" clId="{F0FE71C6-F0BC-4E6D-A81C-4E62D06AB176}" dt="2024-04-01T16:47:15.028" v="1296"/>
          <ac:spMkLst>
            <pc:docMk/>
            <pc:sldMk cId="2654349321" sldId="2147477988"/>
            <ac:spMk id="1284" creationId="{1AA3C1AA-6508-C595-77A1-E5765960EB65}"/>
          </ac:spMkLst>
        </pc:spChg>
        <pc:spChg chg="mod">
          <ac:chgData name="LYNAGH Connor" userId="6ba16826-a125-4f68-ab5d-84bd7aab3e00" providerId="ADAL" clId="{F0FE71C6-F0BC-4E6D-A81C-4E62D06AB176}" dt="2024-04-01T16:47:15.028" v="1296"/>
          <ac:spMkLst>
            <pc:docMk/>
            <pc:sldMk cId="2654349321" sldId="2147477988"/>
            <ac:spMk id="1285" creationId="{773A8238-6203-BC6C-ABF2-583BA77F9371}"/>
          </ac:spMkLst>
        </pc:spChg>
        <pc:spChg chg="mod">
          <ac:chgData name="LYNAGH Connor" userId="6ba16826-a125-4f68-ab5d-84bd7aab3e00" providerId="ADAL" clId="{F0FE71C6-F0BC-4E6D-A81C-4E62D06AB176}" dt="2024-04-01T16:47:15.028" v="1296"/>
          <ac:spMkLst>
            <pc:docMk/>
            <pc:sldMk cId="2654349321" sldId="2147477988"/>
            <ac:spMk id="1287" creationId="{32264239-A71C-4018-3827-5BA20A81F010}"/>
          </ac:spMkLst>
        </pc:spChg>
        <pc:spChg chg="mod">
          <ac:chgData name="LYNAGH Connor" userId="6ba16826-a125-4f68-ab5d-84bd7aab3e00" providerId="ADAL" clId="{F0FE71C6-F0BC-4E6D-A81C-4E62D06AB176}" dt="2024-04-01T16:47:15.028" v="1296"/>
          <ac:spMkLst>
            <pc:docMk/>
            <pc:sldMk cId="2654349321" sldId="2147477988"/>
            <ac:spMk id="1288" creationId="{15742F35-554F-6F57-E976-6E69DA404891}"/>
          </ac:spMkLst>
        </pc:spChg>
        <pc:spChg chg="mod">
          <ac:chgData name="LYNAGH Connor" userId="6ba16826-a125-4f68-ab5d-84bd7aab3e00" providerId="ADAL" clId="{F0FE71C6-F0BC-4E6D-A81C-4E62D06AB176}" dt="2024-04-01T16:47:15.028" v="1296"/>
          <ac:spMkLst>
            <pc:docMk/>
            <pc:sldMk cId="2654349321" sldId="2147477988"/>
            <ac:spMk id="1289" creationId="{395ECDCD-35D5-DBD2-5FAF-4D51D158A70B}"/>
          </ac:spMkLst>
        </pc:spChg>
        <pc:spChg chg="mod">
          <ac:chgData name="LYNAGH Connor" userId="6ba16826-a125-4f68-ab5d-84bd7aab3e00" providerId="ADAL" clId="{F0FE71C6-F0BC-4E6D-A81C-4E62D06AB176}" dt="2024-04-01T16:47:15.028" v="1296"/>
          <ac:spMkLst>
            <pc:docMk/>
            <pc:sldMk cId="2654349321" sldId="2147477988"/>
            <ac:spMk id="1290" creationId="{6E84B61F-B255-C614-D6AF-C5CFE981D1B5}"/>
          </ac:spMkLst>
        </pc:spChg>
        <pc:spChg chg="mod">
          <ac:chgData name="LYNAGH Connor" userId="6ba16826-a125-4f68-ab5d-84bd7aab3e00" providerId="ADAL" clId="{F0FE71C6-F0BC-4E6D-A81C-4E62D06AB176}" dt="2024-04-01T16:47:15.028" v="1296"/>
          <ac:spMkLst>
            <pc:docMk/>
            <pc:sldMk cId="2654349321" sldId="2147477988"/>
            <ac:spMk id="1291" creationId="{846C4BD4-B2DC-3AFF-D48F-EA9B66ACD14D}"/>
          </ac:spMkLst>
        </pc:spChg>
        <pc:spChg chg="mod">
          <ac:chgData name="LYNAGH Connor" userId="6ba16826-a125-4f68-ab5d-84bd7aab3e00" providerId="ADAL" clId="{F0FE71C6-F0BC-4E6D-A81C-4E62D06AB176}" dt="2024-04-01T16:47:15.028" v="1296"/>
          <ac:spMkLst>
            <pc:docMk/>
            <pc:sldMk cId="2654349321" sldId="2147477988"/>
            <ac:spMk id="1292" creationId="{F1D45CCC-13F3-3108-5511-381560EB2197}"/>
          </ac:spMkLst>
        </pc:spChg>
        <pc:spChg chg="mod">
          <ac:chgData name="LYNAGH Connor" userId="6ba16826-a125-4f68-ab5d-84bd7aab3e00" providerId="ADAL" clId="{F0FE71C6-F0BC-4E6D-A81C-4E62D06AB176}" dt="2024-04-01T16:47:15.028" v="1296"/>
          <ac:spMkLst>
            <pc:docMk/>
            <pc:sldMk cId="2654349321" sldId="2147477988"/>
            <ac:spMk id="1293" creationId="{A5D1E966-DA92-9266-B564-42CC3B6D7D1D}"/>
          </ac:spMkLst>
        </pc:spChg>
        <pc:spChg chg="mod">
          <ac:chgData name="LYNAGH Connor" userId="6ba16826-a125-4f68-ab5d-84bd7aab3e00" providerId="ADAL" clId="{F0FE71C6-F0BC-4E6D-A81C-4E62D06AB176}" dt="2024-04-01T16:47:15.028" v="1296"/>
          <ac:spMkLst>
            <pc:docMk/>
            <pc:sldMk cId="2654349321" sldId="2147477988"/>
            <ac:spMk id="1294" creationId="{476A50B9-BCC0-6950-4900-95DCE2A36701}"/>
          </ac:spMkLst>
        </pc:spChg>
        <pc:spChg chg="mod">
          <ac:chgData name="LYNAGH Connor" userId="6ba16826-a125-4f68-ab5d-84bd7aab3e00" providerId="ADAL" clId="{F0FE71C6-F0BC-4E6D-A81C-4E62D06AB176}" dt="2024-04-01T16:47:15.028" v="1296"/>
          <ac:spMkLst>
            <pc:docMk/>
            <pc:sldMk cId="2654349321" sldId="2147477988"/>
            <ac:spMk id="1295" creationId="{060D226F-3166-4759-7189-C6BD2ECEEDDD}"/>
          </ac:spMkLst>
        </pc:spChg>
        <pc:spChg chg="mod">
          <ac:chgData name="LYNAGH Connor" userId="6ba16826-a125-4f68-ab5d-84bd7aab3e00" providerId="ADAL" clId="{F0FE71C6-F0BC-4E6D-A81C-4E62D06AB176}" dt="2024-04-01T16:47:15.028" v="1296"/>
          <ac:spMkLst>
            <pc:docMk/>
            <pc:sldMk cId="2654349321" sldId="2147477988"/>
            <ac:spMk id="1296" creationId="{F18AE15A-7FD8-FDF6-7662-11DA650FCAE5}"/>
          </ac:spMkLst>
        </pc:spChg>
        <pc:spChg chg="mod">
          <ac:chgData name="LYNAGH Connor" userId="6ba16826-a125-4f68-ab5d-84bd7aab3e00" providerId="ADAL" clId="{F0FE71C6-F0BC-4E6D-A81C-4E62D06AB176}" dt="2024-04-01T16:47:15.028" v="1296"/>
          <ac:spMkLst>
            <pc:docMk/>
            <pc:sldMk cId="2654349321" sldId="2147477988"/>
            <ac:spMk id="1297" creationId="{9D717621-56B2-B54B-DF4D-DB1893947181}"/>
          </ac:spMkLst>
        </pc:spChg>
        <pc:spChg chg="add del mod">
          <ac:chgData name="LYNAGH Connor" userId="6ba16826-a125-4f68-ab5d-84bd7aab3e00" providerId="ADAL" clId="{F0FE71C6-F0BC-4E6D-A81C-4E62D06AB176}" dt="2024-04-01T16:51:36.691" v="1363"/>
          <ac:spMkLst>
            <pc:docMk/>
            <pc:sldMk cId="2654349321" sldId="2147477988"/>
            <ac:spMk id="1301" creationId="{2BE33C79-CA0B-B0A3-3EDE-65237ADFC374}"/>
          </ac:spMkLst>
        </pc:spChg>
        <pc:spChg chg="add del">
          <ac:chgData name="LYNAGH Connor" userId="6ba16826-a125-4f68-ab5d-84bd7aab3e00" providerId="ADAL" clId="{F0FE71C6-F0BC-4E6D-A81C-4E62D06AB176}" dt="2024-04-01T16:51:44.721" v="1366"/>
          <ac:spMkLst>
            <pc:docMk/>
            <pc:sldMk cId="2654349321" sldId="2147477988"/>
            <ac:spMk id="1302" creationId="{B5D60C3C-1FB1-0620-19EC-29AA49EA7469}"/>
          </ac:spMkLst>
        </pc:spChg>
        <pc:spChg chg="add del">
          <ac:chgData name="LYNAGH Connor" userId="6ba16826-a125-4f68-ab5d-84bd7aab3e00" providerId="ADAL" clId="{F0FE71C6-F0BC-4E6D-A81C-4E62D06AB176}" dt="2024-04-01T16:52:48.130" v="1384"/>
          <ac:spMkLst>
            <pc:docMk/>
            <pc:sldMk cId="2654349321" sldId="2147477988"/>
            <ac:spMk id="1304" creationId="{D484BEA1-3F9C-1958-E231-CACC55069132}"/>
          </ac:spMkLst>
        </pc:spChg>
        <pc:spChg chg="add del mod">
          <ac:chgData name="LYNAGH Connor" userId="6ba16826-a125-4f68-ab5d-84bd7aab3e00" providerId="ADAL" clId="{F0FE71C6-F0BC-4E6D-A81C-4E62D06AB176}" dt="2024-04-01T17:18:04.398" v="1569" actId="21"/>
          <ac:spMkLst>
            <pc:docMk/>
            <pc:sldMk cId="2654349321" sldId="2147477988"/>
            <ac:spMk id="1314" creationId="{F0A56492-FEB5-72E0-D840-E2618AED6F14}"/>
          </ac:spMkLst>
        </pc:spChg>
        <pc:spChg chg="add del mod">
          <ac:chgData name="LYNAGH Connor" userId="6ba16826-a125-4f68-ab5d-84bd7aab3e00" providerId="ADAL" clId="{F0FE71C6-F0BC-4E6D-A81C-4E62D06AB176}" dt="2024-04-01T17:19:36.454" v="1600" actId="478"/>
          <ac:spMkLst>
            <pc:docMk/>
            <pc:sldMk cId="2654349321" sldId="2147477988"/>
            <ac:spMk id="1315" creationId="{8039BFFC-9A85-F3CB-3901-DE341882486C}"/>
          </ac:spMkLst>
        </pc:spChg>
        <pc:spChg chg="add mod">
          <ac:chgData name="LYNAGH Connor" userId="6ba16826-a125-4f68-ab5d-84bd7aab3e00" providerId="ADAL" clId="{F0FE71C6-F0BC-4E6D-A81C-4E62D06AB176}" dt="2024-04-01T18:25:12.161" v="2176" actId="1037"/>
          <ac:spMkLst>
            <pc:docMk/>
            <pc:sldMk cId="2654349321" sldId="2147477988"/>
            <ac:spMk id="1317" creationId="{083E07B8-53E3-F26C-7449-DE8BFECB6740}"/>
          </ac:spMkLst>
        </pc:spChg>
        <pc:spChg chg="add mod">
          <ac:chgData name="LYNAGH Connor" userId="6ba16826-a125-4f68-ab5d-84bd7aab3e00" providerId="ADAL" clId="{F0FE71C6-F0BC-4E6D-A81C-4E62D06AB176}" dt="2024-04-03T08:25:19.743" v="2194" actId="207"/>
          <ac:spMkLst>
            <pc:docMk/>
            <pc:sldMk cId="2654349321" sldId="2147477988"/>
            <ac:spMk id="1318" creationId="{CD1C2F85-EF0F-865E-3873-99E6E6FA600F}"/>
          </ac:spMkLst>
        </pc:spChg>
        <pc:grpChg chg="add del mod">
          <ac:chgData name="LYNAGH Connor" userId="6ba16826-a125-4f68-ab5d-84bd7aab3e00" providerId="ADAL" clId="{F0FE71C6-F0BC-4E6D-A81C-4E62D06AB176}" dt="2024-04-01T16:47:29.121" v="1299"/>
          <ac:grpSpMkLst>
            <pc:docMk/>
            <pc:sldMk cId="2654349321" sldId="2147477988"/>
            <ac:grpSpMk id="9" creationId="{7D0CE436-3527-FEF2-B5C9-E2C1F35342FB}"/>
          </ac:grpSpMkLst>
        </pc:grpChg>
        <pc:grpChg chg="mod">
          <ac:chgData name="LYNAGH Connor" userId="6ba16826-a125-4f68-ab5d-84bd7aab3e00" providerId="ADAL" clId="{F0FE71C6-F0BC-4E6D-A81C-4E62D06AB176}" dt="2024-04-01T16:47:15.028" v="1296"/>
          <ac:grpSpMkLst>
            <pc:docMk/>
            <pc:sldMk cId="2654349321" sldId="2147477988"/>
            <ac:grpSpMk id="29" creationId="{74765D8B-F0F4-E75B-3945-077039EBD01B}"/>
          </ac:grpSpMkLst>
        </pc:grpChg>
        <pc:grpChg chg="mod">
          <ac:chgData name="LYNAGH Connor" userId="6ba16826-a125-4f68-ab5d-84bd7aab3e00" providerId="ADAL" clId="{F0FE71C6-F0BC-4E6D-A81C-4E62D06AB176}" dt="2024-04-01T16:47:15.028" v="1296"/>
          <ac:grpSpMkLst>
            <pc:docMk/>
            <pc:sldMk cId="2654349321" sldId="2147477988"/>
            <ac:grpSpMk id="31" creationId="{63E04AAD-CF15-351E-7E38-71230BE58A80}"/>
          </ac:grpSpMkLst>
        </pc:grpChg>
        <pc:grpChg chg="mod">
          <ac:chgData name="LYNAGH Connor" userId="6ba16826-a125-4f68-ab5d-84bd7aab3e00" providerId="ADAL" clId="{F0FE71C6-F0BC-4E6D-A81C-4E62D06AB176}" dt="2024-04-01T16:47:15.028" v="1296"/>
          <ac:grpSpMkLst>
            <pc:docMk/>
            <pc:sldMk cId="2654349321" sldId="2147477988"/>
            <ac:grpSpMk id="38" creationId="{8A8BCE76-6BE1-C243-40C9-CBE2CD259ACC}"/>
          </ac:grpSpMkLst>
        </pc:grpChg>
        <pc:grpChg chg="mod">
          <ac:chgData name="LYNAGH Connor" userId="6ba16826-a125-4f68-ab5d-84bd7aab3e00" providerId="ADAL" clId="{F0FE71C6-F0BC-4E6D-A81C-4E62D06AB176}" dt="2024-04-01T16:47:15.028" v="1296"/>
          <ac:grpSpMkLst>
            <pc:docMk/>
            <pc:sldMk cId="2654349321" sldId="2147477988"/>
            <ac:grpSpMk id="58" creationId="{6ACFFEF0-5593-90D6-1772-734FAA295412}"/>
          </ac:grpSpMkLst>
        </pc:grpChg>
        <pc:grpChg chg="mod">
          <ac:chgData name="LYNAGH Connor" userId="6ba16826-a125-4f68-ab5d-84bd7aab3e00" providerId="ADAL" clId="{F0FE71C6-F0BC-4E6D-A81C-4E62D06AB176}" dt="2024-04-01T16:47:15.028" v="1296"/>
          <ac:grpSpMkLst>
            <pc:docMk/>
            <pc:sldMk cId="2654349321" sldId="2147477988"/>
            <ac:grpSpMk id="59" creationId="{021B3A33-0CF8-722C-F8F6-6F3D38B99128}"/>
          </ac:grpSpMkLst>
        </pc:grpChg>
        <pc:grpChg chg="mod">
          <ac:chgData name="LYNAGH Connor" userId="6ba16826-a125-4f68-ab5d-84bd7aab3e00" providerId="ADAL" clId="{F0FE71C6-F0BC-4E6D-A81C-4E62D06AB176}" dt="2024-04-01T16:47:15.028" v="1296"/>
          <ac:grpSpMkLst>
            <pc:docMk/>
            <pc:sldMk cId="2654349321" sldId="2147477988"/>
            <ac:grpSpMk id="61" creationId="{5ACB33F4-FBB7-345E-2320-706CDD70197E}"/>
          </ac:grpSpMkLst>
        </pc:grpChg>
        <pc:grpChg chg="mod">
          <ac:chgData name="LYNAGH Connor" userId="6ba16826-a125-4f68-ab5d-84bd7aab3e00" providerId="ADAL" clId="{F0FE71C6-F0BC-4E6D-A81C-4E62D06AB176}" dt="2024-04-01T16:47:15.028" v="1296"/>
          <ac:grpSpMkLst>
            <pc:docMk/>
            <pc:sldMk cId="2654349321" sldId="2147477988"/>
            <ac:grpSpMk id="67" creationId="{5AD63CE6-8C60-4CE8-4BBA-42288C874122}"/>
          </ac:grpSpMkLst>
        </pc:grpChg>
        <pc:grpChg chg="mod">
          <ac:chgData name="LYNAGH Connor" userId="6ba16826-a125-4f68-ab5d-84bd7aab3e00" providerId="ADAL" clId="{F0FE71C6-F0BC-4E6D-A81C-4E62D06AB176}" dt="2024-04-01T16:47:15.028" v="1296"/>
          <ac:grpSpMkLst>
            <pc:docMk/>
            <pc:sldMk cId="2654349321" sldId="2147477988"/>
            <ac:grpSpMk id="78" creationId="{F4DA3384-CA16-D463-433B-29F27F9426C6}"/>
          </ac:grpSpMkLst>
        </pc:grpChg>
        <pc:grpChg chg="mod">
          <ac:chgData name="LYNAGH Connor" userId="6ba16826-a125-4f68-ab5d-84bd7aab3e00" providerId="ADAL" clId="{F0FE71C6-F0BC-4E6D-A81C-4E62D06AB176}" dt="2024-04-01T16:47:15.028" v="1296"/>
          <ac:grpSpMkLst>
            <pc:docMk/>
            <pc:sldMk cId="2654349321" sldId="2147477988"/>
            <ac:grpSpMk id="79" creationId="{FBA491B6-9BAA-20C4-DB01-4BDD9985A9C7}"/>
          </ac:grpSpMkLst>
        </pc:grpChg>
        <pc:grpChg chg="mod">
          <ac:chgData name="LYNAGH Connor" userId="6ba16826-a125-4f68-ab5d-84bd7aab3e00" providerId="ADAL" clId="{F0FE71C6-F0BC-4E6D-A81C-4E62D06AB176}" dt="2024-04-01T16:47:15.028" v="1296"/>
          <ac:grpSpMkLst>
            <pc:docMk/>
            <pc:sldMk cId="2654349321" sldId="2147477988"/>
            <ac:grpSpMk id="81" creationId="{3BDF36E5-96EA-42C5-5B3A-5FA34D355B2D}"/>
          </ac:grpSpMkLst>
        </pc:grpChg>
        <pc:grpChg chg="mod">
          <ac:chgData name="LYNAGH Connor" userId="6ba16826-a125-4f68-ab5d-84bd7aab3e00" providerId="ADAL" clId="{F0FE71C6-F0BC-4E6D-A81C-4E62D06AB176}" dt="2024-04-01T16:47:15.028" v="1296"/>
          <ac:grpSpMkLst>
            <pc:docMk/>
            <pc:sldMk cId="2654349321" sldId="2147477988"/>
            <ac:grpSpMk id="82" creationId="{2876893C-952B-A371-9AF1-6E202724766E}"/>
          </ac:grpSpMkLst>
        </pc:grpChg>
        <pc:grpChg chg="mod">
          <ac:chgData name="LYNAGH Connor" userId="6ba16826-a125-4f68-ab5d-84bd7aab3e00" providerId="ADAL" clId="{F0FE71C6-F0BC-4E6D-A81C-4E62D06AB176}" dt="2024-04-01T16:47:15.028" v="1296"/>
          <ac:grpSpMkLst>
            <pc:docMk/>
            <pc:sldMk cId="2654349321" sldId="2147477988"/>
            <ac:grpSpMk id="85" creationId="{C70C2E37-B94D-66CA-9729-891383536CAC}"/>
          </ac:grpSpMkLst>
        </pc:grpChg>
        <pc:grpChg chg="mod">
          <ac:chgData name="LYNAGH Connor" userId="6ba16826-a125-4f68-ab5d-84bd7aab3e00" providerId="ADAL" clId="{F0FE71C6-F0BC-4E6D-A81C-4E62D06AB176}" dt="2024-04-01T16:47:15.028" v="1296"/>
          <ac:grpSpMkLst>
            <pc:docMk/>
            <pc:sldMk cId="2654349321" sldId="2147477988"/>
            <ac:grpSpMk id="86" creationId="{8642C006-18BC-5EF8-82F9-B196D679313D}"/>
          </ac:grpSpMkLst>
        </pc:grpChg>
        <pc:grpChg chg="mod">
          <ac:chgData name="LYNAGH Connor" userId="6ba16826-a125-4f68-ab5d-84bd7aab3e00" providerId="ADAL" clId="{F0FE71C6-F0BC-4E6D-A81C-4E62D06AB176}" dt="2024-04-01T16:47:15.028" v="1296"/>
          <ac:grpSpMkLst>
            <pc:docMk/>
            <pc:sldMk cId="2654349321" sldId="2147477988"/>
            <ac:grpSpMk id="94" creationId="{BFDA0A6E-61BF-6D32-0E86-378765DDBBA0}"/>
          </ac:grpSpMkLst>
        </pc:grpChg>
        <pc:grpChg chg="mod">
          <ac:chgData name="LYNAGH Connor" userId="6ba16826-a125-4f68-ab5d-84bd7aab3e00" providerId="ADAL" clId="{F0FE71C6-F0BC-4E6D-A81C-4E62D06AB176}" dt="2024-04-01T16:47:15.028" v="1296"/>
          <ac:grpSpMkLst>
            <pc:docMk/>
            <pc:sldMk cId="2654349321" sldId="2147477988"/>
            <ac:grpSpMk id="95" creationId="{AEC55E34-3077-B1E1-69BC-46778491F6A5}"/>
          </ac:grpSpMkLst>
        </pc:grpChg>
        <pc:grpChg chg="mod">
          <ac:chgData name="LYNAGH Connor" userId="6ba16826-a125-4f68-ab5d-84bd7aab3e00" providerId="ADAL" clId="{F0FE71C6-F0BC-4E6D-A81C-4E62D06AB176}" dt="2024-04-01T16:47:15.028" v="1296"/>
          <ac:grpSpMkLst>
            <pc:docMk/>
            <pc:sldMk cId="2654349321" sldId="2147477988"/>
            <ac:grpSpMk id="803" creationId="{CBFF3FE1-A7CF-8F14-FE23-184848DF572C}"/>
          </ac:grpSpMkLst>
        </pc:grpChg>
        <pc:grpChg chg="mod">
          <ac:chgData name="LYNAGH Connor" userId="6ba16826-a125-4f68-ab5d-84bd7aab3e00" providerId="ADAL" clId="{F0FE71C6-F0BC-4E6D-A81C-4E62D06AB176}" dt="2024-04-01T16:47:15.028" v="1296"/>
          <ac:grpSpMkLst>
            <pc:docMk/>
            <pc:sldMk cId="2654349321" sldId="2147477988"/>
            <ac:grpSpMk id="810" creationId="{F499A1E8-EE3E-12BC-589C-E244F431C0AA}"/>
          </ac:grpSpMkLst>
        </pc:grpChg>
        <pc:grpChg chg="mod">
          <ac:chgData name="LYNAGH Connor" userId="6ba16826-a125-4f68-ab5d-84bd7aab3e00" providerId="ADAL" clId="{F0FE71C6-F0BC-4E6D-A81C-4E62D06AB176}" dt="2024-04-01T16:47:15.028" v="1296"/>
          <ac:grpSpMkLst>
            <pc:docMk/>
            <pc:sldMk cId="2654349321" sldId="2147477988"/>
            <ac:grpSpMk id="818" creationId="{1C04F459-3DD1-A2A2-07A8-3073E64553B8}"/>
          </ac:grpSpMkLst>
        </pc:grpChg>
        <pc:grpChg chg="mod">
          <ac:chgData name="LYNAGH Connor" userId="6ba16826-a125-4f68-ab5d-84bd7aab3e00" providerId="ADAL" clId="{F0FE71C6-F0BC-4E6D-A81C-4E62D06AB176}" dt="2024-04-01T16:47:15.028" v="1296"/>
          <ac:grpSpMkLst>
            <pc:docMk/>
            <pc:sldMk cId="2654349321" sldId="2147477988"/>
            <ac:grpSpMk id="819" creationId="{1EB5A6BE-833B-5561-4C89-2F7A6180B399}"/>
          </ac:grpSpMkLst>
        </pc:grpChg>
        <pc:grpChg chg="mod">
          <ac:chgData name="LYNAGH Connor" userId="6ba16826-a125-4f68-ab5d-84bd7aab3e00" providerId="ADAL" clId="{F0FE71C6-F0BC-4E6D-A81C-4E62D06AB176}" dt="2024-04-01T17:05:16.403" v="1491" actId="1035"/>
          <ac:grpSpMkLst>
            <pc:docMk/>
            <pc:sldMk cId="2654349321" sldId="2147477988"/>
            <ac:grpSpMk id="825" creationId="{1BB40FDF-406C-39A7-92B4-B291160E02AD}"/>
          </ac:grpSpMkLst>
        </pc:grpChg>
        <pc:grpChg chg="mod">
          <ac:chgData name="LYNAGH Connor" userId="6ba16826-a125-4f68-ab5d-84bd7aab3e00" providerId="ADAL" clId="{F0FE71C6-F0BC-4E6D-A81C-4E62D06AB176}" dt="2024-04-01T16:47:15.028" v="1296"/>
          <ac:grpSpMkLst>
            <pc:docMk/>
            <pc:sldMk cId="2654349321" sldId="2147477988"/>
            <ac:grpSpMk id="827" creationId="{0FDD573A-30F7-386B-8ACC-37610454C2C6}"/>
          </ac:grpSpMkLst>
        </pc:grpChg>
        <pc:grpChg chg="mod">
          <ac:chgData name="LYNAGH Connor" userId="6ba16826-a125-4f68-ab5d-84bd7aab3e00" providerId="ADAL" clId="{F0FE71C6-F0BC-4E6D-A81C-4E62D06AB176}" dt="2024-04-01T16:47:15.028" v="1296"/>
          <ac:grpSpMkLst>
            <pc:docMk/>
            <pc:sldMk cId="2654349321" sldId="2147477988"/>
            <ac:grpSpMk id="1025" creationId="{28160868-F4B9-8046-0398-CEAEEFD0814C}"/>
          </ac:grpSpMkLst>
        </pc:grpChg>
        <pc:grpChg chg="mod">
          <ac:chgData name="LYNAGH Connor" userId="6ba16826-a125-4f68-ab5d-84bd7aab3e00" providerId="ADAL" clId="{F0FE71C6-F0BC-4E6D-A81C-4E62D06AB176}" dt="2024-04-01T16:47:15.028" v="1296"/>
          <ac:grpSpMkLst>
            <pc:docMk/>
            <pc:sldMk cId="2654349321" sldId="2147477988"/>
            <ac:grpSpMk id="1031" creationId="{65C4BE9C-6CA9-DEFC-F7E0-A6834575998C}"/>
          </ac:grpSpMkLst>
        </pc:grpChg>
        <pc:grpChg chg="mod">
          <ac:chgData name="LYNAGH Connor" userId="6ba16826-a125-4f68-ab5d-84bd7aab3e00" providerId="ADAL" clId="{F0FE71C6-F0BC-4E6D-A81C-4E62D06AB176}" dt="2024-04-01T16:47:15.028" v="1296"/>
          <ac:grpSpMkLst>
            <pc:docMk/>
            <pc:sldMk cId="2654349321" sldId="2147477988"/>
            <ac:grpSpMk id="1032" creationId="{9AFF7DB1-5E31-5215-6E64-52D850DC4524}"/>
          </ac:grpSpMkLst>
        </pc:grpChg>
        <pc:grpChg chg="mod">
          <ac:chgData name="LYNAGH Connor" userId="6ba16826-a125-4f68-ab5d-84bd7aab3e00" providerId="ADAL" clId="{F0FE71C6-F0BC-4E6D-A81C-4E62D06AB176}" dt="2024-04-01T16:47:15.028" v="1296"/>
          <ac:grpSpMkLst>
            <pc:docMk/>
            <pc:sldMk cId="2654349321" sldId="2147477988"/>
            <ac:grpSpMk id="1037" creationId="{49FE2C61-3AFB-F3B1-9312-FFB5B8895D4E}"/>
          </ac:grpSpMkLst>
        </pc:grpChg>
        <pc:grpChg chg="mod">
          <ac:chgData name="LYNAGH Connor" userId="6ba16826-a125-4f68-ab5d-84bd7aab3e00" providerId="ADAL" clId="{F0FE71C6-F0BC-4E6D-A81C-4E62D06AB176}" dt="2024-04-01T16:47:15.028" v="1296"/>
          <ac:grpSpMkLst>
            <pc:docMk/>
            <pc:sldMk cId="2654349321" sldId="2147477988"/>
            <ac:grpSpMk id="1043" creationId="{949FE41A-7F93-0F93-6442-FE0AE1F410CD}"/>
          </ac:grpSpMkLst>
        </pc:grpChg>
        <pc:grpChg chg="mod">
          <ac:chgData name="LYNAGH Connor" userId="6ba16826-a125-4f68-ab5d-84bd7aab3e00" providerId="ADAL" clId="{F0FE71C6-F0BC-4E6D-A81C-4E62D06AB176}" dt="2024-04-01T16:47:15.028" v="1296"/>
          <ac:grpSpMkLst>
            <pc:docMk/>
            <pc:sldMk cId="2654349321" sldId="2147477988"/>
            <ac:grpSpMk id="1049" creationId="{CD4EF926-A093-A975-6CF3-533B5AA7A82F}"/>
          </ac:grpSpMkLst>
        </pc:grpChg>
        <pc:grpChg chg="mod">
          <ac:chgData name="LYNAGH Connor" userId="6ba16826-a125-4f68-ab5d-84bd7aab3e00" providerId="ADAL" clId="{F0FE71C6-F0BC-4E6D-A81C-4E62D06AB176}" dt="2024-04-01T16:47:15.028" v="1296"/>
          <ac:grpSpMkLst>
            <pc:docMk/>
            <pc:sldMk cId="2654349321" sldId="2147477988"/>
            <ac:grpSpMk id="1050" creationId="{BC54537D-0811-031B-6D9A-EE300C287B92}"/>
          </ac:grpSpMkLst>
        </pc:grpChg>
        <pc:grpChg chg="mod">
          <ac:chgData name="LYNAGH Connor" userId="6ba16826-a125-4f68-ab5d-84bd7aab3e00" providerId="ADAL" clId="{F0FE71C6-F0BC-4E6D-A81C-4E62D06AB176}" dt="2024-04-01T16:47:15.028" v="1296"/>
          <ac:grpSpMkLst>
            <pc:docMk/>
            <pc:sldMk cId="2654349321" sldId="2147477988"/>
            <ac:grpSpMk id="1054" creationId="{A78FB109-5DF2-5984-A356-AA7A882FA86C}"/>
          </ac:grpSpMkLst>
        </pc:grpChg>
        <pc:grpChg chg="mod">
          <ac:chgData name="LYNAGH Connor" userId="6ba16826-a125-4f68-ab5d-84bd7aab3e00" providerId="ADAL" clId="{F0FE71C6-F0BC-4E6D-A81C-4E62D06AB176}" dt="2024-04-01T16:47:15.028" v="1296"/>
          <ac:grpSpMkLst>
            <pc:docMk/>
            <pc:sldMk cId="2654349321" sldId="2147477988"/>
            <ac:grpSpMk id="1060" creationId="{FEC4BEC7-1FFC-04D3-5B97-BEF273D3EDDF}"/>
          </ac:grpSpMkLst>
        </pc:grpChg>
        <pc:grpChg chg="mod">
          <ac:chgData name="LYNAGH Connor" userId="6ba16826-a125-4f68-ab5d-84bd7aab3e00" providerId="ADAL" clId="{F0FE71C6-F0BC-4E6D-A81C-4E62D06AB176}" dt="2024-04-01T16:47:15.028" v="1296"/>
          <ac:grpSpMkLst>
            <pc:docMk/>
            <pc:sldMk cId="2654349321" sldId="2147477988"/>
            <ac:grpSpMk id="1063" creationId="{90CF70CF-9BB9-860D-7DAF-1A8D0485EB79}"/>
          </ac:grpSpMkLst>
        </pc:grpChg>
        <pc:grpChg chg="mod">
          <ac:chgData name="LYNAGH Connor" userId="6ba16826-a125-4f68-ab5d-84bd7aab3e00" providerId="ADAL" clId="{F0FE71C6-F0BC-4E6D-A81C-4E62D06AB176}" dt="2024-04-01T16:47:15.028" v="1296"/>
          <ac:grpSpMkLst>
            <pc:docMk/>
            <pc:sldMk cId="2654349321" sldId="2147477988"/>
            <ac:grpSpMk id="1064" creationId="{9F6ECD0E-1F6A-9F90-B6D9-6E699B09020A}"/>
          </ac:grpSpMkLst>
        </pc:grpChg>
        <pc:grpChg chg="mod">
          <ac:chgData name="LYNAGH Connor" userId="6ba16826-a125-4f68-ab5d-84bd7aab3e00" providerId="ADAL" clId="{F0FE71C6-F0BC-4E6D-A81C-4E62D06AB176}" dt="2024-04-01T16:47:15.028" v="1296"/>
          <ac:grpSpMkLst>
            <pc:docMk/>
            <pc:sldMk cId="2654349321" sldId="2147477988"/>
            <ac:grpSpMk id="1068" creationId="{1B891FC9-A18E-C9E2-1596-B02B5BFFF41C}"/>
          </ac:grpSpMkLst>
        </pc:grpChg>
        <pc:grpChg chg="mod">
          <ac:chgData name="LYNAGH Connor" userId="6ba16826-a125-4f68-ab5d-84bd7aab3e00" providerId="ADAL" clId="{F0FE71C6-F0BC-4E6D-A81C-4E62D06AB176}" dt="2024-04-01T16:47:15.028" v="1296"/>
          <ac:grpSpMkLst>
            <pc:docMk/>
            <pc:sldMk cId="2654349321" sldId="2147477988"/>
            <ac:grpSpMk id="1069" creationId="{22AA67DE-9B71-996F-470E-8958AD916318}"/>
          </ac:grpSpMkLst>
        </pc:grpChg>
        <pc:grpChg chg="mod">
          <ac:chgData name="LYNAGH Connor" userId="6ba16826-a125-4f68-ab5d-84bd7aab3e00" providerId="ADAL" clId="{F0FE71C6-F0BC-4E6D-A81C-4E62D06AB176}" dt="2024-04-01T16:47:15.028" v="1296"/>
          <ac:grpSpMkLst>
            <pc:docMk/>
            <pc:sldMk cId="2654349321" sldId="2147477988"/>
            <ac:grpSpMk id="1073" creationId="{71F927CC-601F-F0BE-10CE-DC4AF0E25586}"/>
          </ac:grpSpMkLst>
        </pc:grpChg>
        <pc:grpChg chg="mod">
          <ac:chgData name="LYNAGH Connor" userId="6ba16826-a125-4f68-ab5d-84bd7aab3e00" providerId="ADAL" clId="{F0FE71C6-F0BC-4E6D-A81C-4E62D06AB176}" dt="2024-04-01T16:47:15.028" v="1296"/>
          <ac:grpSpMkLst>
            <pc:docMk/>
            <pc:sldMk cId="2654349321" sldId="2147477988"/>
            <ac:grpSpMk id="1079" creationId="{3312734E-948B-2751-8EC2-FCB0FFA74EF2}"/>
          </ac:grpSpMkLst>
        </pc:grpChg>
        <pc:grpChg chg="mod">
          <ac:chgData name="LYNAGH Connor" userId="6ba16826-a125-4f68-ab5d-84bd7aab3e00" providerId="ADAL" clId="{F0FE71C6-F0BC-4E6D-A81C-4E62D06AB176}" dt="2024-04-01T16:47:15.028" v="1296"/>
          <ac:grpSpMkLst>
            <pc:docMk/>
            <pc:sldMk cId="2654349321" sldId="2147477988"/>
            <ac:grpSpMk id="1085" creationId="{76021A45-0DFC-90AF-A173-0DB60B2F387A}"/>
          </ac:grpSpMkLst>
        </pc:grpChg>
        <pc:grpChg chg="mod">
          <ac:chgData name="LYNAGH Connor" userId="6ba16826-a125-4f68-ab5d-84bd7aab3e00" providerId="ADAL" clId="{F0FE71C6-F0BC-4E6D-A81C-4E62D06AB176}" dt="2024-04-01T16:47:15.028" v="1296"/>
          <ac:grpSpMkLst>
            <pc:docMk/>
            <pc:sldMk cId="2654349321" sldId="2147477988"/>
            <ac:grpSpMk id="1086" creationId="{F557A5E7-75D2-3EAD-AEB4-C4A331C11277}"/>
          </ac:grpSpMkLst>
        </pc:grpChg>
        <pc:grpChg chg="mod">
          <ac:chgData name="LYNAGH Connor" userId="6ba16826-a125-4f68-ab5d-84bd7aab3e00" providerId="ADAL" clId="{F0FE71C6-F0BC-4E6D-A81C-4E62D06AB176}" dt="2024-04-01T16:47:15.028" v="1296"/>
          <ac:grpSpMkLst>
            <pc:docMk/>
            <pc:sldMk cId="2654349321" sldId="2147477988"/>
            <ac:grpSpMk id="1090" creationId="{715FB74D-77B9-51A6-856D-748306AD1242}"/>
          </ac:grpSpMkLst>
        </pc:grpChg>
        <pc:grpChg chg="mod">
          <ac:chgData name="LYNAGH Connor" userId="6ba16826-a125-4f68-ab5d-84bd7aab3e00" providerId="ADAL" clId="{F0FE71C6-F0BC-4E6D-A81C-4E62D06AB176}" dt="2024-04-01T16:47:15.028" v="1296"/>
          <ac:grpSpMkLst>
            <pc:docMk/>
            <pc:sldMk cId="2654349321" sldId="2147477988"/>
            <ac:grpSpMk id="1096" creationId="{EC10B18C-CF35-1821-B4EA-381EB91B54A4}"/>
          </ac:grpSpMkLst>
        </pc:grpChg>
        <pc:grpChg chg="mod">
          <ac:chgData name="LYNAGH Connor" userId="6ba16826-a125-4f68-ab5d-84bd7aab3e00" providerId="ADAL" clId="{F0FE71C6-F0BC-4E6D-A81C-4E62D06AB176}" dt="2024-04-01T16:47:15.028" v="1296"/>
          <ac:grpSpMkLst>
            <pc:docMk/>
            <pc:sldMk cId="2654349321" sldId="2147477988"/>
            <ac:grpSpMk id="1099" creationId="{EA6C6987-F002-0FF3-AFB0-6B065A1AC87C}"/>
          </ac:grpSpMkLst>
        </pc:grpChg>
        <pc:grpChg chg="mod">
          <ac:chgData name="LYNAGH Connor" userId="6ba16826-a125-4f68-ab5d-84bd7aab3e00" providerId="ADAL" clId="{F0FE71C6-F0BC-4E6D-A81C-4E62D06AB176}" dt="2024-04-01T16:47:15.028" v="1296"/>
          <ac:grpSpMkLst>
            <pc:docMk/>
            <pc:sldMk cId="2654349321" sldId="2147477988"/>
            <ac:grpSpMk id="1100" creationId="{772B2E24-14BA-F1C2-7DFC-96D0E5C1C23E}"/>
          </ac:grpSpMkLst>
        </pc:grpChg>
        <pc:grpChg chg="mod">
          <ac:chgData name="LYNAGH Connor" userId="6ba16826-a125-4f68-ab5d-84bd7aab3e00" providerId="ADAL" clId="{F0FE71C6-F0BC-4E6D-A81C-4E62D06AB176}" dt="2024-04-01T16:47:15.028" v="1296"/>
          <ac:grpSpMkLst>
            <pc:docMk/>
            <pc:sldMk cId="2654349321" sldId="2147477988"/>
            <ac:grpSpMk id="1104" creationId="{1ACAD0BE-300D-C6A5-8A08-85D7D3EDAE21}"/>
          </ac:grpSpMkLst>
        </pc:grpChg>
        <pc:grpChg chg="mod">
          <ac:chgData name="LYNAGH Connor" userId="6ba16826-a125-4f68-ab5d-84bd7aab3e00" providerId="ADAL" clId="{F0FE71C6-F0BC-4E6D-A81C-4E62D06AB176}" dt="2024-04-01T16:47:15.028" v="1296"/>
          <ac:grpSpMkLst>
            <pc:docMk/>
            <pc:sldMk cId="2654349321" sldId="2147477988"/>
            <ac:grpSpMk id="1105" creationId="{11B2632D-ADCA-AB3E-4D54-2F059FBD6415}"/>
          </ac:grpSpMkLst>
        </pc:grpChg>
        <pc:grpChg chg="mod">
          <ac:chgData name="LYNAGH Connor" userId="6ba16826-a125-4f68-ab5d-84bd7aab3e00" providerId="ADAL" clId="{F0FE71C6-F0BC-4E6D-A81C-4E62D06AB176}" dt="2024-04-01T16:47:15.028" v="1296"/>
          <ac:grpSpMkLst>
            <pc:docMk/>
            <pc:sldMk cId="2654349321" sldId="2147477988"/>
            <ac:grpSpMk id="1109" creationId="{A024A390-E7D9-103F-0C58-BD12CADEA458}"/>
          </ac:grpSpMkLst>
        </pc:grpChg>
        <pc:grpChg chg="mod">
          <ac:chgData name="LYNAGH Connor" userId="6ba16826-a125-4f68-ab5d-84bd7aab3e00" providerId="ADAL" clId="{F0FE71C6-F0BC-4E6D-A81C-4E62D06AB176}" dt="2024-04-01T16:47:15.028" v="1296"/>
          <ac:grpSpMkLst>
            <pc:docMk/>
            <pc:sldMk cId="2654349321" sldId="2147477988"/>
            <ac:grpSpMk id="1115" creationId="{845EA37A-538A-AD06-D083-A491619059C9}"/>
          </ac:grpSpMkLst>
        </pc:grpChg>
        <pc:grpChg chg="mod">
          <ac:chgData name="LYNAGH Connor" userId="6ba16826-a125-4f68-ab5d-84bd7aab3e00" providerId="ADAL" clId="{F0FE71C6-F0BC-4E6D-A81C-4E62D06AB176}" dt="2024-04-01T16:47:15.028" v="1296"/>
          <ac:grpSpMkLst>
            <pc:docMk/>
            <pc:sldMk cId="2654349321" sldId="2147477988"/>
            <ac:grpSpMk id="1121" creationId="{B674E545-11B6-C5BB-A83B-33C0317002B7}"/>
          </ac:grpSpMkLst>
        </pc:grpChg>
        <pc:grpChg chg="mod">
          <ac:chgData name="LYNAGH Connor" userId="6ba16826-a125-4f68-ab5d-84bd7aab3e00" providerId="ADAL" clId="{F0FE71C6-F0BC-4E6D-A81C-4E62D06AB176}" dt="2024-04-01T16:47:15.028" v="1296"/>
          <ac:grpSpMkLst>
            <pc:docMk/>
            <pc:sldMk cId="2654349321" sldId="2147477988"/>
            <ac:grpSpMk id="1122" creationId="{C2D77C30-3123-8940-1CDF-552F6450575F}"/>
          </ac:grpSpMkLst>
        </pc:grpChg>
        <pc:grpChg chg="mod">
          <ac:chgData name="LYNAGH Connor" userId="6ba16826-a125-4f68-ab5d-84bd7aab3e00" providerId="ADAL" clId="{F0FE71C6-F0BC-4E6D-A81C-4E62D06AB176}" dt="2024-04-01T16:47:15.028" v="1296"/>
          <ac:grpSpMkLst>
            <pc:docMk/>
            <pc:sldMk cId="2654349321" sldId="2147477988"/>
            <ac:grpSpMk id="1126" creationId="{8AB191F7-11BA-4542-B919-929F70F62187}"/>
          </ac:grpSpMkLst>
        </pc:grpChg>
        <pc:grpChg chg="mod">
          <ac:chgData name="LYNAGH Connor" userId="6ba16826-a125-4f68-ab5d-84bd7aab3e00" providerId="ADAL" clId="{F0FE71C6-F0BC-4E6D-A81C-4E62D06AB176}" dt="2024-04-01T16:47:15.028" v="1296"/>
          <ac:grpSpMkLst>
            <pc:docMk/>
            <pc:sldMk cId="2654349321" sldId="2147477988"/>
            <ac:grpSpMk id="1132" creationId="{8CD4BCAC-5D1F-69BA-F57C-9E31A64BF598}"/>
          </ac:grpSpMkLst>
        </pc:grpChg>
        <pc:grpChg chg="mod">
          <ac:chgData name="LYNAGH Connor" userId="6ba16826-a125-4f68-ab5d-84bd7aab3e00" providerId="ADAL" clId="{F0FE71C6-F0BC-4E6D-A81C-4E62D06AB176}" dt="2024-04-01T16:47:15.028" v="1296"/>
          <ac:grpSpMkLst>
            <pc:docMk/>
            <pc:sldMk cId="2654349321" sldId="2147477988"/>
            <ac:grpSpMk id="1137" creationId="{81624EF3-C243-7182-E240-D576185B399E}"/>
          </ac:grpSpMkLst>
        </pc:grpChg>
        <pc:grpChg chg="mod">
          <ac:chgData name="LYNAGH Connor" userId="6ba16826-a125-4f68-ab5d-84bd7aab3e00" providerId="ADAL" clId="{F0FE71C6-F0BC-4E6D-A81C-4E62D06AB176}" dt="2024-04-01T16:47:15.028" v="1296"/>
          <ac:grpSpMkLst>
            <pc:docMk/>
            <pc:sldMk cId="2654349321" sldId="2147477988"/>
            <ac:grpSpMk id="1138" creationId="{1F781742-5691-B556-91FD-38FC00A2688C}"/>
          </ac:grpSpMkLst>
        </pc:grpChg>
        <pc:grpChg chg="mod">
          <ac:chgData name="LYNAGH Connor" userId="6ba16826-a125-4f68-ab5d-84bd7aab3e00" providerId="ADAL" clId="{F0FE71C6-F0BC-4E6D-A81C-4E62D06AB176}" dt="2024-04-01T16:47:15.028" v="1296"/>
          <ac:grpSpMkLst>
            <pc:docMk/>
            <pc:sldMk cId="2654349321" sldId="2147477988"/>
            <ac:grpSpMk id="1142" creationId="{3CF78B36-48E8-038E-D30E-6A7828A1903B}"/>
          </ac:grpSpMkLst>
        </pc:grpChg>
        <pc:grpChg chg="mod">
          <ac:chgData name="LYNAGH Connor" userId="6ba16826-a125-4f68-ab5d-84bd7aab3e00" providerId="ADAL" clId="{F0FE71C6-F0BC-4E6D-A81C-4E62D06AB176}" dt="2024-04-01T16:47:15.028" v="1296"/>
          <ac:grpSpMkLst>
            <pc:docMk/>
            <pc:sldMk cId="2654349321" sldId="2147477988"/>
            <ac:grpSpMk id="1143" creationId="{8AFEE911-1C17-40F6-DA81-00A0A97D3214}"/>
          </ac:grpSpMkLst>
        </pc:grpChg>
        <pc:grpChg chg="mod">
          <ac:chgData name="LYNAGH Connor" userId="6ba16826-a125-4f68-ab5d-84bd7aab3e00" providerId="ADAL" clId="{F0FE71C6-F0BC-4E6D-A81C-4E62D06AB176}" dt="2024-04-01T16:47:15.028" v="1296"/>
          <ac:grpSpMkLst>
            <pc:docMk/>
            <pc:sldMk cId="2654349321" sldId="2147477988"/>
            <ac:grpSpMk id="1147" creationId="{B2ECEB67-DE13-BBE2-5BB7-A381C0C75095}"/>
          </ac:grpSpMkLst>
        </pc:grpChg>
        <pc:grpChg chg="mod">
          <ac:chgData name="LYNAGH Connor" userId="6ba16826-a125-4f68-ab5d-84bd7aab3e00" providerId="ADAL" clId="{F0FE71C6-F0BC-4E6D-A81C-4E62D06AB176}" dt="2024-04-01T16:47:15.028" v="1296"/>
          <ac:grpSpMkLst>
            <pc:docMk/>
            <pc:sldMk cId="2654349321" sldId="2147477988"/>
            <ac:grpSpMk id="1153" creationId="{F641E98E-9A12-B396-5737-53F532D4D544}"/>
          </ac:grpSpMkLst>
        </pc:grpChg>
        <pc:grpChg chg="mod">
          <ac:chgData name="LYNAGH Connor" userId="6ba16826-a125-4f68-ab5d-84bd7aab3e00" providerId="ADAL" clId="{F0FE71C6-F0BC-4E6D-A81C-4E62D06AB176}" dt="2024-04-01T16:47:15.028" v="1296"/>
          <ac:grpSpMkLst>
            <pc:docMk/>
            <pc:sldMk cId="2654349321" sldId="2147477988"/>
            <ac:grpSpMk id="1159" creationId="{592E91F4-2BDE-EDD9-01DC-232BDC4688E9}"/>
          </ac:grpSpMkLst>
        </pc:grpChg>
        <pc:grpChg chg="mod">
          <ac:chgData name="LYNAGH Connor" userId="6ba16826-a125-4f68-ab5d-84bd7aab3e00" providerId="ADAL" clId="{F0FE71C6-F0BC-4E6D-A81C-4E62D06AB176}" dt="2024-04-01T16:47:15.028" v="1296"/>
          <ac:grpSpMkLst>
            <pc:docMk/>
            <pc:sldMk cId="2654349321" sldId="2147477988"/>
            <ac:grpSpMk id="1160" creationId="{F8ADE26E-AFE4-8806-26D6-FF04CA15221A}"/>
          </ac:grpSpMkLst>
        </pc:grpChg>
        <pc:grpChg chg="mod">
          <ac:chgData name="LYNAGH Connor" userId="6ba16826-a125-4f68-ab5d-84bd7aab3e00" providerId="ADAL" clId="{F0FE71C6-F0BC-4E6D-A81C-4E62D06AB176}" dt="2024-04-01T16:47:15.028" v="1296"/>
          <ac:grpSpMkLst>
            <pc:docMk/>
            <pc:sldMk cId="2654349321" sldId="2147477988"/>
            <ac:grpSpMk id="1164" creationId="{669D55EF-8717-303B-483E-DB611D30FF36}"/>
          </ac:grpSpMkLst>
        </pc:grpChg>
        <pc:grpChg chg="mod">
          <ac:chgData name="LYNAGH Connor" userId="6ba16826-a125-4f68-ab5d-84bd7aab3e00" providerId="ADAL" clId="{F0FE71C6-F0BC-4E6D-A81C-4E62D06AB176}" dt="2024-04-01T16:47:15.028" v="1296"/>
          <ac:grpSpMkLst>
            <pc:docMk/>
            <pc:sldMk cId="2654349321" sldId="2147477988"/>
            <ac:grpSpMk id="1170" creationId="{DBB79B27-235F-C90F-3152-93636CE8A764}"/>
          </ac:grpSpMkLst>
        </pc:grpChg>
        <pc:grpChg chg="mod">
          <ac:chgData name="LYNAGH Connor" userId="6ba16826-a125-4f68-ab5d-84bd7aab3e00" providerId="ADAL" clId="{F0FE71C6-F0BC-4E6D-A81C-4E62D06AB176}" dt="2024-04-01T16:47:15.028" v="1296"/>
          <ac:grpSpMkLst>
            <pc:docMk/>
            <pc:sldMk cId="2654349321" sldId="2147477988"/>
            <ac:grpSpMk id="1176" creationId="{606887A8-50D3-007D-0576-D1256BAD0529}"/>
          </ac:grpSpMkLst>
        </pc:grpChg>
        <pc:grpChg chg="mod">
          <ac:chgData name="LYNAGH Connor" userId="6ba16826-a125-4f68-ab5d-84bd7aab3e00" providerId="ADAL" clId="{F0FE71C6-F0BC-4E6D-A81C-4E62D06AB176}" dt="2024-04-01T16:47:15.028" v="1296"/>
          <ac:grpSpMkLst>
            <pc:docMk/>
            <pc:sldMk cId="2654349321" sldId="2147477988"/>
            <ac:grpSpMk id="1177" creationId="{F263532E-2229-F174-3A1D-3A149A256CA0}"/>
          </ac:grpSpMkLst>
        </pc:grpChg>
        <pc:grpChg chg="mod">
          <ac:chgData name="LYNAGH Connor" userId="6ba16826-a125-4f68-ab5d-84bd7aab3e00" providerId="ADAL" clId="{F0FE71C6-F0BC-4E6D-A81C-4E62D06AB176}" dt="2024-04-01T16:47:15.028" v="1296"/>
          <ac:grpSpMkLst>
            <pc:docMk/>
            <pc:sldMk cId="2654349321" sldId="2147477988"/>
            <ac:grpSpMk id="1181" creationId="{0570BDE2-9E82-0B10-C1A4-BAAEF65FB020}"/>
          </ac:grpSpMkLst>
        </pc:grpChg>
        <pc:grpChg chg="mod">
          <ac:chgData name="LYNAGH Connor" userId="6ba16826-a125-4f68-ab5d-84bd7aab3e00" providerId="ADAL" clId="{F0FE71C6-F0BC-4E6D-A81C-4E62D06AB176}" dt="2024-04-01T16:47:15.028" v="1296"/>
          <ac:grpSpMkLst>
            <pc:docMk/>
            <pc:sldMk cId="2654349321" sldId="2147477988"/>
            <ac:grpSpMk id="1187" creationId="{79B65830-F752-39FB-88B9-23BC9987DF40}"/>
          </ac:grpSpMkLst>
        </pc:grpChg>
        <pc:grpChg chg="mod">
          <ac:chgData name="LYNAGH Connor" userId="6ba16826-a125-4f68-ab5d-84bd7aab3e00" providerId="ADAL" clId="{F0FE71C6-F0BC-4E6D-A81C-4E62D06AB176}" dt="2024-04-01T16:47:15.028" v="1296"/>
          <ac:grpSpMkLst>
            <pc:docMk/>
            <pc:sldMk cId="2654349321" sldId="2147477988"/>
            <ac:grpSpMk id="1193" creationId="{69716CEF-8901-98A5-2E4F-3E0212C1A052}"/>
          </ac:grpSpMkLst>
        </pc:grpChg>
        <pc:grpChg chg="mod">
          <ac:chgData name="LYNAGH Connor" userId="6ba16826-a125-4f68-ab5d-84bd7aab3e00" providerId="ADAL" clId="{F0FE71C6-F0BC-4E6D-A81C-4E62D06AB176}" dt="2024-04-01T16:47:15.028" v="1296"/>
          <ac:grpSpMkLst>
            <pc:docMk/>
            <pc:sldMk cId="2654349321" sldId="2147477988"/>
            <ac:grpSpMk id="1194" creationId="{CA8A4B9B-6E23-4738-4567-C83891545365}"/>
          </ac:grpSpMkLst>
        </pc:grpChg>
        <pc:grpChg chg="mod">
          <ac:chgData name="LYNAGH Connor" userId="6ba16826-a125-4f68-ab5d-84bd7aab3e00" providerId="ADAL" clId="{F0FE71C6-F0BC-4E6D-A81C-4E62D06AB176}" dt="2024-04-01T16:47:15.028" v="1296"/>
          <ac:grpSpMkLst>
            <pc:docMk/>
            <pc:sldMk cId="2654349321" sldId="2147477988"/>
            <ac:grpSpMk id="1195" creationId="{75BCAC21-DD6B-D933-2456-80D8D3E208F8}"/>
          </ac:grpSpMkLst>
        </pc:grpChg>
        <pc:grpChg chg="mod">
          <ac:chgData name="LYNAGH Connor" userId="6ba16826-a125-4f68-ab5d-84bd7aab3e00" providerId="ADAL" clId="{F0FE71C6-F0BC-4E6D-A81C-4E62D06AB176}" dt="2024-04-01T16:47:15.028" v="1296"/>
          <ac:grpSpMkLst>
            <pc:docMk/>
            <pc:sldMk cId="2654349321" sldId="2147477988"/>
            <ac:grpSpMk id="1196" creationId="{5FA01D54-5B94-A78C-3413-EACF1106BB4A}"/>
          </ac:grpSpMkLst>
        </pc:grpChg>
        <pc:grpChg chg="mod">
          <ac:chgData name="LYNAGH Connor" userId="6ba16826-a125-4f68-ab5d-84bd7aab3e00" providerId="ADAL" clId="{F0FE71C6-F0BC-4E6D-A81C-4E62D06AB176}" dt="2024-04-01T16:47:15.028" v="1296"/>
          <ac:grpSpMkLst>
            <pc:docMk/>
            <pc:sldMk cId="2654349321" sldId="2147477988"/>
            <ac:grpSpMk id="1242" creationId="{22021385-A572-7B7F-4A87-D587B1464AA2}"/>
          </ac:grpSpMkLst>
        </pc:grpChg>
        <pc:grpChg chg="mod">
          <ac:chgData name="LYNAGH Connor" userId="6ba16826-a125-4f68-ab5d-84bd7aab3e00" providerId="ADAL" clId="{F0FE71C6-F0BC-4E6D-A81C-4E62D06AB176}" dt="2024-04-01T16:47:15.028" v="1296"/>
          <ac:grpSpMkLst>
            <pc:docMk/>
            <pc:sldMk cId="2654349321" sldId="2147477988"/>
            <ac:grpSpMk id="1245" creationId="{9FEF8A9B-629E-5EDC-7291-4378B0051B5E}"/>
          </ac:grpSpMkLst>
        </pc:grpChg>
        <pc:grpChg chg="mod">
          <ac:chgData name="LYNAGH Connor" userId="6ba16826-a125-4f68-ab5d-84bd7aab3e00" providerId="ADAL" clId="{F0FE71C6-F0BC-4E6D-A81C-4E62D06AB176}" dt="2024-04-01T16:47:15.028" v="1296"/>
          <ac:grpSpMkLst>
            <pc:docMk/>
            <pc:sldMk cId="2654349321" sldId="2147477988"/>
            <ac:grpSpMk id="1246" creationId="{7405171E-0319-A555-BF00-77A51718327C}"/>
          </ac:grpSpMkLst>
        </pc:grpChg>
        <pc:grpChg chg="mod">
          <ac:chgData name="LYNAGH Connor" userId="6ba16826-a125-4f68-ab5d-84bd7aab3e00" providerId="ADAL" clId="{F0FE71C6-F0BC-4E6D-A81C-4E62D06AB176}" dt="2024-04-01T16:47:15.028" v="1296"/>
          <ac:grpSpMkLst>
            <pc:docMk/>
            <pc:sldMk cId="2654349321" sldId="2147477988"/>
            <ac:grpSpMk id="1248" creationId="{E32E25B9-F9A5-DBA8-D759-75564DB3C18C}"/>
          </ac:grpSpMkLst>
        </pc:grpChg>
        <pc:grpChg chg="mod">
          <ac:chgData name="LYNAGH Connor" userId="6ba16826-a125-4f68-ab5d-84bd7aab3e00" providerId="ADAL" clId="{F0FE71C6-F0BC-4E6D-A81C-4E62D06AB176}" dt="2024-04-01T16:47:15.028" v="1296"/>
          <ac:grpSpMkLst>
            <pc:docMk/>
            <pc:sldMk cId="2654349321" sldId="2147477988"/>
            <ac:grpSpMk id="1249" creationId="{4B083D8B-00BD-6813-E880-45682C4F7176}"/>
          </ac:grpSpMkLst>
        </pc:grpChg>
        <pc:grpChg chg="mod">
          <ac:chgData name="LYNAGH Connor" userId="6ba16826-a125-4f68-ab5d-84bd7aab3e00" providerId="ADAL" clId="{F0FE71C6-F0BC-4E6D-A81C-4E62D06AB176}" dt="2024-04-01T16:47:15.028" v="1296"/>
          <ac:grpSpMkLst>
            <pc:docMk/>
            <pc:sldMk cId="2654349321" sldId="2147477988"/>
            <ac:grpSpMk id="1250" creationId="{A88B939B-D7B1-90D3-148F-8E45AEDB5E16}"/>
          </ac:grpSpMkLst>
        </pc:grpChg>
        <pc:grpChg chg="mod">
          <ac:chgData name="LYNAGH Connor" userId="6ba16826-a125-4f68-ab5d-84bd7aab3e00" providerId="ADAL" clId="{F0FE71C6-F0BC-4E6D-A81C-4E62D06AB176}" dt="2024-04-01T16:47:15.028" v="1296"/>
          <ac:grpSpMkLst>
            <pc:docMk/>
            <pc:sldMk cId="2654349321" sldId="2147477988"/>
            <ac:grpSpMk id="1254" creationId="{C2BE9AF1-55B8-0103-D5EF-4E6D24CE8C42}"/>
          </ac:grpSpMkLst>
        </pc:grpChg>
        <pc:grpChg chg="mod">
          <ac:chgData name="LYNAGH Connor" userId="6ba16826-a125-4f68-ab5d-84bd7aab3e00" providerId="ADAL" clId="{F0FE71C6-F0BC-4E6D-A81C-4E62D06AB176}" dt="2024-04-01T16:47:15.028" v="1296"/>
          <ac:grpSpMkLst>
            <pc:docMk/>
            <pc:sldMk cId="2654349321" sldId="2147477988"/>
            <ac:grpSpMk id="1262" creationId="{EE27C694-8126-435F-7A0C-67E8429E994D}"/>
          </ac:grpSpMkLst>
        </pc:grpChg>
        <pc:grpChg chg="mod">
          <ac:chgData name="LYNAGH Connor" userId="6ba16826-a125-4f68-ab5d-84bd7aab3e00" providerId="ADAL" clId="{F0FE71C6-F0BC-4E6D-A81C-4E62D06AB176}" dt="2024-04-01T16:47:15.028" v="1296"/>
          <ac:grpSpMkLst>
            <pc:docMk/>
            <pc:sldMk cId="2654349321" sldId="2147477988"/>
            <ac:grpSpMk id="1270" creationId="{ED8893E9-55BB-93B4-3BAA-0CBFDC481544}"/>
          </ac:grpSpMkLst>
        </pc:grpChg>
        <pc:grpChg chg="mod">
          <ac:chgData name="LYNAGH Connor" userId="6ba16826-a125-4f68-ab5d-84bd7aab3e00" providerId="ADAL" clId="{F0FE71C6-F0BC-4E6D-A81C-4E62D06AB176}" dt="2024-04-01T16:47:15.028" v="1296"/>
          <ac:grpSpMkLst>
            <pc:docMk/>
            <pc:sldMk cId="2654349321" sldId="2147477988"/>
            <ac:grpSpMk id="1278" creationId="{05DCF4BD-C259-9BC6-A189-8C2E16C1812D}"/>
          </ac:grpSpMkLst>
        </pc:grpChg>
        <pc:grpChg chg="mod">
          <ac:chgData name="LYNAGH Connor" userId="6ba16826-a125-4f68-ab5d-84bd7aab3e00" providerId="ADAL" clId="{F0FE71C6-F0BC-4E6D-A81C-4E62D06AB176}" dt="2024-04-01T16:47:15.028" v="1296"/>
          <ac:grpSpMkLst>
            <pc:docMk/>
            <pc:sldMk cId="2654349321" sldId="2147477988"/>
            <ac:grpSpMk id="1286" creationId="{5CBD40EC-A6D7-E2A5-3492-C1E42E5F1D7D}"/>
          </ac:grpSpMkLst>
        </pc:grpChg>
        <pc:picChg chg="add del">
          <ac:chgData name="LYNAGH Connor" userId="6ba16826-a125-4f68-ab5d-84bd7aab3e00" providerId="ADAL" clId="{F0FE71C6-F0BC-4E6D-A81C-4E62D06AB176}" dt="2024-04-01T16:44:19.425" v="1241" actId="478"/>
          <ac:picMkLst>
            <pc:docMk/>
            <pc:sldMk cId="2654349321" sldId="2147477988"/>
            <ac:picMk id="3" creationId="{F36E642C-A8FC-45EF-9E71-32153EC3C97C}"/>
          </ac:picMkLst>
        </pc:picChg>
        <pc:picChg chg="mod">
          <ac:chgData name="LYNAGH Connor" userId="6ba16826-a125-4f68-ab5d-84bd7aab3e00" providerId="ADAL" clId="{F0FE71C6-F0BC-4E6D-A81C-4E62D06AB176}" dt="2024-04-01T16:47:15.028" v="1296"/>
          <ac:picMkLst>
            <pc:docMk/>
            <pc:sldMk cId="2654349321" sldId="2147477988"/>
            <ac:picMk id="30" creationId="{66B1C7D1-B55D-81BE-2AE8-73CD4C6D9DE7}"/>
          </ac:picMkLst>
        </pc:picChg>
        <pc:picChg chg="mod">
          <ac:chgData name="LYNAGH Connor" userId="6ba16826-a125-4f68-ab5d-84bd7aab3e00" providerId="ADAL" clId="{F0FE71C6-F0BC-4E6D-A81C-4E62D06AB176}" dt="2024-04-01T16:47:15.028" v="1296"/>
          <ac:picMkLst>
            <pc:docMk/>
            <pc:sldMk cId="2654349321" sldId="2147477988"/>
            <ac:picMk id="32" creationId="{EF8D6ABE-93FD-6CCE-D16C-D5DF81A9B994}"/>
          </ac:picMkLst>
        </pc:picChg>
        <pc:picChg chg="mod">
          <ac:chgData name="LYNAGH Connor" userId="6ba16826-a125-4f68-ab5d-84bd7aab3e00" providerId="ADAL" clId="{F0FE71C6-F0BC-4E6D-A81C-4E62D06AB176}" dt="2024-04-01T16:47:15.028" v="1296"/>
          <ac:picMkLst>
            <pc:docMk/>
            <pc:sldMk cId="2654349321" sldId="2147477988"/>
            <ac:picMk id="33" creationId="{9F096838-C748-C8CE-9A2B-7103DC98C23F}"/>
          </ac:picMkLst>
        </pc:picChg>
        <pc:picChg chg="mod">
          <ac:chgData name="LYNAGH Connor" userId="6ba16826-a125-4f68-ab5d-84bd7aab3e00" providerId="ADAL" clId="{F0FE71C6-F0BC-4E6D-A81C-4E62D06AB176}" dt="2024-04-01T16:47:15.028" v="1296"/>
          <ac:picMkLst>
            <pc:docMk/>
            <pc:sldMk cId="2654349321" sldId="2147477988"/>
            <ac:picMk id="34" creationId="{10350EBA-4C08-3A37-45DD-526EE2000DA3}"/>
          </ac:picMkLst>
        </pc:picChg>
        <pc:picChg chg="mod">
          <ac:chgData name="LYNAGH Connor" userId="6ba16826-a125-4f68-ab5d-84bd7aab3e00" providerId="ADAL" clId="{F0FE71C6-F0BC-4E6D-A81C-4E62D06AB176}" dt="2024-04-01T16:47:15.028" v="1296"/>
          <ac:picMkLst>
            <pc:docMk/>
            <pc:sldMk cId="2654349321" sldId="2147477988"/>
            <ac:picMk id="36" creationId="{987B4C7A-EC08-DED5-E037-E75CB1C0F04F}"/>
          </ac:picMkLst>
        </pc:picChg>
        <pc:picChg chg="mod">
          <ac:chgData name="LYNAGH Connor" userId="6ba16826-a125-4f68-ab5d-84bd7aab3e00" providerId="ADAL" clId="{F0FE71C6-F0BC-4E6D-A81C-4E62D06AB176}" dt="2024-04-01T16:47:15.028" v="1296"/>
          <ac:picMkLst>
            <pc:docMk/>
            <pc:sldMk cId="2654349321" sldId="2147477988"/>
            <ac:picMk id="37" creationId="{77898AB5-7EA5-755F-F076-3E5ABDAB7EB0}"/>
          </ac:picMkLst>
        </pc:picChg>
        <pc:picChg chg="mod">
          <ac:chgData name="LYNAGH Connor" userId="6ba16826-a125-4f68-ab5d-84bd7aab3e00" providerId="ADAL" clId="{F0FE71C6-F0BC-4E6D-A81C-4E62D06AB176}" dt="2024-04-01T16:47:15.028" v="1296"/>
          <ac:picMkLst>
            <pc:docMk/>
            <pc:sldMk cId="2654349321" sldId="2147477988"/>
            <ac:picMk id="39" creationId="{C4160689-7796-82EE-B5A9-EEB007C5738E}"/>
          </ac:picMkLst>
        </pc:picChg>
        <pc:picChg chg="mod">
          <ac:chgData name="LYNAGH Connor" userId="6ba16826-a125-4f68-ab5d-84bd7aab3e00" providerId="ADAL" clId="{F0FE71C6-F0BC-4E6D-A81C-4E62D06AB176}" dt="2024-04-01T16:47:15.028" v="1296"/>
          <ac:picMkLst>
            <pc:docMk/>
            <pc:sldMk cId="2654349321" sldId="2147477988"/>
            <ac:picMk id="60" creationId="{A9C7FBF0-AC0B-140C-9898-E6037CBF0EE2}"/>
          </ac:picMkLst>
        </pc:picChg>
        <pc:picChg chg="mod">
          <ac:chgData name="LYNAGH Connor" userId="6ba16826-a125-4f68-ab5d-84bd7aab3e00" providerId="ADAL" clId="{F0FE71C6-F0BC-4E6D-A81C-4E62D06AB176}" dt="2024-04-01T16:47:15.028" v="1296"/>
          <ac:picMkLst>
            <pc:docMk/>
            <pc:sldMk cId="2654349321" sldId="2147477988"/>
            <ac:picMk id="63" creationId="{4DB433DE-A863-F1AD-BE62-642B6C8A4AE0}"/>
          </ac:picMkLst>
        </pc:picChg>
        <pc:picChg chg="mod">
          <ac:chgData name="LYNAGH Connor" userId="6ba16826-a125-4f68-ab5d-84bd7aab3e00" providerId="ADAL" clId="{F0FE71C6-F0BC-4E6D-A81C-4E62D06AB176}" dt="2024-04-01T16:47:15.028" v="1296"/>
          <ac:picMkLst>
            <pc:docMk/>
            <pc:sldMk cId="2654349321" sldId="2147477988"/>
            <ac:picMk id="64" creationId="{5EB6E289-85B2-7F55-BFD5-A08C3FCF9B04}"/>
          </ac:picMkLst>
        </pc:picChg>
        <pc:picChg chg="mod">
          <ac:chgData name="LYNAGH Connor" userId="6ba16826-a125-4f68-ab5d-84bd7aab3e00" providerId="ADAL" clId="{F0FE71C6-F0BC-4E6D-A81C-4E62D06AB176}" dt="2024-04-01T16:47:15.028" v="1296"/>
          <ac:picMkLst>
            <pc:docMk/>
            <pc:sldMk cId="2654349321" sldId="2147477988"/>
            <ac:picMk id="65" creationId="{155C3073-B1B1-4F11-3951-5C8DF4DE2CFA}"/>
          </ac:picMkLst>
        </pc:picChg>
        <pc:picChg chg="mod">
          <ac:chgData name="LYNAGH Connor" userId="6ba16826-a125-4f68-ab5d-84bd7aab3e00" providerId="ADAL" clId="{F0FE71C6-F0BC-4E6D-A81C-4E62D06AB176}" dt="2024-04-01T16:47:15.028" v="1296"/>
          <ac:picMkLst>
            <pc:docMk/>
            <pc:sldMk cId="2654349321" sldId="2147477988"/>
            <ac:picMk id="66" creationId="{5D6AD557-E8A0-1FFE-1932-C31DED301D42}"/>
          </ac:picMkLst>
        </pc:picChg>
        <pc:picChg chg="mod">
          <ac:chgData name="LYNAGH Connor" userId="6ba16826-a125-4f68-ab5d-84bd7aab3e00" providerId="ADAL" clId="{F0FE71C6-F0BC-4E6D-A81C-4E62D06AB176}" dt="2024-04-01T16:47:15.028" v="1296"/>
          <ac:picMkLst>
            <pc:docMk/>
            <pc:sldMk cId="2654349321" sldId="2147477988"/>
            <ac:picMk id="74" creationId="{EE1981A6-95A7-C807-6D46-4012E1F62423}"/>
          </ac:picMkLst>
        </pc:picChg>
        <pc:picChg chg="mod">
          <ac:chgData name="LYNAGH Connor" userId="6ba16826-a125-4f68-ab5d-84bd7aab3e00" providerId="ADAL" clId="{F0FE71C6-F0BC-4E6D-A81C-4E62D06AB176}" dt="2024-04-01T16:47:15.028" v="1296"/>
          <ac:picMkLst>
            <pc:docMk/>
            <pc:sldMk cId="2654349321" sldId="2147477988"/>
            <ac:picMk id="84" creationId="{99DF6650-5C33-303C-179F-828368CEC12A}"/>
          </ac:picMkLst>
        </pc:picChg>
        <pc:picChg chg="add del">
          <ac:chgData name="LYNAGH Connor" userId="6ba16826-a125-4f68-ab5d-84bd7aab3e00" providerId="ADAL" clId="{F0FE71C6-F0BC-4E6D-A81C-4E62D06AB176}" dt="2024-04-01T16:44:19.425" v="1241" actId="478"/>
          <ac:picMkLst>
            <pc:docMk/>
            <pc:sldMk cId="2654349321" sldId="2147477988"/>
            <ac:picMk id="808" creationId="{D91D3003-5249-BD1C-4438-A64DB7C126F8}"/>
          </ac:picMkLst>
        </pc:picChg>
        <pc:picChg chg="add del">
          <ac:chgData name="LYNAGH Connor" userId="6ba16826-a125-4f68-ab5d-84bd7aab3e00" providerId="ADAL" clId="{F0FE71C6-F0BC-4E6D-A81C-4E62D06AB176}" dt="2024-04-01T16:44:16.522" v="1240" actId="478"/>
          <ac:picMkLst>
            <pc:docMk/>
            <pc:sldMk cId="2654349321" sldId="2147477988"/>
            <ac:picMk id="814" creationId="{2B8A318A-D1CB-0D8B-1D41-10886EB2E475}"/>
          </ac:picMkLst>
        </pc:picChg>
        <pc:picChg chg="add del">
          <ac:chgData name="LYNAGH Connor" userId="6ba16826-a125-4f68-ab5d-84bd7aab3e00" providerId="ADAL" clId="{F0FE71C6-F0BC-4E6D-A81C-4E62D06AB176}" dt="2024-04-01T16:44:16.522" v="1240" actId="478"/>
          <ac:picMkLst>
            <pc:docMk/>
            <pc:sldMk cId="2654349321" sldId="2147477988"/>
            <ac:picMk id="816" creationId="{17C38FB3-E5D8-5F32-02EE-4D1E2057E7D1}"/>
          </ac:picMkLst>
        </pc:picChg>
        <pc:picChg chg="add del">
          <ac:chgData name="LYNAGH Connor" userId="6ba16826-a125-4f68-ab5d-84bd7aab3e00" providerId="ADAL" clId="{F0FE71C6-F0BC-4E6D-A81C-4E62D06AB176}" dt="2024-04-01T16:44:19.425" v="1241" actId="478"/>
          <ac:picMkLst>
            <pc:docMk/>
            <pc:sldMk cId="2654349321" sldId="2147477988"/>
            <ac:picMk id="822" creationId="{725060B2-5E75-BC90-C0F7-C6A12B8616BE}"/>
          </ac:picMkLst>
        </pc:picChg>
        <pc:picChg chg="add del">
          <ac:chgData name="LYNAGH Connor" userId="6ba16826-a125-4f68-ab5d-84bd7aab3e00" providerId="ADAL" clId="{F0FE71C6-F0BC-4E6D-A81C-4E62D06AB176}" dt="2024-04-01T16:44:16.522" v="1240" actId="478"/>
          <ac:picMkLst>
            <pc:docMk/>
            <pc:sldMk cId="2654349321" sldId="2147477988"/>
            <ac:picMk id="1034" creationId="{653B3033-A8A1-D983-78ED-4C45488942D2}"/>
          </ac:picMkLst>
        </pc:picChg>
        <pc:picChg chg="mod">
          <ac:chgData name="LYNAGH Connor" userId="6ba16826-a125-4f68-ab5d-84bd7aab3e00" providerId="ADAL" clId="{F0FE71C6-F0BC-4E6D-A81C-4E62D06AB176}" dt="2024-04-01T16:47:15.028" v="1296"/>
          <ac:picMkLst>
            <pc:docMk/>
            <pc:sldMk cId="2654349321" sldId="2147477988"/>
            <ac:picMk id="1190" creationId="{03275DEC-0934-9F79-2E2F-AE4C7E9D2A99}"/>
          </ac:picMkLst>
        </pc:picChg>
        <pc:picChg chg="del mod">
          <ac:chgData name="LYNAGH Connor" userId="6ba16826-a125-4f68-ab5d-84bd7aab3e00" providerId="ADAL" clId="{F0FE71C6-F0BC-4E6D-A81C-4E62D06AB176}" dt="2024-04-01T16:47:51.239" v="1306" actId="478"/>
          <ac:picMkLst>
            <pc:docMk/>
            <pc:sldMk cId="2654349321" sldId="2147477988"/>
            <ac:picMk id="1298" creationId="{A4EBBDDC-49E7-A050-DE5C-A359BC835B69}"/>
          </ac:picMkLst>
        </pc:picChg>
        <pc:picChg chg="add mod">
          <ac:chgData name="LYNAGH Connor" userId="6ba16826-a125-4f68-ab5d-84bd7aab3e00" providerId="ADAL" clId="{F0FE71C6-F0BC-4E6D-A81C-4E62D06AB176}" dt="2024-04-01T17:11:41.544" v="1512" actId="554"/>
          <ac:picMkLst>
            <pc:docMk/>
            <pc:sldMk cId="2654349321" sldId="2147477988"/>
            <ac:picMk id="1299" creationId="{C243E8C1-ECC5-98F7-D237-4A8C71DE6626}"/>
          </ac:picMkLst>
        </pc:picChg>
        <pc:picChg chg="add del mod modCrop">
          <ac:chgData name="LYNAGH Connor" userId="6ba16826-a125-4f68-ab5d-84bd7aab3e00" providerId="ADAL" clId="{F0FE71C6-F0BC-4E6D-A81C-4E62D06AB176}" dt="2024-04-01T16:51:59.249" v="1371" actId="478"/>
          <ac:picMkLst>
            <pc:docMk/>
            <pc:sldMk cId="2654349321" sldId="2147477988"/>
            <ac:picMk id="1300" creationId="{A35417C8-4BF5-4ACA-4CDB-5F57C1A5CD79}"/>
          </ac:picMkLst>
        </pc:picChg>
        <pc:picChg chg="add mod">
          <ac:chgData name="LYNAGH Connor" userId="6ba16826-a125-4f68-ab5d-84bd7aab3e00" providerId="ADAL" clId="{F0FE71C6-F0BC-4E6D-A81C-4E62D06AB176}" dt="2024-04-01T17:11:41.544" v="1512" actId="554"/>
          <ac:picMkLst>
            <pc:docMk/>
            <pc:sldMk cId="2654349321" sldId="2147477988"/>
            <ac:picMk id="1303" creationId="{03576B31-38B9-F128-3FAA-C43460EB7044}"/>
          </ac:picMkLst>
        </pc:picChg>
        <pc:picChg chg="add del mod">
          <ac:chgData name="LYNAGH Connor" userId="6ba16826-a125-4f68-ab5d-84bd7aab3e00" providerId="ADAL" clId="{F0FE71C6-F0BC-4E6D-A81C-4E62D06AB176}" dt="2024-04-01T17:08:44.314" v="1497" actId="478"/>
          <ac:picMkLst>
            <pc:docMk/>
            <pc:sldMk cId="2654349321" sldId="2147477988"/>
            <ac:picMk id="1305" creationId="{724F919B-0B87-7E0D-D3FE-93AFC34A04E4}"/>
          </ac:picMkLst>
        </pc:picChg>
        <pc:picChg chg="add mod">
          <ac:chgData name="LYNAGH Connor" userId="6ba16826-a125-4f68-ab5d-84bd7aab3e00" providerId="ADAL" clId="{F0FE71C6-F0BC-4E6D-A81C-4E62D06AB176}" dt="2024-04-01T18:25:01.463" v="2171" actId="1076"/>
          <ac:picMkLst>
            <pc:docMk/>
            <pc:sldMk cId="2654349321" sldId="2147477988"/>
            <ac:picMk id="1306" creationId="{400E1835-8250-3C87-2BFD-4EF0E7DC7E7F}"/>
          </ac:picMkLst>
        </pc:picChg>
        <pc:picChg chg="add del mod">
          <ac:chgData name="LYNAGH Connor" userId="6ba16826-a125-4f68-ab5d-84bd7aab3e00" providerId="ADAL" clId="{F0FE71C6-F0BC-4E6D-A81C-4E62D06AB176}" dt="2024-04-01T17:13:31.741" v="1534" actId="478"/>
          <ac:picMkLst>
            <pc:docMk/>
            <pc:sldMk cId="2654349321" sldId="2147477988"/>
            <ac:picMk id="1308" creationId="{A9724700-ED10-1D6E-7787-256293AC440D}"/>
          </ac:picMkLst>
        </pc:picChg>
        <pc:picChg chg="add del mod">
          <ac:chgData name="LYNAGH Connor" userId="6ba16826-a125-4f68-ab5d-84bd7aab3e00" providerId="ADAL" clId="{F0FE71C6-F0BC-4E6D-A81C-4E62D06AB176}" dt="2024-04-01T17:13:31.741" v="1534" actId="478"/>
          <ac:picMkLst>
            <pc:docMk/>
            <pc:sldMk cId="2654349321" sldId="2147477988"/>
            <ac:picMk id="1309" creationId="{BA1E1A54-4CF9-DA41-4B07-7D36E1EB25FD}"/>
          </ac:picMkLst>
        </pc:picChg>
        <pc:picChg chg="add del mod">
          <ac:chgData name="LYNAGH Connor" userId="6ba16826-a125-4f68-ab5d-84bd7aab3e00" providerId="ADAL" clId="{F0FE71C6-F0BC-4E6D-A81C-4E62D06AB176}" dt="2024-04-01T17:15:07.086" v="1546" actId="478"/>
          <ac:picMkLst>
            <pc:docMk/>
            <pc:sldMk cId="2654349321" sldId="2147477988"/>
            <ac:picMk id="1310" creationId="{F07BD12F-4430-747F-FEA5-3F3E9A92F0E0}"/>
          </ac:picMkLst>
        </pc:picChg>
        <pc:picChg chg="add del mod">
          <ac:chgData name="LYNAGH Connor" userId="6ba16826-a125-4f68-ab5d-84bd7aab3e00" providerId="ADAL" clId="{F0FE71C6-F0BC-4E6D-A81C-4E62D06AB176}" dt="2024-04-01T17:15:07.086" v="1546" actId="478"/>
          <ac:picMkLst>
            <pc:docMk/>
            <pc:sldMk cId="2654349321" sldId="2147477988"/>
            <ac:picMk id="1311" creationId="{135F4F8C-B1A8-AC28-CD46-A1D32BCDC4CF}"/>
          </ac:picMkLst>
        </pc:picChg>
        <pc:picChg chg="add del mod">
          <ac:chgData name="LYNAGH Connor" userId="6ba16826-a125-4f68-ab5d-84bd7aab3e00" providerId="ADAL" clId="{F0FE71C6-F0BC-4E6D-A81C-4E62D06AB176}" dt="2024-04-01T17:15:07.086" v="1546" actId="478"/>
          <ac:picMkLst>
            <pc:docMk/>
            <pc:sldMk cId="2654349321" sldId="2147477988"/>
            <ac:picMk id="1312" creationId="{EDD3F126-CA9B-991D-B439-5E663E5A8DE8}"/>
          </ac:picMkLst>
        </pc:picChg>
        <pc:picChg chg="add del mod">
          <ac:chgData name="LYNAGH Connor" userId="6ba16826-a125-4f68-ab5d-84bd7aab3e00" providerId="ADAL" clId="{F0FE71C6-F0BC-4E6D-A81C-4E62D06AB176}" dt="2024-04-01T17:17:04.730" v="1554" actId="478"/>
          <ac:picMkLst>
            <pc:docMk/>
            <pc:sldMk cId="2654349321" sldId="2147477988"/>
            <ac:picMk id="1313" creationId="{F6A36E12-56FB-E4E5-FE67-0B52476499A7}"/>
          </ac:picMkLst>
        </pc:picChg>
        <pc:picChg chg="add del mod">
          <ac:chgData name="LYNAGH Connor" userId="6ba16826-a125-4f68-ab5d-84bd7aab3e00" providerId="ADAL" clId="{F0FE71C6-F0BC-4E6D-A81C-4E62D06AB176}" dt="2024-04-01T18:24:07.522" v="2143" actId="478"/>
          <ac:picMkLst>
            <pc:docMk/>
            <pc:sldMk cId="2654349321" sldId="2147477988"/>
            <ac:picMk id="1316" creationId="{A9994D25-2E3C-1B98-131E-C6422CF2587B}"/>
          </ac:picMkLst>
        </pc:picChg>
        <pc:cxnChg chg="mod">
          <ac:chgData name="LYNAGH Connor" userId="6ba16826-a125-4f68-ab5d-84bd7aab3e00" providerId="ADAL" clId="{F0FE71C6-F0BC-4E6D-A81C-4E62D06AB176}" dt="2024-04-01T16:47:15.028" v="1296"/>
          <ac:cxnSpMkLst>
            <pc:docMk/>
            <pc:sldMk cId="2654349321" sldId="2147477988"/>
            <ac:cxnSpMk id="75" creationId="{84E1E838-A8E2-2A9A-9D46-E1FAC93E5E8D}"/>
          </ac:cxnSpMkLst>
        </pc:cxnChg>
        <pc:cxnChg chg="mod">
          <ac:chgData name="LYNAGH Connor" userId="6ba16826-a125-4f68-ab5d-84bd7aab3e00" providerId="ADAL" clId="{F0FE71C6-F0BC-4E6D-A81C-4E62D06AB176}" dt="2024-04-01T16:47:15.028" v="1296"/>
          <ac:cxnSpMkLst>
            <pc:docMk/>
            <pc:sldMk cId="2654349321" sldId="2147477988"/>
            <ac:cxnSpMk id="76" creationId="{9C6EC0CB-3B50-D8C8-C73A-24872A918453}"/>
          </ac:cxnSpMkLst>
        </pc:cxnChg>
        <pc:cxnChg chg="mod">
          <ac:chgData name="LYNAGH Connor" userId="6ba16826-a125-4f68-ab5d-84bd7aab3e00" providerId="ADAL" clId="{F0FE71C6-F0BC-4E6D-A81C-4E62D06AB176}" dt="2024-04-01T16:47:15.028" v="1296"/>
          <ac:cxnSpMkLst>
            <pc:docMk/>
            <pc:sldMk cId="2654349321" sldId="2147477988"/>
            <ac:cxnSpMk id="77" creationId="{3CAD4194-C742-7F8E-D352-42676CB23498}"/>
          </ac:cxnSpMkLst>
        </pc:cxnChg>
      </pc:sldChg>
      <pc:sldChg chg="addSp delSp modSp add mod modClrScheme chgLayout">
        <pc:chgData name="LYNAGH Connor" userId="6ba16826-a125-4f68-ab5d-84bd7aab3e00" providerId="ADAL" clId="{F0FE71C6-F0BC-4E6D-A81C-4E62D06AB176}" dt="2024-04-07T14:55:03.182" v="4010" actId="113"/>
        <pc:sldMkLst>
          <pc:docMk/>
          <pc:sldMk cId="1101272439" sldId="2147477989"/>
        </pc:sldMkLst>
        <pc:spChg chg="mod ord">
          <ac:chgData name="LYNAGH Connor" userId="6ba16826-a125-4f68-ab5d-84bd7aab3e00" providerId="ADAL" clId="{F0FE71C6-F0BC-4E6D-A81C-4E62D06AB176}" dt="2024-04-04T12:14:11.507" v="3136" actId="700"/>
          <ac:spMkLst>
            <pc:docMk/>
            <pc:sldMk cId="1101272439" sldId="2147477989"/>
            <ac:spMk id="2" creationId="{60244801-1E8B-EE2E-AA2F-56B67D2EBACF}"/>
          </ac:spMkLst>
        </pc:spChg>
        <pc:spChg chg="add mod ord">
          <ac:chgData name="LYNAGH Connor" userId="6ba16826-a125-4f68-ab5d-84bd7aab3e00" providerId="ADAL" clId="{F0FE71C6-F0BC-4E6D-A81C-4E62D06AB176}" dt="2024-04-05T12:58:11.320" v="3747" actId="1076"/>
          <ac:spMkLst>
            <pc:docMk/>
            <pc:sldMk cId="1101272439" sldId="2147477989"/>
            <ac:spMk id="3" creationId="{BA9C7246-2983-161D-8C8F-FF021F4EB0B3}"/>
          </ac:spMkLst>
        </pc:spChg>
        <pc:spChg chg="mod">
          <ac:chgData name="LYNAGH Connor" userId="6ba16826-a125-4f68-ab5d-84bd7aab3e00" providerId="ADAL" clId="{F0FE71C6-F0BC-4E6D-A81C-4E62D06AB176}" dt="2024-04-06T10:10:04.073" v="3867" actId="20577"/>
          <ac:spMkLst>
            <pc:docMk/>
            <pc:sldMk cId="1101272439" sldId="2147477989"/>
            <ac:spMk id="5" creationId="{74C869F4-FC85-4118-6FEE-92BEC1131610}"/>
          </ac:spMkLst>
        </pc:spChg>
        <pc:spChg chg="add del mod">
          <ac:chgData name="LYNAGH Connor" userId="6ba16826-a125-4f68-ab5d-84bd7aab3e00" providerId="ADAL" clId="{F0FE71C6-F0BC-4E6D-A81C-4E62D06AB176}" dt="2024-04-06T10:09:32.938" v="3862" actId="478"/>
          <ac:spMkLst>
            <pc:docMk/>
            <pc:sldMk cId="1101272439" sldId="2147477989"/>
            <ac:spMk id="6" creationId="{01B8EE52-C4D7-7DB4-9B66-4D56AE2B464A}"/>
          </ac:spMkLst>
        </pc:spChg>
        <pc:spChg chg="mod topLvl">
          <ac:chgData name="LYNAGH Connor" userId="6ba16826-a125-4f68-ab5d-84bd7aab3e00" providerId="ADAL" clId="{F0FE71C6-F0BC-4E6D-A81C-4E62D06AB176}" dt="2024-04-06T10:12:45.695" v="3938" actId="12789"/>
          <ac:spMkLst>
            <pc:docMk/>
            <pc:sldMk cId="1101272439" sldId="2147477989"/>
            <ac:spMk id="13" creationId="{238CBA62-0914-4CC3-8D58-A307296658E0}"/>
          </ac:spMkLst>
        </pc:spChg>
        <pc:spChg chg="mod topLvl">
          <ac:chgData name="LYNAGH Connor" userId="6ba16826-a125-4f68-ab5d-84bd7aab3e00" providerId="ADAL" clId="{F0FE71C6-F0BC-4E6D-A81C-4E62D06AB176}" dt="2024-04-06T10:12:45.695" v="3938" actId="12789"/>
          <ac:spMkLst>
            <pc:docMk/>
            <pc:sldMk cId="1101272439" sldId="2147477989"/>
            <ac:spMk id="14" creationId="{AEB00F08-FAD3-BFDE-AF0F-D8B72A710495}"/>
          </ac:spMkLst>
        </pc:spChg>
        <pc:spChg chg="mod topLvl">
          <ac:chgData name="LYNAGH Connor" userId="6ba16826-a125-4f68-ab5d-84bd7aab3e00" providerId="ADAL" clId="{F0FE71C6-F0BC-4E6D-A81C-4E62D06AB176}" dt="2024-04-06T10:12:48.974" v="3939" actId="12789"/>
          <ac:spMkLst>
            <pc:docMk/>
            <pc:sldMk cId="1101272439" sldId="2147477989"/>
            <ac:spMk id="15" creationId="{C9DDCD18-34C2-2F3D-B811-4CE2980BC5A0}"/>
          </ac:spMkLst>
        </pc:spChg>
        <pc:spChg chg="mod topLvl">
          <ac:chgData name="LYNAGH Connor" userId="6ba16826-a125-4f68-ab5d-84bd7aab3e00" providerId="ADAL" clId="{F0FE71C6-F0BC-4E6D-A81C-4E62D06AB176}" dt="2024-04-06T10:12:48.974" v="3939" actId="12789"/>
          <ac:spMkLst>
            <pc:docMk/>
            <pc:sldMk cId="1101272439" sldId="2147477989"/>
            <ac:spMk id="16" creationId="{672BBCBA-99FC-7D9E-F350-662A060106AC}"/>
          </ac:spMkLst>
        </pc:spChg>
        <pc:spChg chg="add mod">
          <ac:chgData name="LYNAGH Connor" userId="6ba16826-a125-4f68-ab5d-84bd7aab3e00" providerId="ADAL" clId="{F0FE71C6-F0BC-4E6D-A81C-4E62D06AB176}" dt="2024-04-04T09:30:07.838" v="2357" actId="571"/>
          <ac:spMkLst>
            <pc:docMk/>
            <pc:sldMk cId="1101272439" sldId="2147477989"/>
            <ac:spMk id="17" creationId="{22A38BBC-5225-1F9F-B2BA-656B13D9EC42}"/>
          </ac:spMkLst>
        </pc:spChg>
        <pc:spChg chg="mod topLvl">
          <ac:chgData name="LYNAGH Connor" userId="6ba16826-a125-4f68-ab5d-84bd7aab3e00" providerId="ADAL" clId="{F0FE71C6-F0BC-4E6D-A81C-4E62D06AB176}" dt="2024-04-06T10:12:35.902" v="3933" actId="1076"/>
          <ac:spMkLst>
            <pc:docMk/>
            <pc:sldMk cId="1101272439" sldId="2147477989"/>
            <ac:spMk id="18" creationId="{D4E85861-4F64-AC72-AABE-E9D5DE7E3C07}"/>
          </ac:spMkLst>
        </pc:spChg>
        <pc:spChg chg="mod topLvl">
          <ac:chgData name="LYNAGH Connor" userId="6ba16826-a125-4f68-ab5d-84bd7aab3e00" providerId="ADAL" clId="{F0FE71C6-F0BC-4E6D-A81C-4E62D06AB176}" dt="2024-04-06T10:12:50.622" v="3941" actId="1076"/>
          <ac:spMkLst>
            <pc:docMk/>
            <pc:sldMk cId="1101272439" sldId="2147477989"/>
            <ac:spMk id="19" creationId="{8968039C-4035-DD82-E060-4441026F7032}"/>
          </ac:spMkLst>
        </pc:spChg>
        <pc:spChg chg="add mod">
          <ac:chgData name="LYNAGH Connor" userId="6ba16826-a125-4f68-ab5d-84bd7aab3e00" providerId="ADAL" clId="{F0FE71C6-F0BC-4E6D-A81C-4E62D06AB176}" dt="2024-04-04T09:30:07.838" v="2357" actId="571"/>
          <ac:spMkLst>
            <pc:docMk/>
            <pc:sldMk cId="1101272439" sldId="2147477989"/>
            <ac:spMk id="20" creationId="{111B1433-3E72-61AE-9E26-F7AFE9219194}"/>
          </ac:spMkLst>
        </pc:spChg>
        <pc:spChg chg="add mod">
          <ac:chgData name="LYNAGH Connor" userId="6ba16826-a125-4f68-ab5d-84bd7aab3e00" providerId="ADAL" clId="{F0FE71C6-F0BC-4E6D-A81C-4E62D06AB176}" dt="2024-04-04T09:30:07.838" v="2357" actId="571"/>
          <ac:spMkLst>
            <pc:docMk/>
            <pc:sldMk cId="1101272439" sldId="2147477989"/>
            <ac:spMk id="21" creationId="{A767AFCA-1553-2685-98B9-61742F0F74ED}"/>
          </ac:spMkLst>
        </pc:spChg>
        <pc:spChg chg="add mod">
          <ac:chgData name="LYNAGH Connor" userId="6ba16826-a125-4f68-ab5d-84bd7aab3e00" providerId="ADAL" clId="{F0FE71C6-F0BC-4E6D-A81C-4E62D06AB176}" dt="2024-04-06T10:14:12.111" v="3950" actId="207"/>
          <ac:spMkLst>
            <pc:docMk/>
            <pc:sldMk cId="1101272439" sldId="2147477989"/>
            <ac:spMk id="21" creationId="{B8CAEB5B-A819-031F-F3AD-C037CA686DCC}"/>
          </ac:spMkLst>
        </pc:spChg>
        <pc:spChg chg="add mod">
          <ac:chgData name="LYNAGH Connor" userId="6ba16826-a125-4f68-ab5d-84bd7aab3e00" providerId="ADAL" clId="{F0FE71C6-F0BC-4E6D-A81C-4E62D06AB176}" dt="2024-04-07T14:55:03.182" v="4010" actId="113"/>
          <ac:spMkLst>
            <pc:docMk/>
            <pc:sldMk cId="1101272439" sldId="2147477989"/>
            <ac:spMk id="22" creationId="{45C1F674-25A7-EE11-9467-D1A17117D73E}"/>
          </ac:spMkLst>
        </pc:spChg>
        <pc:spChg chg="add mod">
          <ac:chgData name="LYNAGH Connor" userId="6ba16826-a125-4f68-ab5d-84bd7aab3e00" providerId="ADAL" clId="{F0FE71C6-F0BC-4E6D-A81C-4E62D06AB176}" dt="2024-04-05T12:58:23.876" v="3750" actId="113"/>
          <ac:spMkLst>
            <pc:docMk/>
            <pc:sldMk cId="1101272439" sldId="2147477989"/>
            <ac:spMk id="23" creationId="{00B6D42C-0F3A-1C9E-30DC-B4BF0F8818D1}"/>
          </ac:spMkLst>
        </pc:spChg>
        <pc:spChg chg="add mod">
          <ac:chgData name="LYNAGH Connor" userId="6ba16826-a125-4f68-ab5d-84bd7aab3e00" providerId="ADAL" clId="{F0FE71C6-F0BC-4E6D-A81C-4E62D06AB176}" dt="2024-04-06T10:09:40.410" v="3863" actId="13926"/>
          <ac:spMkLst>
            <pc:docMk/>
            <pc:sldMk cId="1101272439" sldId="2147477989"/>
            <ac:spMk id="24" creationId="{2D8B1A86-926E-5816-079C-19B7ABB228A4}"/>
          </ac:spMkLst>
        </pc:spChg>
        <pc:spChg chg="add mod">
          <ac:chgData name="LYNAGH Connor" userId="6ba16826-a125-4f68-ab5d-84bd7aab3e00" providerId="ADAL" clId="{F0FE71C6-F0BC-4E6D-A81C-4E62D06AB176}" dt="2024-04-06T10:09:15.716" v="3859" actId="1076"/>
          <ac:spMkLst>
            <pc:docMk/>
            <pc:sldMk cId="1101272439" sldId="2147477989"/>
            <ac:spMk id="25" creationId="{E672C2B7-23A3-220D-AF5F-78CFB21FC324}"/>
          </ac:spMkLst>
        </pc:spChg>
        <pc:spChg chg="del">
          <ac:chgData name="LYNAGH Connor" userId="6ba16826-a125-4f68-ab5d-84bd7aab3e00" providerId="ADAL" clId="{F0FE71C6-F0BC-4E6D-A81C-4E62D06AB176}" dt="2024-04-04T09:26:32.342" v="2299" actId="478"/>
          <ac:spMkLst>
            <pc:docMk/>
            <pc:sldMk cId="1101272439" sldId="2147477989"/>
            <ac:spMk id="99" creationId="{F516149B-2C71-4991-F806-749FC57F616B}"/>
          </ac:spMkLst>
        </pc:spChg>
        <pc:spChg chg="del">
          <ac:chgData name="LYNAGH Connor" userId="6ba16826-a125-4f68-ab5d-84bd7aab3e00" providerId="ADAL" clId="{F0FE71C6-F0BC-4E6D-A81C-4E62D06AB176}" dt="2024-04-04T09:26:35.729" v="2300" actId="478"/>
          <ac:spMkLst>
            <pc:docMk/>
            <pc:sldMk cId="1101272439" sldId="2147477989"/>
            <ac:spMk id="100" creationId="{02FEE2B2-24C9-CA1D-9FFE-33911AA724F8}"/>
          </ac:spMkLst>
        </pc:spChg>
        <pc:spChg chg="add mod">
          <ac:chgData name="LYNAGH Connor" userId="6ba16826-a125-4f68-ab5d-84bd7aab3e00" providerId="ADAL" clId="{F0FE71C6-F0BC-4E6D-A81C-4E62D06AB176}" dt="2024-04-04T09:41:33.108" v="2851" actId="571"/>
          <ac:spMkLst>
            <pc:docMk/>
            <pc:sldMk cId="1101272439" sldId="2147477989"/>
            <ac:spMk id="111" creationId="{C4CCD047-5C26-DD44-4A89-A4FA4685BE30}"/>
          </ac:spMkLst>
        </pc:spChg>
        <pc:spChg chg="add del mod">
          <ac:chgData name="LYNAGH Connor" userId="6ba16826-a125-4f68-ab5d-84bd7aab3e00" providerId="ADAL" clId="{F0FE71C6-F0BC-4E6D-A81C-4E62D06AB176}" dt="2024-04-04T12:14:26.851" v="3194" actId="478"/>
          <ac:spMkLst>
            <pc:docMk/>
            <pc:sldMk cId="1101272439" sldId="2147477989"/>
            <ac:spMk id="122" creationId="{4669ACCF-F8D0-A1AC-A7A1-7D9CFD32A6D1}"/>
          </ac:spMkLst>
        </pc:spChg>
        <pc:spChg chg="add mod">
          <ac:chgData name="LYNAGH Connor" userId="6ba16826-a125-4f68-ab5d-84bd7aab3e00" providerId="ADAL" clId="{F0FE71C6-F0BC-4E6D-A81C-4E62D06AB176}" dt="2024-04-04T09:44:17.459" v="3012" actId="571"/>
          <ac:spMkLst>
            <pc:docMk/>
            <pc:sldMk cId="1101272439" sldId="2147477989"/>
            <ac:spMk id="126" creationId="{9F5381D2-0019-CB9E-96C1-A7D8A8DF95AE}"/>
          </ac:spMkLst>
        </pc:spChg>
        <pc:spChg chg="add mod">
          <ac:chgData name="LYNAGH Connor" userId="6ba16826-a125-4f68-ab5d-84bd7aab3e00" providerId="ADAL" clId="{F0FE71C6-F0BC-4E6D-A81C-4E62D06AB176}" dt="2024-04-04T09:44:17.459" v="3012" actId="571"/>
          <ac:spMkLst>
            <pc:docMk/>
            <pc:sldMk cId="1101272439" sldId="2147477989"/>
            <ac:spMk id="127" creationId="{A8CCBBD9-7CBC-7C69-E7C8-EE1B9CBCF3B5}"/>
          </ac:spMkLst>
        </pc:spChg>
        <pc:spChg chg="del">
          <ac:chgData name="LYNAGH Connor" userId="6ba16826-a125-4f68-ab5d-84bd7aab3e00" providerId="ADAL" clId="{F0FE71C6-F0BC-4E6D-A81C-4E62D06AB176}" dt="2024-04-04T09:26:32.342" v="2299" actId="478"/>
          <ac:spMkLst>
            <pc:docMk/>
            <pc:sldMk cId="1101272439" sldId="2147477989"/>
            <ac:spMk id="1194" creationId="{5C42EDE4-7188-8446-AC59-606A7ECB93B6}"/>
          </ac:spMkLst>
        </pc:spChg>
        <pc:spChg chg="del">
          <ac:chgData name="LYNAGH Connor" userId="6ba16826-a125-4f68-ab5d-84bd7aab3e00" providerId="ADAL" clId="{F0FE71C6-F0BC-4E6D-A81C-4E62D06AB176}" dt="2024-04-04T09:26:32.342" v="2299" actId="478"/>
          <ac:spMkLst>
            <pc:docMk/>
            <pc:sldMk cId="1101272439" sldId="2147477989"/>
            <ac:spMk id="1195" creationId="{19A13108-C43F-6A43-9EAA-6A8849F014E6}"/>
          </ac:spMkLst>
        </pc:spChg>
        <pc:spChg chg="del">
          <ac:chgData name="LYNAGH Connor" userId="6ba16826-a125-4f68-ab5d-84bd7aab3e00" providerId="ADAL" clId="{F0FE71C6-F0BC-4E6D-A81C-4E62D06AB176}" dt="2024-04-04T09:26:32.342" v="2299" actId="478"/>
          <ac:spMkLst>
            <pc:docMk/>
            <pc:sldMk cId="1101272439" sldId="2147477989"/>
            <ac:spMk id="1196" creationId="{0F6E5763-FC6D-1CF6-E1FC-9A7C40D8133E}"/>
          </ac:spMkLst>
        </pc:spChg>
        <pc:spChg chg="del">
          <ac:chgData name="LYNAGH Connor" userId="6ba16826-a125-4f68-ab5d-84bd7aab3e00" providerId="ADAL" clId="{F0FE71C6-F0BC-4E6D-A81C-4E62D06AB176}" dt="2024-04-04T09:26:32.342" v="2299" actId="478"/>
          <ac:spMkLst>
            <pc:docMk/>
            <pc:sldMk cId="1101272439" sldId="2147477989"/>
            <ac:spMk id="1197" creationId="{5285ACF2-23C8-343D-64D8-600C2A225765}"/>
          </ac:spMkLst>
        </pc:spChg>
        <pc:spChg chg="del">
          <ac:chgData name="LYNAGH Connor" userId="6ba16826-a125-4f68-ab5d-84bd7aab3e00" providerId="ADAL" clId="{F0FE71C6-F0BC-4E6D-A81C-4E62D06AB176}" dt="2024-04-04T09:26:32.342" v="2299" actId="478"/>
          <ac:spMkLst>
            <pc:docMk/>
            <pc:sldMk cId="1101272439" sldId="2147477989"/>
            <ac:spMk id="1202" creationId="{8A8F2A6E-E09F-9FE4-D981-6BCCA3B2BC67}"/>
          </ac:spMkLst>
        </pc:spChg>
        <pc:spChg chg="del">
          <ac:chgData name="LYNAGH Connor" userId="6ba16826-a125-4f68-ab5d-84bd7aab3e00" providerId="ADAL" clId="{F0FE71C6-F0BC-4E6D-A81C-4E62D06AB176}" dt="2024-04-04T09:26:32.342" v="2299" actId="478"/>
          <ac:spMkLst>
            <pc:docMk/>
            <pc:sldMk cId="1101272439" sldId="2147477989"/>
            <ac:spMk id="1203" creationId="{6E25B8E6-B38F-F21C-2E51-85ADD635DBCF}"/>
          </ac:spMkLst>
        </pc:spChg>
        <pc:spChg chg="del">
          <ac:chgData name="LYNAGH Connor" userId="6ba16826-a125-4f68-ab5d-84bd7aab3e00" providerId="ADAL" clId="{F0FE71C6-F0BC-4E6D-A81C-4E62D06AB176}" dt="2024-04-04T09:26:32.342" v="2299" actId="478"/>
          <ac:spMkLst>
            <pc:docMk/>
            <pc:sldMk cId="1101272439" sldId="2147477989"/>
            <ac:spMk id="1204" creationId="{AB3BA738-CA29-5BD7-B651-44C184A34FC7}"/>
          </ac:spMkLst>
        </pc:spChg>
        <pc:spChg chg="del">
          <ac:chgData name="LYNAGH Connor" userId="6ba16826-a125-4f68-ab5d-84bd7aab3e00" providerId="ADAL" clId="{F0FE71C6-F0BC-4E6D-A81C-4E62D06AB176}" dt="2024-04-04T09:26:32.342" v="2299" actId="478"/>
          <ac:spMkLst>
            <pc:docMk/>
            <pc:sldMk cId="1101272439" sldId="2147477989"/>
            <ac:spMk id="1205" creationId="{C5458B44-BFD1-279E-45B5-919164620D4C}"/>
          </ac:spMkLst>
        </pc:spChg>
        <pc:spChg chg="del">
          <ac:chgData name="LYNAGH Connor" userId="6ba16826-a125-4f68-ab5d-84bd7aab3e00" providerId="ADAL" clId="{F0FE71C6-F0BC-4E6D-A81C-4E62D06AB176}" dt="2024-04-04T09:26:32.342" v="2299" actId="478"/>
          <ac:spMkLst>
            <pc:docMk/>
            <pc:sldMk cId="1101272439" sldId="2147477989"/>
            <ac:spMk id="1206" creationId="{D0135A99-E6BA-E2F5-787A-3D7564238678}"/>
          </ac:spMkLst>
        </pc:spChg>
        <pc:spChg chg="del">
          <ac:chgData name="LYNAGH Connor" userId="6ba16826-a125-4f68-ab5d-84bd7aab3e00" providerId="ADAL" clId="{F0FE71C6-F0BC-4E6D-A81C-4E62D06AB176}" dt="2024-04-04T09:26:32.342" v="2299" actId="478"/>
          <ac:spMkLst>
            <pc:docMk/>
            <pc:sldMk cId="1101272439" sldId="2147477989"/>
            <ac:spMk id="1207" creationId="{24DF4B1B-805E-EAB5-6866-E3987E02EC1B}"/>
          </ac:spMkLst>
        </pc:spChg>
        <pc:spChg chg="del">
          <ac:chgData name="LYNAGH Connor" userId="6ba16826-a125-4f68-ab5d-84bd7aab3e00" providerId="ADAL" clId="{F0FE71C6-F0BC-4E6D-A81C-4E62D06AB176}" dt="2024-04-04T09:26:32.342" v="2299" actId="478"/>
          <ac:spMkLst>
            <pc:docMk/>
            <pc:sldMk cId="1101272439" sldId="2147477989"/>
            <ac:spMk id="1209" creationId="{500B5063-7233-4EA6-8AC4-FEE9CFDA710B}"/>
          </ac:spMkLst>
        </pc:spChg>
        <pc:spChg chg="del">
          <ac:chgData name="LYNAGH Connor" userId="6ba16826-a125-4f68-ab5d-84bd7aab3e00" providerId="ADAL" clId="{F0FE71C6-F0BC-4E6D-A81C-4E62D06AB176}" dt="2024-04-04T09:26:32.342" v="2299" actId="478"/>
          <ac:spMkLst>
            <pc:docMk/>
            <pc:sldMk cId="1101272439" sldId="2147477989"/>
            <ac:spMk id="1210" creationId="{A5CCEF52-F38C-8C70-15FD-DFD8D60E4671}"/>
          </ac:spMkLst>
        </pc:spChg>
        <pc:spChg chg="del">
          <ac:chgData name="LYNAGH Connor" userId="6ba16826-a125-4f68-ab5d-84bd7aab3e00" providerId="ADAL" clId="{F0FE71C6-F0BC-4E6D-A81C-4E62D06AB176}" dt="2024-04-04T09:26:32.342" v="2299" actId="478"/>
          <ac:spMkLst>
            <pc:docMk/>
            <pc:sldMk cId="1101272439" sldId="2147477989"/>
            <ac:spMk id="1214" creationId="{640C0C31-6878-28ED-2731-0BB95DCBE57B}"/>
          </ac:spMkLst>
        </pc:spChg>
        <pc:spChg chg="mod topLvl">
          <ac:chgData name="LYNAGH Connor" userId="6ba16826-a125-4f68-ab5d-84bd7aab3e00" providerId="ADAL" clId="{F0FE71C6-F0BC-4E6D-A81C-4E62D06AB176}" dt="2024-04-04T09:53:26.209" v="3134" actId="207"/>
          <ac:spMkLst>
            <pc:docMk/>
            <pc:sldMk cId="1101272439" sldId="2147477989"/>
            <ac:spMk id="1216" creationId="{5C42EDE4-7188-8446-AC59-606A7ECB93B6}"/>
          </ac:spMkLst>
        </pc:spChg>
        <pc:spChg chg="mod topLvl">
          <ac:chgData name="LYNAGH Connor" userId="6ba16826-a125-4f68-ab5d-84bd7aab3e00" providerId="ADAL" clId="{F0FE71C6-F0BC-4E6D-A81C-4E62D06AB176}" dt="2024-04-04T09:37:59.159" v="2728" actId="1076"/>
          <ac:spMkLst>
            <pc:docMk/>
            <pc:sldMk cId="1101272439" sldId="2147477989"/>
            <ac:spMk id="1217" creationId="{0F6E5763-FC6D-1CF6-E1FC-9A7C40D8133E}"/>
          </ac:spMkLst>
        </pc:spChg>
        <pc:spChg chg="mod topLvl">
          <ac:chgData name="LYNAGH Connor" userId="6ba16826-a125-4f68-ab5d-84bd7aab3e00" providerId="ADAL" clId="{F0FE71C6-F0BC-4E6D-A81C-4E62D06AB176}" dt="2024-04-04T09:37:59.159" v="2728" actId="1076"/>
          <ac:spMkLst>
            <pc:docMk/>
            <pc:sldMk cId="1101272439" sldId="2147477989"/>
            <ac:spMk id="1218" creationId="{5285ACF2-23C8-343D-64D8-600C2A225765}"/>
          </ac:spMkLst>
        </pc:spChg>
        <pc:spChg chg="mod topLvl">
          <ac:chgData name="LYNAGH Connor" userId="6ba16826-a125-4f68-ab5d-84bd7aab3e00" providerId="ADAL" clId="{F0FE71C6-F0BC-4E6D-A81C-4E62D06AB176}" dt="2024-04-04T09:45:06.502" v="3030" actId="1076"/>
          <ac:spMkLst>
            <pc:docMk/>
            <pc:sldMk cId="1101272439" sldId="2147477989"/>
            <ac:spMk id="1226" creationId="{8A8F2A6E-E09F-9FE4-D981-6BCCA3B2BC67}"/>
          </ac:spMkLst>
        </pc:spChg>
        <pc:spChg chg="mod topLvl">
          <ac:chgData name="LYNAGH Connor" userId="6ba16826-a125-4f68-ab5d-84bd7aab3e00" providerId="ADAL" clId="{F0FE71C6-F0BC-4E6D-A81C-4E62D06AB176}" dt="2024-04-04T09:45:02.562" v="3029" actId="404"/>
          <ac:spMkLst>
            <pc:docMk/>
            <pc:sldMk cId="1101272439" sldId="2147477989"/>
            <ac:spMk id="1227" creationId="{6E25B8E6-B38F-F21C-2E51-85ADD635DBCF}"/>
          </ac:spMkLst>
        </pc:spChg>
        <pc:spChg chg="mod topLvl">
          <ac:chgData name="LYNAGH Connor" userId="6ba16826-a125-4f68-ab5d-84bd7aab3e00" providerId="ADAL" clId="{F0FE71C6-F0BC-4E6D-A81C-4E62D06AB176}" dt="2024-04-04T09:45:09.625" v="3031" actId="1076"/>
          <ac:spMkLst>
            <pc:docMk/>
            <pc:sldMk cId="1101272439" sldId="2147477989"/>
            <ac:spMk id="1228" creationId="{AB3BA738-CA29-5BD7-B651-44C184A34FC7}"/>
          </ac:spMkLst>
        </pc:spChg>
        <pc:spChg chg="mod topLvl">
          <ac:chgData name="LYNAGH Connor" userId="6ba16826-a125-4f68-ab5d-84bd7aab3e00" providerId="ADAL" clId="{F0FE71C6-F0BC-4E6D-A81C-4E62D06AB176}" dt="2024-04-04T09:37:59.159" v="2728" actId="1076"/>
          <ac:spMkLst>
            <pc:docMk/>
            <pc:sldMk cId="1101272439" sldId="2147477989"/>
            <ac:spMk id="1229" creationId="{C5458B44-BFD1-279E-45B5-919164620D4C}"/>
          </ac:spMkLst>
        </pc:spChg>
        <pc:spChg chg="mod topLvl">
          <ac:chgData name="LYNAGH Connor" userId="6ba16826-a125-4f68-ab5d-84bd7aab3e00" providerId="ADAL" clId="{F0FE71C6-F0BC-4E6D-A81C-4E62D06AB176}" dt="2024-04-04T09:37:59.159" v="2728" actId="1076"/>
          <ac:spMkLst>
            <pc:docMk/>
            <pc:sldMk cId="1101272439" sldId="2147477989"/>
            <ac:spMk id="1230" creationId="{640C0C31-6878-28ED-2731-0BB95DCBE57B}"/>
          </ac:spMkLst>
        </pc:spChg>
        <pc:spChg chg="mod topLvl">
          <ac:chgData name="LYNAGH Connor" userId="6ba16826-a125-4f68-ab5d-84bd7aab3e00" providerId="ADAL" clId="{F0FE71C6-F0BC-4E6D-A81C-4E62D06AB176}" dt="2024-04-04T09:37:59.159" v="2728" actId="1076"/>
          <ac:spMkLst>
            <pc:docMk/>
            <pc:sldMk cId="1101272439" sldId="2147477989"/>
            <ac:spMk id="1231" creationId="{D0135A99-E6BA-E2F5-787A-3D7564238678}"/>
          </ac:spMkLst>
        </pc:spChg>
        <pc:spChg chg="mod topLvl">
          <ac:chgData name="LYNAGH Connor" userId="6ba16826-a125-4f68-ab5d-84bd7aab3e00" providerId="ADAL" clId="{F0FE71C6-F0BC-4E6D-A81C-4E62D06AB176}" dt="2024-04-04T09:45:15.997" v="3034" actId="20577"/>
          <ac:spMkLst>
            <pc:docMk/>
            <pc:sldMk cId="1101272439" sldId="2147477989"/>
            <ac:spMk id="1232" creationId="{24DF4B1B-805E-EAB5-6866-E3987E02EC1B}"/>
          </ac:spMkLst>
        </pc:spChg>
        <pc:spChg chg="mod topLvl">
          <ac:chgData name="LYNAGH Connor" userId="6ba16826-a125-4f68-ab5d-84bd7aab3e00" providerId="ADAL" clId="{F0FE71C6-F0BC-4E6D-A81C-4E62D06AB176}" dt="2024-04-04T09:37:59.159" v="2728" actId="1076"/>
          <ac:spMkLst>
            <pc:docMk/>
            <pc:sldMk cId="1101272439" sldId="2147477989"/>
            <ac:spMk id="1234" creationId="{500B5063-7233-4EA6-8AC4-FEE9CFDA710B}"/>
          </ac:spMkLst>
        </pc:spChg>
        <pc:spChg chg="mod topLvl">
          <ac:chgData name="LYNAGH Connor" userId="6ba16826-a125-4f68-ab5d-84bd7aab3e00" providerId="ADAL" clId="{F0FE71C6-F0BC-4E6D-A81C-4E62D06AB176}" dt="2024-04-04T09:45:02.562" v="3029" actId="404"/>
          <ac:spMkLst>
            <pc:docMk/>
            <pc:sldMk cId="1101272439" sldId="2147477989"/>
            <ac:spMk id="1235" creationId="{A5CCEF52-F38C-8C70-15FD-DFD8D60E4671}"/>
          </ac:spMkLst>
        </pc:spChg>
        <pc:spChg chg="mod topLvl">
          <ac:chgData name="LYNAGH Connor" userId="6ba16826-a125-4f68-ab5d-84bd7aab3e00" providerId="ADAL" clId="{F0FE71C6-F0BC-4E6D-A81C-4E62D06AB176}" dt="2024-04-04T09:37:59.159" v="2728" actId="1076"/>
          <ac:spMkLst>
            <pc:docMk/>
            <pc:sldMk cId="1101272439" sldId="2147477989"/>
            <ac:spMk id="1236" creationId="{B7131868-9214-24BF-1465-A1B37CE71CBD}"/>
          </ac:spMkLst>
        </pc:spChg>
        <pc:spChg chg="add mod">
          <ac:chgData name="LYNAGH Connor" userId="6ba16826-a125-4f68-ab5d-84bd7aab3e00" providerId="ADAL" clId="{F0FE71C6-F0BC-4E6D-A81C-4E62D06AB176}" dt="2024-04-04T09:44:17.459" v="3012" actId="571"/>
          <ac:spMkLst>
            <pc:docMk/>
            <pc:sldMk cId="1101272439" sldId="2147477989"/>
            <ac:spMk id="1237" creationId="{86AD3DBF-55FF-5BA1-C2C7-A00613E4756C}"/>
          </ac:spMkLst>
        </pc:spChg>
        <pc:grpChg chg="add del mod">
          <ac:chgData name="LYNAGH Connor" userId="6ba16826-a125-4f68-ab5d-84bd7aab3e00" providerId="ADAL" clId="{F0FE71C6-F0BC-4E6D-A81C-4E62D06AB176}" dt="2024-04-06T10:10:47.986" v="3892" actId="165"/>
          <ac:grpSpMkLst>
            <pc:docMk/>
            <pc:sldMk cId="1101272439" sldId="2147477989"/>
            <ac:grpSpMk id="9" creationId="{7C05F287-F9B6-483C-FEA1-C787785611A9}"/>
          </ac:grpSpMkLst>
        </pc:grpChg>
        <pc:grpChg chg="add del mod">
          <ac:chgData name="LYNAGH Connor" userId="6ba16826-a125-4f68-ab5d-84bd7aab3e00" providerId="ADAL" clId="{F0FE71C6-F0BC-4E6D-A81C-4E62D06AB176}" dt="2024-04-04T09:33:07.262" v="2370" actId="165"/>
          <ac:grpSpMkLst>
            <pc:docMk/>
            <pc:sldMk cId="1101272439" sldId="2147477989"/>
            <ac:grpSpMk id="12" creationId="{12AC4D43-52FD-4D07-92BF-ED4597402B76}"/>
          </ac:grpSpMkLst>
        </pc:grpChg>
        <pc:grpChg chg="del mod">
          <ac:chgData name="LYNAGH Connor" userId="6ba16826-a125-4f68-ab5d-84bd7aab3e00" providerId="ADAL" clId="{F0FE71C6-F0BC-4E6D-A81C-4E62D06AB176}" dt="2024-04-04T09:28:38.010" v="2328" actId="165"/>
          <ac:grpSpMkLst>
            <pc:docMk/>
            <pc:sldMk cId="1101272439" sldId="2147477989"/>
            <ac:grpSpMk id="26" creationId="{11155BCC-4608-9615-768E-A77194FC6610}"/>
          </ac:grpSpMkLst>
        </pc:grpChg>
        <pc:grpChg chg="del mod">
          <ac:chgData name="LYNAGH Connor" userId="6ba16826-a125-4f68-ab5d-84bd7aab3e00" providerId="ADAL" clId="{F0FE71C6-F0BC-4E6D-A81C-4E62D06AB176}" dt="2024-04-04T09:28:38.010" v="2328" actId="165"/>
          <ac:grpSpMkLst>
            <pc:docMk/>
            <pc:sldMk cId="1101272439" sldId="2147477989"/>
            <ac:grpSpMk id="27" creationId="{086E969F-EB07-4291-C81D-ACF5C5FA1BA9}"/>
          </ac:grpSpMkLst>
        </pc:grpChg>
        <pc:grpChg chg="del mod">
          <ac:chgData name="LYNAGH Connor" userId="6ba16826-a125-4f68-ab5d-84bd7aab3e00" providerId="ADAL" clId="{F0FE71C6-F0BC-4E6D-A81C-4E62D06AB176}" dt="2024-04-04T09:28:38.010" v="2328" actId="165"/>
          <ac:grpSpMkLst>
            <pc:docMk/>
            <pc:sldMk cId="1101272439" sldId="2147477989"/>
            <ac:grpSpMk id="28" creationId="{5ABB5D5F-C47F-77D0-952F-74B6BA2E382E}"/>
          </ac:grpSpMkLst>
        </pc:grpChg>
        <pc:cxnChg chg="add del mod">
          <ac:chgData name="LYNAGH Connor" userId="6ba16826-a125-4f68-ab5d-84bd7aab3e00" providerId="ADAL" clId="{F0FE71C6-F0BC-4E6D-A81C-4E62D06AB176}" dt="2024-04-06T10:10:38.811" v="3889" actId="21"/>
          <ac:cxnSpMkLst>
            <pc:docMk/>
            <pc:sldMk cId="1101272439" sldId="2147477989"/>
            <ac:cxnSpMk id="10" creationId="{FEA76260-D90C-CCE8-7272-DCA12460C77E}"/>
          </ac:cxnSpMkLst>
        </pc:cxnChg>
        <pc:cxnChg chg="add mod">
          <ac:chgData name="LYNAGH Connor" userId="6ba16826-a125-4f68-ab5d-84bd7aab3e00" providerId="ADAL" clId="{F0FE71C6-F0BC-4E6D-A81C-4E62D06AB176}" dt="2024-04-06T10:14:07.278" v="3949" actId="208"/>
          <ac:cxnSpMkLst>
            <pc:docMk/>
            <pc:sldMk cId="1101272439" sldId="2147477989"/>
            <ac:cxnSpMk id="20" creationId="{21BFBA6A-8586-3213-6154-D73F662E9F33}"/>
          </ac:cxnSpMkLst>
        </pc:cxnChg>
        <pc:cxnChg chg="add mod">
          <ac:chgData name="LYNAGH Connor" userId="6ba16826-a125-4f68-ab5d-84bd7aab3e00" providerId="ADAL" clId="{F0FE71C6-F0BC-4E6D-A81C-4E62D06AB176}" dt="2024-04-06T10:13:27.968" v="3947" actId="571"/>
          <ac:cxnSpMkLst>
            <pc:docMk/>
            <pc:sldMk cId="1101272439" sldId="2147477989"/>
            <ac:cxnSpMk id="26" creationId="{C1E2A930-F92E-5C8C-C8FF-A0289FF68200}"/>
          </ac:cxnSpMkLst>
        </pc:cxnChg>
        <pc:cxnChg chg="add del mod">
          <ac:chgData name="LYNAGH Connor" userId="6ba16826-a125-4f68-ab5d-84bd7aab3e00" providerId="ADAL" clId="{F0FE71C6-F0BC-4E6D-A81C-4E62D06AB176}" dt="2024-04-05T14:00:15.691" v="3768" actId="478"/>
          <ac:cxnSpMkLst>
            <pc:docMk/>
            <pc:sldMk cId="1101272439" sldId="2147477989"/>
            <ac:cxnSpMk id="30" creationId="{3C63EA7E-D861-C34C-C801-FB0EF9F9239C}"/>
          </ac:cxnSpMkLst>
        </pc:cxnChg>
        <pc:cxnChg chg="add mod">
          <ac:chgData name="LYNAGH Connor" userId="6ba16826-a125-4f68-ab5d-84bd7aab3e00" providerId="ADAL" clId="{F0FE71C6-F0BC-4E6D-A81C-4E62D06AB176}" dt="2024-04-05T12:57:45.998" v="3733" actId="1076"/>
          <ac:cxnSpMkLst>
            <pc:docMk/>
            <pc:sldMk cId="1101272439" sldId="2147477989"/>
            <ac:cxnSpMk id="106" creationId="{9FD35921-4C7D-1491-AD23-84072A7D66F6}"/>
          </ac:cxnSpMkLst>
        </pc:cxnChg>
        <pc:cxnChg chg="add mod">
          <ac:chgData name="LYNAGH Connor" userId="6ba16826-a125-4f68-ab5d-84bd7aab3e00" providerId="ADAL" clId="{F0FE71C6-F0BC-4E6D-A81C-4E62D06AB176}" dt="2024-04-06T10:08:36.917" v="3854" actId="1076"/>
          <ac:cxnSpMkLst>
            <pc:docMk/>
            <pc:sldMk cId="1101272439" sldId="2147477989"/>
            <ac:cxnSpMk id="107" creationId="{F95C1A4E-5925-EF5D-A7A0-E7AAC818F128}"/>
          </ac:cxnSpMkLst>
        </pc:cxnChg>
        <pc:cxnChg chg="add mod">
          <ac:chgData name="LYNAGH Connor" userId="6ba16826-a125-4f68-ab5d-84bd7aab3e00" providerId="ADAL" clId="{F0FE71C6-F0BC-4E6D-A81C-4E62D06AB176}" dt="2024-04-06T10:09:15.716" v="3859" actId="1076"/>
          <ac:cxnSpMkLst>
            <pc:docMk/>
            <pc:sldMk cId="1101272439" sldId="2147477989"/>
            <ac:cxnSpMk id="117" creationId="{7BE7C26A-0234-F8A2-03F9-838CC8F0C425}"/>
          </ac:cxnSpMkLst>
        </pc:cxnChg>
        <pc:cxnChg chg="add del mod">
          <ac:chgData name="LYNAGH Connor" userId="6ba16826-a125-4f68-ab5d-84bd7aab3e00" providerId="ADAL" clId="{F0FE71C6-F0BC-4E6D-A81C-4E62D06AB176}" dt="2024-04-04T09:40:38.684" v="2837" actId="478"/>
          <ac:cxnSpMkLst>
            <pc:docMk/>
            <pc:sldMk cId="1101272439" sldId="2147477989"/>
            <ac:cxnSpMk id="1185" creationId="{4E7F78A7-A620-488A-C3D5-6AF3F8BFE6EC}"/>
          </ac:cxnSpMkLst>
        </pc:cxnChg>
        <pc:cxnChg chg="add del mod">
          <ac:chgData name="LYNAGH Connor" userId="6ba16826-a125-4f68-ab5d-84bd7aab3e00" providerId="ADAL" clId="{F0FE71C6-F0BC-4E6D-A81C-4E62D06AB176}" dt="2024-04-04T09:40:43.179" v="2838" actId="478"/>
          <ac:cxnSpMkLst>
            <pc:docMk/>
            <pc:sldMk cId="1101272439" sldId="2147477989"/>
            <ac:cxnSpMk id="1189" creationId="{1F637BBE-0026-A3BF-2BF7-B50130C7ED7E}"/>
          </ac:cxnSpMkLst>
        </pc:cxnChg>
        <pc:cxnChg chg="add del mod">
          <ac:chgData name="LYNAGH Connor" userId="6ba16826-a125-4f68-ab5d-84bd7aab3e00" providerId="ADAL" clId="{F0FE71C6-F0BC-4E6D-A81C-4E62D06AB176}" dt="2024-04-04T09:42:04.368" v="2858" actId="478"/>
          <ac:cxnSpMkLst>
            <pc:docMk/>
            <pc:sldMk cId="1101272439" sldId="2147477989"/>
            <ac:cxnSpMk id="1191" creationId="{0BBC9EB3-45D2-19C8-4A75-45CD3281E9F8}"/>
          </ac:cxnSpMkLst>
        </pc:cxnChg>
        <pc:cxnChg chg="del">
          <ac:chgData name="LYNAGH Connor" userId="6ba16826-a125-4f68-ab5d-84bd7aab3e00" providerId="ADAL" clId="{F0FE71C6-F0BC-4E6D-A81C-4E62D06AB176}" dt="2024-04-04T09:26:32.342" v="2299" actId="478"/>
          <ac:cxnSpMkLst>
            <pc:docMk/>
            <pc:sldMk cId="1101272439" sldId="2147477989"/>
            <ac:cxnSpMk id="1198" creationId="{6D873427-313C-9CDF-A81B-909FF862295E}"/>
          </ac:cxnSpMkLst>
        </pc:cxnChg>
        <pc:cxnChg chg="del">
          <ac:chgData name="LYNAGH Connor" userId="6ba16826-a125-4f68-ab5d-84bd7aab3e00" providerId="ADAL" clId="{F0FE71C6-F0BC-4E6D-A81C-4E62D06AB176}" dt="2024-04-04T09:26:32.342" v="2299" actId="478"/>
          <ac:cxnSpMkLst>
            <pc:docMk/>
            <pc:sldMk cId="1101272439" sldId="2147477989"/>
            <ac:cxnSpMk id="1199" creationId="{9A295B4B-6903-2D8D-6187-FBB40C5ED003}"/>
          </ac:cxnSpMkLst>
        </pc:cxnChg>
        <pc:cxnChg chg="del">
          <ac:chgData name="LYNAGH Connor" userId="6ba16826-a125-4f68-ab5d-84bd7aab3e00" providerId="ADAL" clId="{F0FE71C6-F0BC-4E6D-A81C-4E62D06AB176}" dt="2024-04-04T09:26:32.342" v="2299" actId="478"/>
          <ac:cxnSpMkLst>
            <pc:docMk/>
            <pc:sldMk cId="1101272439" sldId="2147477989"/>
            <ac:cxnSpMk id="1200" creationId="{D6BD145C-4932-5C8B-4AC3-95DEB1604E96}"/>
          </ac:cxnSpMkLst>
        </pc:cxnChg>
        <pc:cxnChg chg="del">
          <ac:chgData name="LYNAGH Connor" userId="6ba16826-a125-4f68-ab5d-84bd7aab3e00" providerId="ADAL" clId="{F0FE71C6-F0BC-4E6D-A81C-4E62D06AB176}" dt="2024-04-04T09:26:32.342" v="2299" actId="478"/>
          <ac:cxnSpMkLst>
            <pc:docMk/>
            <pc:sldMk cId="1101272439" sldId="2147477989"/>
            <ac:cxnSpMk id="1201" creationId="{61A4D3E5-A06C-7747-FB6E-4EBA1DE3CEA4}"/>
          </ac:cxnSpMkLst>
        </pc:cxnChg>
        <pc:cxnChg chg="del">
          <ac:chgData name="LYNAGH Connor" userId="6ba16826-a125-4f68-ab5d-84bd7aab3e00" providerId="ADAL" clId="{F0FE71C6-F0BC-4E6D-A81C-4E62D06AB176}" dt="2024-04-04T09:26:32.342" v="2299" actId="478"/>
          <ac:cxnSpMkLst>
            <pc:docMk/>
            <pc:sldMk cId="1101272439" sldId="2147477989"/>
            <ac:cxnSpMk id="1208" creationId="{2B77C9CB-0C4E-D744-25AB-4EB876AC9C09}"/>
          </ac:cxnSpMkLst>
        </pc:cxnChg>
        <pc:cxnChg chg="del">
          <ac:chgData name="LYNAGH Connor" userId="6ba16826-a125-4f68-ab5d-84bd7aab3e00" providerId="ADAL" clId="{F0FE71C6-F0BC-4E6D-A81C-4E62D06AB176}" dt="2024-04-04T09:26:32.342" v="2299" actId="478"/>
          <ac:cxnSpMkLst>
            <pc:docMk/>
            <pc:sldMk cId="1101272439" sldId="2147477989"/>
            <ac:cxnSpMk id="1211" creationId="{C476382C-539C-10BC-ED18-A9AA1110639B}"/>
          </ac:cxnSpMkLst>
        </pc:cxnChg>
        <pc:cxnChg chg="del">
          <ac:chgData name="LYNAGH Connor" userId="6ba16826-a125-4f68-ab5d-84bd7aab3e00" providerId="ADAL" clId="{F0FE71C6-F0BC-4E6D-A81C-4E62D06AB176}" dt="2024-04-04T09:26:32.342" v="2299" actId="478"/>
          <ac:cxnSpMkLst>
            <pc:docMk/>
            <pc:sldMk cId="1101272439" sldId="2147477989"/>
            <ac:cxnSpMk id="1212" creationId="{14B50229-3AAB-F5AB-2344-C11DA7FA2E88}"/>
          </ac:cxnSpMkLst>
        </pc:cxnChg>
        <pc:cxnChg chg="del">
          <ac:chgData name="LYNAGH Connor" userId="6ba16826-a125-4f68-ab5d-84bd7aab3e00" providerId="ADAL" clId="{F0FE71C6-F0BC-4E6D-A81C-4E62D06AB176}" dt="2024-04-04T09:26:32.342" v="2299" actId="478"/>
          <ac:cxnSpMkLst>
            <pc:docMk/>
            <pc:sldMk cId="1101272439" sldId="2147477989"/>
            <ac:cxnSpMk id="1213" creationId="{22B44318-B721-7DFF-33A5-27878D810A62}"/>
          </ac:cxnSpMkLst>
        </pc:cxnChg>
        <pc:cxnChg chg="mod topLvl">
          <ac:chgData name="LYNAGH Connor" userId="6ba16826-a125-4f68-ab5d-84bd7aab3e00" providerId="ADAL" clId="{F0FE71C6-F0BC-4E6D-A81C-4E62D06AB176}" dt="2024-04-06T10:14:00.006" v="3948" actId="208"/>
          <ac:cxnSpMkLst>
            <pc:docMk/>
            <pc:sldMk cId="1101272439" sldId="2147477989"/>
            <ac:cxnSpMk id="1219" creationId="{6D873427-313C-9CDF-A81B-909FF862295E}"/>
          </ac:cxnSpMkLst>
        </pc:cxnChg>
        <pc:cxnChg chg="mod topLvl">
          <ac:chgData name="LYNAGH Connor" userId="6ba16826-a125-4f68-ab5d-84bd7aab3e00" providerId="ADAL" clId="{F0FE71C6-F0BC-4E6D-A81C-4E62D06AB176}" dt="2024-04-06T10:14:00.006" v="3948" actId="208"/>
          <ac:cxnSpMkLst>
            <pc:docMk/>
            <pc:sldMk cId="1101272439" sldId="2147477989"/>
            <ac:cxnSpMk id="1220" creationId="{ABC1CF4E-0B33-0EC4-5467-1266FF3AB157}"/>
          </ac:cxnSpMkLst>
        </pc:cxnChg>
        <pc:cxnChg chg="mod topLvl">
          <ac:chgData name="LYNAGH Connor" userId="6ba16826-a125-4f68-ab5d-84bd7aab3e00" providerId="ADAL" clId="{F0FE71C6-F0BC-4E6D-A81C-4E62D06AB176}" dt="2024-04-06T10:14:00.006" v="3948" actId="208"/>
          <ac:cxnSpMkLst>
            <pc:docMk/>
            <pc:sldMk cId="1101272439" sldId="2147477989"/>
            <ac:cxnSpMk id="1221" creationId="{9A295B4B-6903-2D8D-6187-FBB40C5ED003}"/>
          </ac:cxnSpMkLst>
        </pc:cxnChg>
        <pc:cxnChg chg="mod topLvl">
          <ac:chgData name="LYNAGH Connor" userId="6ba16826-a125-4f68-ab5d-84bd7aab3e00" providerId="ADAL" clId="{F0FE71C6-F0BC-4E6D-A81C-4E62D06AB176}" dt="2024-04-06T10:14:00.006" v="3948" actId="208"/>
          <ac:cxnSpMkLst>
            <pc:docMk/>
            <pc:sldMk cId="1101272439" sldId="2147477989"/>
            <ac:cxnSpMk id="1222" creationId="{D6BD145C-4932-5C8B-4AC3-95DEB1604E96}"/>
          </ac:cxnSpMkLst>
        </pc:cxnChg>
        <pc:cxnChg chg="mod topLvl">
          <ac:chgData name="LYNAGH Connor" userId="6ba16826-a125-4f68-ab5d-84bd7aab3e00" providerId="ADAL" clId="{F0FE71C6-F0BC-4E6D-A81C-4E62D06AB176}" dt="2024-04-06T10:14:00.006" v="3948" actId="208"/>
          <ac:cxnSpMkLst>
            <pc:docMk/>
            <pc:sldMk cId="1101272439" sldId="2147477989"/>
            <ac:cxnSpMk id="1223" creationId="{61A4D3E5-A06C-7747-FB6E-4EBA1DE3CEA4}"/>
          </ac:cxnSpMkLst>
        </pc:cxnChg>
        <pc:cxnChg chg="mod topLvl">
          <ac:chgData name="LYNAGH Connor" userId="6ba16826-a125-4f68-ab5d-84bd7aab3e00" providerId="ADAL" clId="{F0FE71C6-F0BC-4E6D-A81C-4E62D06AB176}" dt="2024-04-06T10:14:00.006" v="3948" actId="208"/>
          <ac:cxnSpMkLst>
            <pc:docMk/>
            <pc:sldMk cId="1101272439" sldId="2147477989"/>
            <ac:cxnSpMk id="1224" creationId="{AE3258D0-DB61-41EC-3BFA-74E794F6F56C}"/>
          </ac:cxnSpMkLst>
        </pc:cxnChg>
        <pc:cxnChg chg="mod topLvl">
          <ac:chgData name="LYNAGH Connor" userId="6ba16826-a125-4f68-ab5d-84bd7aab3e00" providerId="ADAL" clId="{F0FE71C6-F0BC-4E6D-A81C-4E62D06AB176}" dt="2024-04-06T10:14:00.006" v="3948" actId="208"/>
          <ac:cxnSpMkLst>
            <pc:docMk/>
            <pc:sldMk cId="1101272439" sldId="2147477989"/>
            <ac:cxnSpMk id="1225" creationId="{0D65CF3E-3CE5-B574-02FF-562F9E8CBE7E}"/>
          </ac:cxnSpMkLst>
        </pc:cxnChg>
        <pc:cxnChg chg="mod topLvl">
          <ac:chgData name="LYNAGH Connor" userId="6ba16826-a125-4f68-ab5d-84bd7aab3e00" providerId="ADAL" clId="{F0FE71C6-F0BC-4E6D-A81C-4E62D06AB176}" dt="2024-04-06T10:14:00.006" v="3948" actId="208"/>
          <ac:cxnSpMkLst>
            <pc:docMk/>
            <pc:sldMk cId="1101272439" sldId="2147477989"/>
            <ac:cxnSpMk id="1233" creationId="{2B77C9CB-0C4E-D744-25AB-4EB876AC9C09}"/>
          </ac:cxnSpMkLst>
        </pc:cxnChg>
        <pc:cxnChg chg="add mod">
          <ac:chgData name="LYNAGH Connor" userId="6ba16826-a125-4f68-ab5d-84bd7aab3e00" providerId="ADAL" clId="{F0FE71C6-F0BC-4E6D-A81C-4E62D06AB176}" dt="2024-04-07T14:54:50.589" v="3981" actId="20577"/>
          <ac:cxnSpMkLst>
            <pc:docMk/>
            <pc:sldMk cId="1101272439" sldId="2147477989"/>
            <ac:cxnSpMk id="1237" creationId="{1F88A9B6-DFF7-7E0F-EFEB-5E4ABED66191}"/>
          </ac:cxnSpMkLst>
        </pc:cxnChg>
        <pc:cxnChg chg="add del mod">
          <ac:chgData name="LYNAGH Connor" userId="6ba16826-a125-4f68-ab5d-84bd7aab3e00" providerId="ADAL" clId="{F0FE71C6-F0BC-4E6D-A81C-4E62D06AB176}" dt="2024-04-04T09:48:10.052" v="3078" actId="478"/>
          <ac:cxnSpMkLst>
            <pc:docMk/>
            <pc:sldMk cId="1101272439" sldId="2147477989"/>
            <ac:cxnSpMk id="1239" creationId="{348D58BD-A08C-3A3A-5E30-C64B39A26D2A}"/>
          </ac:cxnSpMkLst>
        </pc:cxnChg>
      </pc:sldChg>
      <pc:sldMasterChg chg="delSldLayout">
        <pc:chgData name="LYNAGH Connor" userId="6ba16826-a125-4f68-ab5d-84bd7aab3e00" providerId="ADAL" clId="{F0FE71C6-F0BC-4E6D-A81C-4E62D06AB176}" dt="2024-04-01T16:09:46.254" v="455" actId="2696"/>
        <pc:sldMasterMkLst>
          <pc:docMk/>
          <pc:sldMasterMk cId="2371214409" sldId="2147483648"/>
        </pc:sldMasterMkLst>
        <pc:sldLayoutChg chg="del">
          <pc:chgData name="LYNAGH Connor" userId="6ba16826-a125-4f68-ab5d-84bd7aab3e00" providerId="ADAL" clId="{F0FE71C6-F0BC-4E6D-A81C-4E62D06AB176}" dt="2024-04-01T15:59:51.981" v="13" actId="47"/>
          <pc:sldLayoutMkLst>
            <pc:docMk/>
            <pc:sldMasterMk cId="2371214409" sldId="2147483648"/>
            <pc:sldLayoutMk cId="159780093" sldId="2147483856"/>
          </pc:sldLayoutMkLst>
        </pc:sldLayoutChg>
        <pc:sldLayoutChg chg="del">
          <pc:chgData name="LYNAGH Connor" userId="6ba16826-a125-4f68-ab5d-84bd7aab3e00" providerId="ADAL" clId="{F0FE71C6-F0BC-4E6D-A81C-4E62D06AB176}" dt="2024-04-01T16:09:46.254" v="455" actId="2696"/>
          <pc:sldLayoutMkLst>
            <pc:docMk/>
            <pc:sldMasterMk cId="2371214409" sldId="2147483648"/>
            <pc:sldLayoutMk cId="4070960630" sldId="2147483857"/>
          </pc:sldLayoutMkLst>
        </pc:sldLayoutChg>
      </pc:sldMasterChg>
    </pc:docChg>
  </pc:docChgLst>
  <pc:docChgLst>
    <pc:chgData name="SAFSAF Karim" userId="d738f3c5-4161-4efc-add0-960fc38593d8" providerId="ADAL" clId="{9775C722-C4EE-4018-8B21-A4A2E4765893}"/>
    <pc:docChg chg="undo custSel modSld modNotesMaster modHandout">
      <pc:chgData name="SAFSAF Karim" userId="d738f3c5-4161-4efc-add0-960fc38593d8" providerId="ADAL" clId="{9775C722-C4EE-4018-8B21-A4A2E4765893}" dt="2024-04-05T15:08:03.228" v="84" actId="27918"/>
      <pc:docMkLst>
        <pc:docMk/>
      </pc:docMkLst>
      <pc:sldChg chg="modSp mod">
        <pc:chgData name="SAFSAF Karim" userId="d738f3c5-4161-4efc-add0-960fc38593d8" providerId="ADAL" clId="{9775C722-C4EE-4018-8B21-A4A2E4765893}" dt="2024-04-02T08:51:52.403" v="51" actId="1076"/>
        <pc:sldMkLst>
          <pc:docMk/>
          <pc:sldMk cId="1142918706" sldId="461"/>
        </pc:sldMkLst>
        <pc:spChg chg="mod">
          <ac:chgData name="SAFSAF Karim" userId="d738f3c5-4161-4efc-add0-960fc38593d8" providerId="ADAL" clId="{9775C722-C4EE-4018-8B21-A4A2E4765893}" dt="2024-04-02T08:51:52.403" v="51" actId="1076"/>
          <ac:spMkLst>
            <pc:docMk/>
            <pc:sldMk cId="1142918706" sldId="461"/>
            <ac:spMk id="18" creationId="{2B7384A8-86FD-57C9-204F-32ACBF138B3A}"/>
          </ac:spMkLst>
        </pc:spChg>
      </pc:sldChg>
      <pc:sldChg chg="modSp mod">
        <pc:chgData name="SAFSAF Karim" userId="d738f3c5-4161-4efc-add0-960fc38593d8" providerId="ADAL" clId="{9775C722-C4EE-4018-8B21-A4A2E4765893}" dt="2024-04-02T08:36:03.280" v="48" actId="6549"/>
        <pc:sldMkLst>
          <pc:docMk/>
          <pc:sldMk cId="2773316577" sldId="499"/>
        </pc:sldMkLst>
        <pc:spChg chg="mod">
          <ac:chgData name="SAFSAF Karim" userId="d738f3c5-4161-4efc-add0-960fc38593d8" providerId="ADAL" clId="{9775C722-C4EE-4018-8B21-A4A2E4765893}" dt="2024-04-02T08:36:03.280" v="48" actId="6549"/>
          <ac:spMkLst>
            <pc:docMk/>
            <pc:sldMk cId="2773316577" sldId="499"/>
            <ac:spMk id="9" creationId="{F42A4537-F882-15FC-0A70-FDEEA333B2FE}"/>
          </ac:spMkLst>
        </pc:spChg>
      </pc:sldChg>
      <pc:sldChg chg="modSp mod">
        <pc:chgData name="SAFSAF Karim" userId="d738f3c5-4161-4efc-add0-960fc38593d8" providerId="ADAL" clId="{9775C722-C4EE-4018-8B21-A4A2E4765893}" dt="2024-04-02T08:05:12.253" v="44" actId="20577"/>
        <pc:sldMkLst>
          <pc:docMk/>
          <pc:sldMk cId="1460681696" sldId="2147477840"/>
        </pc:sldMkLst>
        <pc:spChg chg="mod">
          <ac:chgData name="SAFSAF Karim" userId="d738f3c5-4161-4efc-add0-960fc38593d8" providerId="ADAL" clId="{9775C722-C4EE-4018-8B21-A4A2E4765893}" dt="2024-04-02T08:05:12.253" v="44" actId="20577"/>
          <ac:spMkLst>
            <pc:docMk/>
            <pc:sldMk cId="1460681696" sldId="2147477840"/>
            <ac:spMk id="3" creationId="{5D79CA8D-0B20-CFB0-CE9F-78217454856F}"/>
          </ac:spMkLst>
        </pc:spChg>
        <pc:spChg chg="mod">
          <ac:chgData name="SAFSAF Karim" userId="d738f3c5-4161-4efc-add0-960fc38593d8" providerId="ADAL" clId="{9775C722-C4EE-4018-8B21-A4A2E4765893}" dt="2024-04-02T08:00:51.624" v="27" actId="20577"/>
          <ac:spMkLst>
            <pc:docMk/>
            <pc:sldMk cId="1460681696" sldId="2147477840"/>
            <ac:spMk id="5" creationId="{E2693C1F-2CA6-B4A2-98FF-AF2BF4212A50}"/>
          </ac:spMkLst>
        </pc:spChg>
      </pc:sldChg>
      <pc:sldChg chg="modSp mod">
        <pc:chgData name="SAFSAF Karim" userId="d738f3c5-4161-4efc-add0-960fc38593d8" providerId="ADAL" clId="{9775C722-C4EE-4018-8B21-A4A2E4765893}" dt="2024-04-02T08:11:52.691" v="46" actId="13926"/>
        <pc:sldMkLst>
          <pc:docMk/>
          <pc:sldMk cId="2411754511" sldId="2147477842"/>
        </pc:sldMkLst>
        <pc:spChg chg="mod">
          <ac:chgData name="SAFSAF Karim" userId="d738f3c5-4161-4efc-add0-960fc38593d8" providerId="ADAL" clId="{9775C722-C4EE-4018-8B21-A4A2E4765893}" dt="2024-04-02T08:11:52.691" v="46" actId="13926"/>
          <ac:spMkLst>
            <pc:docMk/>
            <pc:sldMk cId="2411754511" sldId="2147477842"/>
            <ac:spMk id="27" creationId="{765958E3-C9AE-3534-988D-40AE94EA34F2}"/>
          </ac:spMkLst>
        </pc:spChg>
      </pc:sldChg>
      <pc:sldChg chg="delSp modSp mod">
        <pc:chgData name="SAFSAF Karim" userId="d738f3c5-4161-4efc-add0-960fc38593d8" providerId="ADAL" clId="{9775C722-C4EE-4018-8B21-A4A2E4765893}" dt="2024-04-02T13:22:55.395" v="56" actId="1076"/>
        <pc:sldMkLst>
          <pc:docMk/>
          <pc:sldMk cId="1575333357" sldId="2147477848"/>
        </pc:sldMkLst>
        <pc:picChg chg="mod">
          <ac:chgData name="SAFSAF Karim" userId="d738f3c5-4161-4efc-add0-960fc38593d8" providerId="ADAL" clId="{9775C722-C4EE-4018-8B21-A4A2E4765893}" dt="2024-04-02T13:22:55.395" v="56" actId="1076"/>
          <ac:picMkLst>
            <pc:docMk/>
            <pc:sldMk cId="1575333357" sldId="2147477848"/>
            <ac:picMk id="3" creationId="{FB38F5A6-93A0-BC56-424B-E6A98D98AC56}"/>
          </ac:picMkLst>
        </pc:picChg>
        <pc:picChg chg="del">
          <ac:chgData name="SAFSAF Karim" userId="d738f3c5-4161-4efc-add0-960fc38593d8" providerId="ADAL" clId="{9775C722-C4EE-4018-8B21-A4A2E4765893}" dt="2024-04-02T13:22:39.727" v="52" actId="478"/>
          <ac:picMkLst>
            <pc:docMk/>
            <pc:sldMk cId="1575333357" sldId="2147477848"/>
            <ac:picMk id="7" creationId="{2E93DCD7-A34A-6BC8-6461-91596389BD83}"/>
          </ac:picMkLst>
        </pc:picChg>
      </pc:sldChg>
      <pc:sldChg chg="delSp modSp mod">
        <pc:chgData name="SAFSAF Karim" userId="d738f3c5-4161-4efc-add0-960fc38593d8" providerId="ADAL" clId="{9775C722-C4EE-4018-8B21-A4A2E4765893}" dt="2024-04-02T13:49:30.355" v="59" actId="1076"/>
        <pc:sldMkLst>
          <pc:docMk/>
          <pc:sldMk cId="2649516343" sldId="2147477849"/>
        </pc:sldMkLst>
        <pc:picChg chg="mod">
          <ac:chgData name="SAFSAF Karim" userId="d738f3c5-4161-4efc-add0-960fc38593d8" providerId="ADAL" clId="{9775C722-C4EE-4018-8B21-A4A2E4765893}" dt="2024-04-02T13:49:30.355" v="59" actId="1076"/>
          <ac:picMkLst>
            <pc:docMk/>
            <pc:sldMk cId="2649516343" sldId="2147477849"/>
            <ac:picMk id="3" creationId="{62AB13D1-D0AA-8EDF-875F-B68001247009}"/>
          </ac:picMkLst>
        </pc:picChg>
        <pc:picChg chg="del">
          <ac:chgData name="SAFSAF Karim" userId="d738f3c5-4161-4efc-add0-960fc38593d8" providerId="ADAL" clId="{9775C722-C4EE-4018-8B21-A4A2E4765893}" dt="2024-04-02T13:49:17.611" v="57" actId="478"/>
          <ac:picMkLst>
            <pc:docMk/>
            <pc:sldMk cId="2649516343" sldId="2147477849"/>
            <ac:picMk id="7" creationId="{B7E87C4A-9A9F-E024-5C1E-868103258029}"/>
          </ac:picMkLst>
        </pc:picChg>
      </pc:sldChg>
      <pc:sldChg chg="delSp modSp mod">
        <pc:chgData name="SAFSAF Karim" userId="d738f3c5-4161-4efc-add0-960fc38593d8" providerId="ADAL" clId="{9775C722-C4EE-4018-8B21-A4A2E4765893}" dt="2024-04-02T14:25:41.989" v="77" actId="1036"/>
        <pc:sldMkLst>
          <pc:docMk/>
          <pc:sldMk cId="1696009716" sldId="2147477851"/>
        </pc:sldMkLst>
        <pc:picChg chg="mod">
          <ac:chgData name="SAFSAF Karim" userId="d738f3c5-4161-4efc-add0-960fc38593d8" providerId="ADAL" clId="{9775C722-C4EE-4018-8B21-A4A2E4765893}" dt="2024-04-02T14:19:14.675" v="64" actId="1076"/>
          <ac:picMkLst>
            <pc:docMk/>
            <pc:sldMk cId="1696009716" sldId="2147477851"/>
            <ac:picMk id="3" creationId="{EB477E79-49E7-361C-7C52-332AFCEA4F5D}"/>
          </ac:picMkLst>
        </pc:picChg>
        <pc:picChg chg="mod">
          <ac:chgData name="SAFSAF Karim" userId="d738f3c5-4161-4efc-add0-960fc38593d8" providerId="ADAL" clId="{9775C722-C4EE-4018-8B21-A4A2E4765893}" dt="2024-04-02T14:25:41.989" v="77" actId="1036"/>
          <ac:picMkLst>
            <pc:docMk/>
            <pc:sldMk cId="1696009716" sldId="2147477851"/>
            <ac:picMk id="4" creationId="{595A221B-577E-1C3C-5F89-B72878F09DA6}"/>
          </ac:picMkLst>
        </pc:picChg>
        <pc:picChg chg="del">
          <ac:chgData name="SAFSAF Karim" userId="d738f3c5-4161-4efc-add0-960fc38593d8" providerId="ADAL" clId="{9775C722-C4EE-4018-8B21-A4A2E4765893}" dt="2024-04-02T14:24:46.636" v="65" actId="478"/>
          <ac:picMkLst>
            <pc:docMk/>
            <pc:sldMk cId="1696009716" sldId="2147477851"/>
            <ac:picMk id="10" creationId="{CE6D5F18-AAB7-EFDD-2B7A-2941BF7DDBDA}"/>
          </ac:picMkLst>
        </pc:picChg>
        <pc:picChg chg="del">
          <ac:chgData name="SAFSAF Karim" userId="d738f3c5-4161-4efc-add0-960fc38593d8" providerId="ADAL" clId="{9775C722-C4EE-4018-8B21-A4A2E4765893}" dt="2024-04-02T14:18:57.371" v="60" actId="478"/>
          <ac:picMkLst>
            <pc:docMk/>
            <pc:sldMk cId="1696009716" sldId="2147477851"/>
            <ac:picMk id="11" creationId="{ED1C9BD9-0B0E-F4C1-24D9-30EF10217E98}"/>
          </ac:picMkLst>
        </pc:picChg>
      </pc:sldChg>
      <pc:sldChg chg="modSp mod">
        <pc:chgData name="SAFSAF Karim" userId="d738f3c5-4161-4efc-add0-960fc38593d8" providerId="ADAL" clId="{9775C722-C4EE-4018-8B21-A4A2E4765893}" dt="2024-04-02T08:39:52.720" v="50" actId="20577"/>
        <pc:sldMkLst>
          <pc:docMk/>
          <pc:sldMk cId="1391757880" sldId="2147477882"/>
        </pc:sldMkLst>
        <pc:spChg chg="mod">
          <ac:chgData name="SAFSAF Karim" userId="d738f3c5-4161-4efc-add0-960fc38593d8" providerId="ADAL" clId="{9775C722-C4EE-4018-8B21-A4A2E4765893}" dt="2024-04-02T08:39:52.720" v="50" actId="20577"/>
          <ac:spMkLst>
            <pc:docMk/>
            <pc:sldMk cId="1391757880" sldId="2147477882"/>
            <ac:spMk id="16" creationId="{9B6EB12E-293E-94D5-B2E5-9154A4720562}"/>
          </ac:spMkLst>
        </pc:spChg>
      </pc:sldChg>
      <pc:sldChg chg="mod">
        <pc:chgData name="SAFSAF Karim" userId="d738f3c5-4161-4efc-add0-960fc38593d8" providerId="ADAL" clId="{9775C722-C4EE-4018-8B21-A4A2E4765893}" dt="2024-04-05T15:08:03.228" v="84" actId="27918"/>
        <pc:sldMkLst>
          <pc:docMk/>
          <pc:sldMk cId="3607068482" sldId="2147477890"/>
        </pc:sldMkLst>
      </pc:sldChg>
    </pc:docChg>
  </pc:docChgLst>
  <pc:docChgLst>
    <pc:chgData name="SAFSAF Karim" userId="d738f3c5-4161-4efc-add0-960fc38593d8" providerId="ADAL" clId="{3C48FBA5-1EDF-4552-A830-D2FA3FFA862B}"/>
    <pc:docChg chg="delSld modSld">
      <pc:chgData name="SAFSAF Karim" userId="d738f3c5-4161-4efc-add0-960fc38593d8" providerId="ADAL" clId="{3C48FBA5-1EDF-4552-A830-D2FA3FFA862B}" dt="2024-05-27T09:08:39.765" v="9" actId="47"/>
      <pc:docMkLst>
        <pc:docMk/>
      </pc:docMkLst>
      <pc:sldChg chg="modSp mod">
        <pc:chgData name="SAFSAF Karim" userId="d738f3c5-4161-4efc-add0-960fc38593d8" providerId="ADAL" clId="{3C48FBA5-1EDF-4552-A830-D2FA3FFA862B}" dt="2024-05-27T09:07:21.376" v="7" actId="20577"/>
        <pc:sldMkLst>
          <pc:docMk/>
          <pc:sldMk cId="3106111930" sldId="285"/>
        </pc:sldMkLst>
        <pc:spChg chg="mod">
          <ac:chgData name="SAFSAF Karim" userId="d738f3c5-4161-4efc-add0-960fc38593d8" providerId="ADAL" clId="{3C48FBA5-1EDF-4552-A830-D2FA3FFA862B}" dt="2024-05-27T09:07:21.376" v="7" actId="20577"/>
          <ac:spMkLst>
            <pc:docMk/>
            <pc:sldMk cId="3106111930" sldId="285"/>
            <ac:spMk id="7" creationId="{773A5823-D9DB-8B34-79B9-173130C52823}"/>
          </ac:spMkLst>
        </pc:spChg>
      </pc:sldChg>
      <pc:sldChg chg="del">
        <pc:chgData name="SAFSAF Karim" userId="d738f3c5-4161-4efc-add0-960fc38593d8" providerId="ADAL" clId="{3C48FBA5-1EDF-4552-A830-D2FA3FFA862B}" dt="2024-05-27T09:08:39.765" v="9" actId="47"/>
        <pc:sldMkLst>
          <pc:docMk/>
          <pc:sldMk cId="1703238746" sldId="2147477816"/>
        </pc:sldMkLst>
      </pc:sldChg>
      <pc:sldChg chg="modSp mod">
        <pc:chgData name="SAFSAF Karim" userId="d738f3c5-4161-4efc-add0-960fc38593d8" providerId="ADAL" clId="{3C48FBA5-1EDF-4552-A830-D2FA3FFA862B}" dt="2024-05-27T09:08:18.863" v="8" actId="6549"/>
        <pc:sldMkLst>
          <pc:docMk/>
          <pc:sldMk cId="2195703410" sldId="2147477888"/>
        </pc:sldMkLst>
        <pc:spChg chg="mod">
          <ac:chgData name="SAFSAF Karim" userId="d738f3c5-4161-4efc-add0-960fc38593d8" providerId="ADAL" clId="{3C48FBA5-1EDF-4552-A830-D2FA3FFA862B}" dt="2024-05-27T09:08:18.863" v="8" actId="6549"/>
          <ac:spMkLst>
            <pc:docMk/>
            <pc:sldMk cId="2195703410" sldId="2147477888"/>
            <ac:spMk id="28" creationId="{BC9DF018-5FBB-0CBA-BB63-34E0D9197411}"/>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vallourec.sharepoint.com/teams/InvestorRelations/Shared%20Documents/Earnings%20Content/Data/Financial%20Charts.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https://vallourec.sharepoint.com/teams/InvestorRelations/Shared%20Documents/Macro/Tubes/Tubes%20Market%20Data.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https://vallourec.sharepoint.com/teams/InvestorRelations/Shared%20Documents/Capital%20Markets%20Day/Data%20Files/Master%20CMD%20Data%20File.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https://vallourec.sharepoint.com/teams/InvestorRelations/Shared%20Documents/Capital%20Markets%20Day/Data%20Files/Master%20CMD%20Data%20File.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vallourec.sharepoint.com/teams/InvestorRelations/Shared%20Documents/Earnings%20Content/Data/Financial%20Charts.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https://vallourec.sharepoint.com/teams/InvestorRelations/Shared%20Documents/Earnings%20Content/Data/Financial%20Charts.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https://vallourec.sharepoint.com/teams/InvestorRelations/Shared%20Documents/Earnings%20Content/Data/Financial%20Charts.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vallourec.sharepoint.com/teams/InvestorRelations/Shared%20Documents/Earnings%20Content/Data/Financial%20Charts.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https://vallourec.sharepoint.com/teams/InvestorRelations/Shared%20Documents/Financial%20Market%20Data/Weekly%20Data.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https://vallourec.sharepoint.com/teams/InvestorRelations/Shared%20Documents/Macro/Tubes/Tubes%20Market%20Data.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5" Type="http://schemas.openxmlformats.org/officeDocument/2006/relationships/chartUserShapes" Target="../drawings/drawing1.xml"/><Relationship Id="rId4" Type="http://schemas.openxmlformats.org/officeDocument/2006/relationships/oleObject" Target="https://vallourec.sharepoint.com/teams/InvestorRelations/Shared%20Documents/Macro/Tubes/Tubes%20Market%20Data.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https://vallourec.sharepoint.com/teams/InvestorRelations/Shared%20Documents/Financial%20Market%20Data/Weekly%20Data.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5947712418300651E-2"/>
          <c:y val="8.5309648793900784E-3"/>
          <c:w val="0.92810457516339873"/>
          <c:h val="0.823016654168229"/>
        </c:manualLayout>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2"/>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ey Figures'!$I$2:$O$2</c:f>
              <c:strCache>
                <c:ptCount val="7"/>
                <c:pt idx="0">
                  <c:v>Q3 2022</c:v>
                </c:pt>
                <c:pt idx="1">
                  <c:v>Q4 2022</c:v>
                </c:pt>
                <c:pt idx="2">
                  <c:v>Q1 2023</c:v>
                </c:pt>
                <c:pt idx="3">
                  <c:v>Q2 2023</c:v>
                </c:pt>
                <c:pt idx="4">
                  <c:v>Q3 2023</c:v>
                </c:pt>
                <c:pt idx="5">
                  <c:v>Q4 2023</c:v>
                </c:pt>
                <c:pt idx="6">
                  <c:v>Q1 2024</c:v>
                </c:pt>
              </c:strCache>
            </c:strRef>
          </c:cat>
          <c:val>
            <c:numRef>
              <c:f>'Key Figures'!$I$10:$O$10</c:f>
              <c:numCache>
                <c:formatCode>#,##0_);\(#,##0\);\–_)</c:formatCode>
                <c:ptCount val="7"/>
                <c:pt idx="0">
                  <c:v>1493</c:v>
                </c:pt>
                <c:pt idx="1">
                  <c:v>1130</c:v>
                </c:pt>
                <c:pt idx="2">
                  <c:v>1000</c:v>
                </c:pt>
                <c:pt idx="3">
                  <c:v>868</c:v>
                </c:pt>
                <c:pt idx="4">
                  <c:v>741</c:v>
                </c:pt>
                <c:pt idx="5">
                  <c:v>570</c:v>
                </c:pt>
                <c:pt idx="6">
                  <c:v>485.06957510732263</c:v>
                </c:pt>
              </c:numCache>
            </c:numRef>
          </c:val>
          <c:extLst>
            <c:ext xmlns:c16="http://schemas.microsoft.com/office/drawing/2014/chart" uri="{C3380CC4-5D6E-409C-BE32-E72D297353CC}">
              <c16:uniqueId val="{00000000-FB01-4B9A-8708-39C832CD3813}"/>
            </c:ext>
          </c:extLst>
        </c:ser>
        <c:dLbls>
          <c:showLegendKey val="0"/>
          <c:showVal val="0"/>
          <c:showCatName val="0"/>
          <c:showSerName val="0"/>
          <c:showPercent val="0"/>
          <c:showBubbleSize val="0"/>
        </c:dLbls>
        <c:gapWidth val="100"/>
        <c:axId val="721451240"/>
        <c:axId val="721448944"/>
      </c:barChart>
      <c:catAx>
        <c:axId val="721451240"/>
        <c:scaling>
          <c:orientation val="minMax"/>
        </c:scaling>
        <c:delete val="0"/>
        <c:axPos val="b"/>
        <c:numFmt formatCode="General" sourceLinked="1"/>
        <c:majorTickMark val="none"/>
        <c:minorTickMark val="none"/>
        <c:tickLblPos val="nextTo"/>
        <c:spPr>
          <a:noFill/>
          <a:ln w="6350" cap="flat" cmpd="sng" algn="ctr">
            <a:solidFill>
              <a:schemeClr val="accent4"/>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21448944"/>
        <c:crosses val="autoZero"/>
        <c:auto val="1"/>
        <c:lblAlgn val="ctr"/>
        <c:lblOffset val="100"/>
        <c:noMultiLvlLbl val="0"/>
      </c:catAx>
      <c:valAx>
        <c:axId val="721448944"/>
        <c:scaling>
          <c:orientation val="minMax"/>
        </c:scaling>
        <c:delete val="0"/>
        <c:axPos val="l"/>
        <c:numFmt formatCode="#,##0_);\(#,##0\);\–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21451240"/>
        <c:crosses val="autoZero"/>
        <c:crossBetween val="between"/>
      </c:valAx>
      <c:spPr>
        <a:noFill/>
        <a:ln>
          <a:noFill/>
        </a:ln>
        <a:effectLst/>
      </c:spPr>
    </c:plotArea>
    <c:plotVisOnly val="1"/>
    <c:dispBlanksAs val="gap"/>
    <c:showDLblsOverMax val="0"/>
    <c:extLst/>
  </c:chart>
  <c:spPr>
    <a:solidFill>
      <a:schemeClr val="bg1"/>
    </a:solidFill>
    <a:ln w="9525" cap="flat" cmpd="sng" algn="ctr">
      <a:noFill/>
      <a:round/>
    </a:ln>
    <a:effectLst/>
  </c:spPr>
  <c:txPr>
    <a:bodyPr/>
    <a:lstStyle/>
    <a:p>
      <a:pPr>
        <a:defRPr/>
      </a:pPr>
      <a:endParaRPr lang="fr-FR"/>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83011682363234"/>
          <c:y val="9.6800562553716094E-2"/>
          <c:w val="0.83575111934537594"/>
          <c:h val="0.80626448706039644"/>
        </c:manualLayout>
      </c:layout>
      <c:barChart>
        <c:barDir val="col"/>
        <c:grouping val="clustered"/>
        <c:varyColors val="0"/>
        <c:ser>
          <c:idx val="0"/>
          <c:order val="0"/>
          <c:tx>
            <c:strRef>
              <c:f>Quarterly!$D$1</c:f>
              <c:strCache>
                <c:ptCount val="1"/>
                <c:pt idx="0">
                  <c:v>Middle East</c:v>
                </c:pt>
              </c:strCache>
            </c:strRef>
          </c:tx>
          <c:spPr>
            <a:solidFill>
              <a:srgbClr val="27338B"/>
            </a:solidFill>
            <a:ln>
              <a:noFill/>
            </a:ln>
            <a:effectLst/>
          </c:spPr>
          <c:invertIfNegative val="0"/>
          <c:dPt>
            <c:idx val="5"/>
            <c:invertIfNegative val="0"/>
            <c:bubble3D val="0"/>
            <c:spPr>
              <a:pattFill prst="dkDnDiag">
                <a:fgClr>
                  <a:srgbClr val="27338B"/>
                </a:fgClr>
                <a:bgClr>
                  <a:srgbClr val="FFFFFF"/>
                </a:bgClr>
              </a:pattFill>
              <a:ln>
                <a:noFill/>
              </a:ln>
              <a:effectLst/>
            </c:spPr>
            <c:extLst>
              <c:ext xmlns:c16="http://schemas.microsoft.com/office/drawing/2014/chart" uri="{C3380CC4-5D6E-409C-BE32-E72D297353CC}">
                <c16:uniqueId val="{00000000-68C5-43DB-9725-7F1AABBD8FF2}"/>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2"/>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uarterly!$B$2:$B$7</c:f>
              <c:strCache>
                <c:ptCount val="6"/>
                <c:pt idx="0">
                  <c:v>Q1 23</c:v>
                </c:pt>
                <c:pt idx="1">
                  <c:v>Q2 23</c:v>
                </c:pt>
                <c:pt idx="2">
                  <c:v>Q3 23</c:v>
                </c:pt>
                <c:pt idx="3">
                  <c:v>Q4 23</c:v>
                </c:pt>
                <c:pt idx="4">
                  <c:v>Q1 24</c:v>
                </c:pt>
                <c:pt idx="5">
                  <c:v>Apr-24</c:v>
                </c:pt>
              </c:strCache>
            </c:strRef>
          </c:cat>
          <c:val>
            <c:numRef>
              <c:f>Quarterly!$D$2:$D$7</c:f>
              <c:numCache>
                <c:formatCode>#,##0_);\(#,##0\);\–_)</c:formatCode>
                <c:ptCount val="6"/>
                <c:pt idx="0">
                  <c:v>2366.6666666666665</c:v>
                </c:pt>
                <c:pt idx="1">
                  <c:v>2583.3333333333335</c:v>
                </c:pt>
                <c:pt idx="2">
                  <c:v>2400</c:v>
                </c:pt>
                <c:pt idx="3">
                  <c:v>2566.6666666666665</c:v>
                </c:pt>
                <c:pt idx="4">
                  <c:v>2566.6666666666665</c:v>
                </c:pt>
                <c:pt idx="5">
                  <c:v>2500</c:v>
                </c:pt>
              </c:numCache>
            </c:numRef>
          </c:val>
          <c:extLst>
            <c:ext xmlns:c16="http://schemas.microsoft.com/office/drawing/2014/chart" uri="{C3380CC4-5D6E-409C-BE32-E72D297353CC}">
              <c16:uniqueId val="{00000000-FB01-4B9A-8708-39C832CD3813}"/>
            </c:ext>
          </c:extLst>
        </c:ser>
        <c:ser>
          <c:idx val="1"/>
          <c:order val="1"/>
          <c:tx>
            <c:strRef>
              <c:f>Quarterly!$E$1</c:f>
              <c:strCache>
                <c:ptCount val="1"/>
                <c:pt idx="0">
                  <c:v>North Sea</c:v>
                </c:pt>
              </c:strCache>
            </c:strRef>
          </c:tx>
          <c:spPr>
            <a:solidFill>
              <a:schemeClr val="accent2"/>
            </a:solidFill>
            <a:ln>
              <a:noFill/>
            </a:ln>
            <a:effectLst/>
          </c:spPr>
          <c:invertIfNegative val="0"/>
          <c:dPt>
            <c:idx val="5"/>
            <c:invertIfNegative val="0"/>
            <c:bubble3D val="0"/>
            <c:spPr>
              <a:pattFill prst="dkDnDiag">
                <a:fgClr>
                  <a:srgbClr val="0077C1"/>
                </a:fgClr>
                <a:bgClr>
                  <a:srgbClr val="FFFFFF"/>
                </a:bgClr>
              </a:pattFill>
              <a:ln>
                <a:noFill/>
              </a:ln>
              <a:effectLst/>
            </c:spPr>
            <c:extLst>
              <c:ext xmlns:c16="http://schemas.microsoft.com/office/drawing/2014/chart" uri="{C3380CC4-5D6E-409C-BE32-E72D297353CC}">
                <c16:uniqueId val="{00000001-68C5-43DB-9725-7F1AABBD8FF2}"/>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uarterly!$B$2:$B$7</c:f>
              <c:strCache>
                <c:ptCount val="6"/>
                <c:pt idx="0">
                  <c:v>Q1 23</c:v>
                </c:pt>
                <c:pt idx="1">
                  <c:v>Q2 23</c:v>
                </c:pt>
                <c:pt idx="2">
                  <c:v>Q3 23</c:v>
                </c:pt>
                <c:pt idx="3">
                  <c:v>Q4 23</c:v>
                </c:pt>
                <c:pt idx="4">
                  <c:v>Q1 24</c:v>
                </c:pt>
                <c:pt idx="5">
                  <c:v>Apr-24</c:v>
                </c:pt>
              </c:strCache>
            </c:strRef>
          </c:cat>
          <c:val>
            <c:numRef>
              <c:f>Quarterly!$E$2:$E$7</c:f>
              <c:numCache>
                <c:formatCode>#,##0_);\(#,##0\);\–_)</c:formatCode>
                <c:ptCount val="6"/>
                <c:pt idx="0">
                  <c:v>2920</c:v>
                </c:pt>
                <c:pt idx="1">
                  <c:v>3000</c:v>
                </c:pt>
                <c:pt idx="2">
                  <c:v>2800</c:v>
                </c:pt>
                <c:pt idx="3">
                  <c:v>2800</c:v>
                </c:pt>
                <c:pt idx="4">
                  <c:v>2750</c:v>
                </c:pt>
                <c:pt idx="5">
                  <c:v>2700</c:v>
                </c:pt>
              </c:numCache>
            </c:numRef>
          </c:val>
          <c:extLst>
            <c:ext xmlns:c16="http://schemas.microsoft.com/office/drawing/2014/chart" uri="{C3380CC4-5D6E-409C-BE32-E72D297353CC}">
              <c16:uniqueId val="{00000001-FB01-4B9A-8708-39C832CD3813}"/>
            </c:ext>
          </c:extLst>
        </c:ser>
        <c:dLbls>
          <c:showLegendKey val="0"/>
          <c:showVal val="0"/>
          <c:showCatName val="0"/>
          <c:showSerName val="0"/>
          <c:showPercent val="0"/>
          <c:showBubbleSize val="0"/>
        </c:dLbls>
        <c:gapWidth val="263"/>
        <c:overlap val="-100"/>
        <c:axId val="721451240"/>
        <c:axId val="721448944"/>
      </c:barChart>
      <c:catAx>
        <c:axId val="721451240"/>
        <c:scaling>
          <c:orientation val="minMax"/>
        </c:scaling>
        <c:delete val="0"/>
        <c:axPos val="b"/>
        <c:numFmt formatCode="General" sourceLinked="1"/>
        <c:majorTickMark val="none"/>
        <c:minorTickMark val="none"/>
        <c:tickLblPos val="nextTo"/>
        <c:spPr>
          <a:noFill/>
          <a:ln w="6350" cap="flat" cmpd="sng" algn="ctr">
            <a:solidFill>
              <a:schemeClr val="accent4"/>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21448944"/>
        <c:crosses val="autoZero"/>
        <c:auto val="1"/>
        <c:lblAlgn val="ctr"/>
        <c:lblOffset val="100"/>
        <c:noMultiLvlLbl val="0"/>
      </c:catAx>
      <c:valAx>
        <c:axId val="721448944"/>
        <c:scaling>
          <c:orientation val="minMax"/>
        </c:scaling>
        <c:delete val="0"/>
        <c:axPos val="l"/>
        <c:numFmt formatCode="#,##0_);\(#,##0\);\–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2145124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extLst/>
  </c:chart>
  <c:spPr>
    <a:solidFill>
      <a:schemeClr val="bg1"/>
    </a:solidFill>
    <a:ln w="9525" cap="flat" cmpd="sng" algn="ctr">
      <a:noFill/>
      <a:round/>
    </a:ln>
    <a:effectLst/>
  </c:spPr>
  <c:txPr>
    <a:bodyPr/>
    <a:lstStyle/>
    <a:p>
      <a:pPr>
        <a:defRPr/>
      </a:pPr>
      <a:endParaRPr lang="fr-FR"/>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8569703664692814E-2"/>
          <c:y val="0.12890590824584428"/>
          <c:w val="0.84139570788945495"/>
          <c:h val="0.75160692804024498"/>
        </c:manualLayout>
      </c:layout>
      <c:lineChart>
        <c:grouping val="standard"/>
        <c:varyColors val="0"/>
        <c:ser>
          <c:idx val="0"/>
          <c:order val="0"/>
          <c:tx>
            <c:strRef>
              <c:f>'Macro Analysis'!$A$51</c:f>
              <c:strCache>
                <c:ptCount val="1"/>
                <c:pt idx="0">
                  <c:v>International</c:v>
                </c:pt>
              </c:strCache>
            </c:strRef>
          </c:tx>
          <c:spPr>
            <a:ln w="25400" cap="rnd" cmpd="sng" algn="ctr">
              <a:solidFill>
                <a:schemeClr val="accent1">
                  <a:shade val="95000"/>
                  <a:satMod val="105000"/>
                </a:schemeClr>
              </a:solidFill>
              <a:prstDash val="solid"/>
              <a:round/>
            </a:ln>
            <a:effectLst/>
          </c:spPr>
          <c:marker>
            <c:symbol val="none"/>
          </c:marker>
          <c:cat>
            <c:numRef>
              <c:f>'Macro Analysis'!$B$2:$N$2</c:f>
              <c:numCache>
                <c:formatCode>General</c:formatCod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numCache>
            </c:numRef>
          </c:cat>
          <c:val>
            <c:numRef>
              <c:f>'Macro Analysis'!$B$51:$N$51</c:f>
              <c:numCache>
                <c:formatCode>#,##0_);\(#,##0\);\–_)</c:formatCode>
                <c:ptCount val="13"/>
                <c:pt idx="0">
                  <c:v>2598.1041666666665</c:v>
                </c:pt>
                <c:pt idx="1">
                  <c:v>2628.6041666666665</c:v>
                </c:pt>
                <c:pt idx="2">
                  <c:v>2487</c:v>
                </c:pt>
                <c:pt idx="3">
                  <c:v>2264.7708333333335</c:v>
                </c:pt>
                <c:pt idx="4">
                  <c:v>1911.4583333333333</c:v>
                </c:pt>
                <c:pt idx="5">
                  <c:v>1466.1041666666665</c:v>
                </c:pt>
                <c:pt idx="6">
                  <c:v>1411.7083333333333</c:v>
                </c:pt>
                <c:pt idx="7">
                  <c:v>1515.1875</c:v>
                </c:pt>
                <c:pt idx="8">
                  <c:v>1592.1666666666665</c:v>
                </c:pt>
                <c:pt idx="9">
                  <c:v>1488.6824165884957</c:v>
                </c:pt>
                <c:pt idx="10">
                  <c:v>1466.1041666666667</c:v>
                </c:pt>
                <c:pt idx="11">
                  <c:v>1933.0625</c:v>
                </c:pt>
                <c:pt idx="12">
                  <c:v>2679.583333333333</c:v>
                </c:pt>
              </c:numCache>
            </c:numRef>
          </c:val>
          <c:smooth val="0"/>
          <c:extLst>
            <c:ext xmlns:c16="http://schemas.microsoft.com/office/drawing/2014/chart" uri="{C3380CC4-5D6E-409C-BE32-E72D297353CC}">
              <c16:uniqueId val="{00000000-E2D3-42F6-9D88-377F74AC98F2}"/>
            </c:ext>
          </c:extLst>
        </c:ser>
        <c:ser>
          <c:idx val="1"/>
          <c:order val="1"/>
          <c:tx>
            <c:strRef>
              <c:f>'Macro Analysis'!$A$52</c:f>
              <c:strCache>
                <c:ptCount val="1"/>
                <c:pt idx="0">
                  <c:v>United States</c:v>
                </c:pt>
              </c:strCache>
            </c:strRef>
          </c:tx>
          <c:spPr>
            <a:ln w="25400" cap="rnd" cmpd="sng" algn="ctr">
              <a:solidFill>
                <a:schemeClr val="accent2"/>
              </a:solidFill>
              <a:prstDash val="solid"/>
              <a:round/>
            </a:ln>
            <a:effectLst/>
          </c:spPr>
          <c:marker>
            <c:symbol val="none"/>
          </c:marker>
          <c:cat>
            <c:numRef>
              <c:f>'Macro Analysis'!$B$2:$N$2</c:f>
              <c:numCache>
                <c:formatCode>General</c:formatCod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numCache>
            </c:numRef>
          </c:cat>
          <c:val>
            <c:numRef>
              <c:f>'Macro Analysis'!$B$52:$N$52</c:f>
              <c:numCache>
                <c:formatCode>#,##0_);\(#,##0\);\–_)</c:formatCode>
                <c:ptCount val="13"/>
                <c:pt idx="0">
                  <c:v>2585.077777777778</c:v>
                </c:pt>
                <c:pt idx="1">
                  <c:v>2587.2000000000003</c:v>
                </c:pt>
                <c:pt idx="2">
                  <c:v>2237.4</c:v>
                </c:pt>
                <c:pt idx="3">
                  <c:v>2308.7166666666667</c:v>
                </c:pt>
                <c:pt idx="4">
                  <c:v>2043.8458333333333</c:v>
                </c:pt>
                <c:pt idx="5">
                  <c:v>1599.8583333333333</c:v>
                </c:pt>
                <c:pt idx="6">
                  <c:v>1784.7958333333333</c:v>
                </c:pt>
                <c:pt idx="7">
                  <c:v>1956.5333333333333</c:v>
                </c:pt>
                <c:pt idx="8">
                  <c:v>1883.0625000000002</c:v>
                </c:pt>
                <c:pt idx="9">
                  <c:v>1486.2833333333333</c:v>
                </c:pt>
                <c:pt idx="10">
                  <c:v>2220.5333333333338</c:v>
                </c:pt>
                <c:pt idx="11">
                  <c:v>3997.7208333333342</c:v>
                </c:pt>
                <c:pt idx="12">
                  <c:v>3433.8791666666666</c:v>
                </c:pt>
              </c:numCache>
            </c:numRef>
          </c:val>
          <c:smooth val="0"/>
          <c:extLst>
            <c:ext xmlns:c16="http://schemas.microsoft.com/office/drawing/2014/chart" uri="{C3380CC4-5D6E-409C-BE32-E72D297353CC}">
              <c16:uniqueId val="{00000005-5CDE-4B0A-B27E-4B427F6F1FC2}"/>
            </c:ext>
          </c:extLst>
        </c:ser>
        <c:ser>
          <c:idx val="2"/>
          <c:order val="2"/>
          <c:tx>
            <c:strRef>
              <c:f>'Macro Analysis'!$A$53</c:f>
              <c:strCache>
                <c:ptCount val="1"/>
                <c:pt idx="0">
                  <c:v>Weighted Market Price</c:v>
                </c:pt>
              </c:strCache>
            </c:strRef>
          </c:tx>
          <c:spPr>
            <a:ln w="25400" cap="rnd" cmpd="sng" algn="ctr">
              <a:solidFill>
                <a:schemeClr val="accent3">
                  <a:shade val="95000"/>
                  <a:satMod val="105000"/>
                </a:schemeClr>
              </a:solidFill>
              <a:prstDash val="sysDash"/>
              <a:round/>
            </a:ln>
            <a:effectLst/>
          </c:spPr>
          <c:marker>
            <c:symbol val="none"/>
          </c:marker>
          <c:cat>
            <c:numRef>
              <c:f>'Macro Analysis'!$B$2:$N$2</c:f>
              <c:numCache>
                <c:formatCode>General</c:formatCod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numCache>
            </c:numRef>
          </c:cat>
          <c:val>
            <c:numRef>
              <c:f>'Macro Analysis'!$B$53:$N$53</c:f>
              <c:numCache>
                <c:formatCode>#,##0_);\(#,##0\);\–_)</c:formatCode>
                <c:ptCount val="13"/>
                <c:pt idx="0">
                  <c:v>2595.7549844657651</c:v>
                </c:pt>
                <c:pt idx="1">
                  <c:v>2619.8747898439869</c:v>
                </c:pt>
                <c:pt idx="2">
                  <c:v>2422.2589161648912</c:v>
                </c:pt>
                <c:pt idx="3">
                  <c:v>2279.0537021093414</c:v>
                </c:pt>
                <c:pt idx="4">
                  <c:v>1941.5785391178965</c:v>
                </c:pt>
                <c:pt idx="5">
                  <c:v>1501.6954263672837</c:v>
                </c:pt>
                <c:pt idx="6">
                  <c:v>1522.5053631569888</c:v>
                </c:pt>
                <c:pt idx="7">
                  <c:v>1656.6784802040722</c:v>
                </c:pt>
                <c:pt idx="8">
                  <c:v>1678.89151347297</c:v>
                </c:pt>
                <c:pt idx="9">
                  <c:v>1488.0086369318517</c:v>
                </c:pt>
                <c:pt idx="10">
                  <c:v>1685.8895756050733</c:v>
                </c:pt>
                <c:pt idx="11">
                  <c:v>2657.2687521931439</c:v>
                </c:pt>
                <c:pt idx="12">
                  <c:v>3004.5351634450835</c:v>
                </c:pt>
              </c:numCache>
            </c:numRef>
          </c:val>
          <c:smooth val="0"/>
          <c:extLst>
            <c:ext xmlns:c16="http://schemas.microsoft.com/office/drawing/2014/chart" uri="{C3380CC4-5D6E-409C-BE32-E72D297353CC}">
              <c16:uniqueId val="{00000005-5E50-461B-8B97-A93E8843F01B}"/>
            </c:ext>
          </c:extLst>
        </c:ser>
        <c:dLbls>
          <c:showLegendKey val="0"/>
          <c:showVal val="0"/>
          <c:showCatName val="0"/>
          <c:showSerName val="0"/>
          <c:showPercent val="0"/>
          <c:showBubbleSize val="0"/>
        </c:dLbls>
        <c:smooth val="0"/>
        <c:axId val="363790336"/>
        <c:axId val="363791872"/>
      </c:lineChart>
      <c:catAx>
        <c:axId val="363790336"/>
        <c:scaling>
          <c:orientation val="minMax"/>
        </c:scaling>
        <c:delete val="0"/>
        <c:axPos val="b"/>
        <c:numFmt formatCode="General" sourceLinked="1"/>
        <c:majorTickMark val="out"/>
        <c:minorTickMark val="none"/>
        <c:tickLblPos val="nextTo"/>
        <c:spPr>
          <a:noFill/>
          <a:ln w="9525" cap="flat" cmpd="sng" algn="ctr">
            <a:solidFill>
              <a:srgbClr val="32383E"/>
            </a:solidFill>
            <a:prstDash val="solid"/>
            <a:round/>
            <a:headEnd type="none" w="med" len="med"/>
            <a:tailEnd type="none" w="med" len="med"/>
          </a:ln>
          <a:effectLst/>
        </c:spPr>
        <c:txPr>
          <a:bodyPr rot="-5400000" spcFirstLastPara="1" vertOverflow="ellipsis" wrap="square" anchor="ctr" anchorCtr="1"/>
          <a:lstStyle/>
          <a:p>
            <a:pPr>
              <a:defRPr sz="800" b="0" i="0" u="none" strike="noStrike" kern="1200" baseline="0">
                <a:solidFill>
                  <a:schemeClr val="tx2"/>
                </a:solidFill>
                <a:latin typeface="Arial" panose="020B0604020202020204" pitchFamily="34" charset="0"/>
                <a:ea typeface="Arial"/>
                <a:cs typeface="Arial"/>
              </a:defRPr>
            </a:pPr>
            <a:endParaRPr lang="fr-FR"/>
          </a:p>
        </c:txPr>
        <c:crossAx val="363791872"/>
        <c:crosses val="autoZero"/>
        <c:auto val="1"/>
        <c:lblAlgn val="ctr"/>
        <c:lblOffset val="100"/>
        <c:tickMarkSkip val="1"/>
        <c:noMultiLvlLbl val="0"/>
      </c:catAx>
      <c:valAx>
        <c:axId val="363791872"/>
        <c:scaling>
          <c:orientation val="minMax"/>
          <c:max val="4000"/>
        </c:scaling>
        <c:delete val="0"/>
        <c:axPos val="l"/>
        <c:numFmt formatCode="#,##0_);\(#,##0\);\–_)" sourceLinked="1"/>
        <c:majorTickMark val="out"/>
        <c:minorTickMark val="none"/>
        <c:tickLblPos val="nextTo"/>
        <c:spPr>
          <a:noFill/>
          <a:ln w="9525" cap="flat" cmpd="sng" algn="ctr">
            <a:solidFill>
              <a:srgbClr val="32383E"/>
            </a:solidFill>
            <a:prstDash val="solid"/>
            <a:round/>
            <a:headEnd type="none" w="med" len="med"/>
            <a:tailEnd type="none" w="med" len="med"/>
          </a:ln>
          <a:effectLst/>
        </c:spPr>
        <c:txPr>
          <a:bodyPr rot="-60000000" spcFirstLastPara="1" vertOverflow="ellipsis" vert="horz" wrap="square" anchor="ctr" anchorCtr="1"/>
          <a:lstStyle/>
          <a:p>
            <a:pPr>
              <a:defRPr sz="900" b="0" i="0" u="none" strike="noStrike" kern="1200" baseline="0">
                <a:solidFill>
                  <a:schemeClr val="tx2"/>
                </a:solidFill>
                <a:latin typeface="Arial" panose="020B0604020202020204" pitchFamily="34" charset="0"/>
                <a:ea typeface="Arial"/>
                <a:cs typeface="Arial"/>
              </a:defRPr>
            </a:pPr>
            <a:endParaRPr lang="fr-FR"/>
          </a:p>
        </c:txPr>
        <c:crossAx val="363790336"/>
        <c:crosses val="autoZero"/>
        <c:crossBetween val="between"/>
      </c:valAx>
      <c:spPr>
        <a:noFill/>
        <a:ln>
          <a:noFill/>
        </a:ln>
        <a:effectLst/>
        <a:extLst>
          <a:ext uri="{909E8E84-426E-40DD-AFC4-6F175D3DCCD1}">
            <a14:hiddenFill xmlns:a14="http://schemas.microsoft.com/office/drawing/2010/main">
              <a:solidFill>
                <a:srgbClr val="FFFFFF"/>
              </a:solidFill>
            </a14:hiddenFill>
          </a:ext>
        </a:extLst>
      </c:spPr>
    </c:plotArea>
    <c:legend>
      <c:legendPos val="t"/>
      <c:layout>
        <c:manualLayout>
          <c:xMode val="edge"/>
          <c:yMode val="edge"/>
          <c:x val="0"/>
          <c:y val="8.6805555555555559E-3"/>
          <c:w val="1"/>
          <c:h val="8.58546090829555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Arial" panose="020B0604020202020204" pitchFamily="34" charset="0"/>
              <a:ea typeface="Arial"/>
              <a:cs typeface="Arial"/>
            </a:defRPr>
          </a:pPr>
          <a:endParaRPr lang="fr-FR"/>
        </a:p>
      </c:txPr>
    </c:legend>
    <c:plotVisOnly val="1"/>
    <c:dispBlanksAs val="gap"/>
    <c:showDLblsOverMax val="0"/>
  </c:chart>
  <c:spPr>
    <a:noFill/>
    <a:ln w="9525" cap="flat" cmpd="sng" algn="ctr">
      <a:noFill/>
      <a:prstDash val="solid"/>
    </a:ln>
    <a:effectLst/>
    <a:extLst>
      <a:ext uri="{909E8E84-426E-40DD-AFC4-6F175D3DCCD1}">
        <a14:hiddenFill xmlns:a14="http://schemas.microsoft.com/office/drawing/2010/main">
          <a:solidFill>
            <a:srgbClr val="EBF2F5"/>
          </a:solidFill>
        </a14:hiddenFill>
      </a:ext>
    </a:extLst>
  </c:spPr>
  <c:txPr>
    <a:bodyPr/>
    <a:lstStyle/>
    <a:p>
      <a:pPr>
        <a:defRPr sz="900" b="0">
          <a:solidFill>
            <a:schemeClr val="tx2"/>
          </a:solidFill>
          <a:latin typeface="Arial" panose="020B0604020202020204" pitchFamily="34" charset="0"/>
          <a:ea typeface="Arial"/>
          <a:cs typeface="Arial"/>
        </a:defRPr>
      </a:pPr>
      <a:endParaRPr lang="fr-FR"/>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8569703664692814E-2"/>
          <c:y val="0.11978395050710229"/>
          <c:w val="0.84139570788945495"/>
          <c:h val="0.75498516712420705"/>
        </c:manualLayout>
      </c:layout>
      <c:lineChart>
        <c:grouping val="standard"/>
        <c:varyColors val="0"/>
        <c:ser>
          <c:idx val="1"/>
          <c:order val="0"/>
          <c:spPr>
            <a:ln w="25400" cap="rnd" cmpd="sng" algn="ctr">
              <a:solidFill>
                <a:srgbClr val="27338B"/>
              </a:solidFill>
              <a:prstDash val="solid"/>
              <a:round/>
            </a:ln>
            <a:effectLst/>
          </c:spPr>
          <c:marker>
            <c:symbol val="none"/>
          </c:marker>
          <c:cat>
            <c:numRef>
              <c:f>'Macro Analysis'!$B$2:$N$2</c:f>
              <c:numCache>
                <c:formatCode>General</c:formatCod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numCache>
            </c:numRef>
          </c:cat>
          <c:val>
            <c:numRef>
              <c:f>'Macro Analysis'!$B$59:$N$59</c:f>
              <c:numCache>
                <c:formatCode>#,##0_);\(#,##0\);\–_)</c:formatCode>
                <c:ptCount val="13"/>
                <c:pt idx="0">
                  <c:v>1994.7893325163691</c:v>
                </c:pt>
                <c:pt idx="1">
                  <c:v>2069.0405140528801</c:v>
                </c:pt>
                <c:pt idx="2">
                  <c:v>2123.1159580057956</c:v>
                </c:pt>
                <c:pt idx="3">
                  <c:v>2050.1671482974161</c:v>
                </c:pt>
                <c:pt idx="4">
                  <c:v>2219.5627541710269</c:v>
                </c:pt>
                <c:pt idx="5">
                  <c:v>1973.1265051138628</c:v>
                </c:pt>
                <c:pt idx="6">
                  <c:v>1529.249859567243</c:v>
                </c:pt>
                <c:pt idx="7">
                  <c:v>1573.8454471061166</c:v>
                </c:pt>
                <c:pt idx="8">
                  <c:v>1620.0024448915383</c:v>
                </c:pt>
                <c:pt idx="9">
                  <c:v>1793.2401217740871</c:v>
                </c:pt>
                <c:pt idx="10">
                  <c:v>1762.0339441575909</c:v>
                </c:pt>
                <c:pt idx="11">
                  <c:v>2113.3111892370689</c:v>
                </c:pt>
                <c:pt idx="12">
                  <c:v>2233.0984297942932</c:v>
                </c:pt>
              </c:numCache>
            </c:numRef>
          </c:val>
          <c:smooth val="0"/>
          <c:extLst>
            <c:ext xmlns:c16="http://schemas.microsoft.com/office/drawing/2014/chart" uri="{C3380CC4-5D6E-409C-BE32-E72D297353CC}">
              <c16:uniqueId val="{00000000-D40D-46D6-8640-41F0A807FAD5}"/>
            </c:ext>
          </c:extLst>
        </c:ser>
        <c:dLbls>
          <c:showLegendKey val="0"/>
          <c:showVal val="0"/>
          <c:showCatName val="0"/>
          <c:showSerName val="0"/>
          <c:showPercent val="0"/>
          <c:showBubbleSize val="0"/>
        </c:dLbls>
        <c:smooth val="0"/>
        <c:axId val="363790336"/>
        <c:axId val="363791872"/>
      </c:lineChart>
      <c:catAx>
        <c:axId val="363790336"/>
        <c:scaling>
          <c:orientation val="minMax"/>
        </c:scaling>
        <c:delete val="0"/>
        <c:axPos val="b"/>
        <c:numFmt formatCode="General" sourceLinked="1"/>
        <c:majorTickMark val="out"/>
        <c:minorTickMark val="none"/>
        <c:tickLblPos val="nextTo"/>
        <c:spPr>
          <a:noFill/>
          <a:ln w="9525" cap="flat" cmpd="sng" algn="ctr">
            <a:solidFill>
              <a:srgbClr val="32383E"/>
            </a:solidFill>
            <a:prstDash val="solid"/>
            <a:round/>
            <a:headEnd type="none" w="med" len="med"/>
            <a:tailEnd type="none" w="med" len="med"/>
          </a:ln>
          <a:effectLst/>
        </c:spPr>
        <c:txPr>
          <a:bodyPr rot="-5400000" spcFirstLastPara="1" vertOverflow="ellipsis" wrap="square" anchor="ctr" anchorCtr="1"/>
          <a:lstStyle/>
          <a:p>
            <a:pPr>
              <a:defRPr sz="800" b="0" i="0" u="none" strike="noStrike" kern="1200" baseline="0">
                <a:solidFill>
                  <a:schemeClr val="tx2"/>
                </a:solidFill>
                <a:latin typeface="Arial" panose="020B0604020202020204" pitchFamily="34" charset="0"/>
                <a:ea typeface="Arial"/>
                <a:cs typeface="Arial"/>
              </a:defRPr>
            </a:pPr>
            <a:endParaRPr lang="fr-FR"/>
          </a:p>
        </c:txPr>
        <c:crossAx val="363791872"/>
        <c:crosses val="autoZero"/>
        <c:auto val="1"/>
        <c:lblAlgn val="ctr"/>
        <c:lblOffset val="100"/>
        <c:tickMarkSkip val="1"/>
        <c:noMultiLvlLbl val="0"/>
      </c:catAx>
      <c:valAx>
        <c:axId val="363791872"/>
        <c:scaling>
          <c:orientation val="minMax"/>
          <c:min val="1500"/>
        </c:scaling>
        <c:delete val="0"/>
        <c:axPos val="l"/>
        <c:numFmt formatCode="#,##0_);\(#,##0\);\–_)" sourceLinked="1"/>
        <c:majorTickMark val="out"/>
        <c:minorTickMark val="none"/>
        <c:tickLblPos val="nextTo"/>
        <c:spPr>
          <a:noFill/>
          <a:ln w="9525" cap="flat" cmpd="sng" algn="ctr">
            <a:solidFill>
              <a:srgbClr val="32383E"/>
            </a:solidFill>
            <a:prstDash val="solid"/>
            <a:round/>
            <a:headEnd type="none" w="med" len="med"/>
            <a:tailEnd type="none" w="med" len="med"/>
          </a:ln>
          <a:effectLst/>
        </c:spPr>
        <c:txPr>
          <a:bodyPr rot="-60000000" spcFirstLastPara="1" vertOverflow="ellipsis" vert="horz" wrap="square" anchor="ctr" anchorCtr="1"/>
          <a:lstStyle/>
          <a:p>
            <a:pPr>
              <a:defRPr sz="900" b="0" i="0" u="none" strike="noStrike" kern="1200" baseline="0">
                <a:solidFill>
                  <a:schemeClr val="tx2"/>
                </a:solidFill>
                <a:latin typeface="Arial" panose="020B0604020202020204" pitchFamily="34" charset="0"/>
                <a:ea typeface="Arial"/>
                <a:cs typeface="Arial"/>
              </a:defRPr>
            </a:pPr>
            <a:endParaRPr lang="fr-FR"/>
          </a:p>
        </c:txPr>
        <c:crossAx val="363790336"/>
        <c:crosses val="autoZero"/>
        <c:crossBetween val="between"/>
      </c:valAx>
      <c:spPr>
        <a:noFill/>
        <a:ln>
          <a:noFill/>
        </a:ln>
        <a:effectLst/>
        <a:extLst>
          <a:ext uri="{909E8E84-426E-40DD-AFC4-6F175D3DCCD1}">
            <a14:hiddenFill xmlns:a14="http://schemas.microsoft.com/office/drawing/2010/main">
              <a:solidFill>
                <a:srgbClr val="FFFFFF"/>
              </a:solidFill>
            </a14:hiddenFill>
          </a:ext>
        </a:extLst>
      </c:spPr>
    </c:plotArea>
    <c:plotVisOnly val="1"/>
    <c:dispBlanksAs val="gap"/>
    <c:showDLblsOverMax val="0"/>
  </c:chart>
  <c:spPr>
    <a:noFill/>
    <a:ln w="9525" cap="flat" cmpd="sng" algn="ctr">
      <a:noFill/>
      <a:prstDash val="solid"/>
    </a:ln>
    <a:effectLst/>
    <a:extLst>
      <a:ext uri="{909E8E84-426E-40DD-AFC4-6F175D3DCCD1}">
        <a14:hiddenFill xmlns:a14="http://schemas.microsoft.com/office/drawing/2010/main">
          <a:solidFill>
            <a:srgbClr val="EBF2F5"/>
          </a:solidFill>
        </a14:hiddenFill>
      </a:ext>
    </a:extLst>
  </c:spPr>
  <c:txPr>
    <a:bodyPr/>
    <a:lstStyle/>
    <a:p>
      <a:pPr>
        <a:defRPr sz="900" b="0">
          <a:solidFill>
            <a:schemeClr val="tx2"/>
          </a:solidFill>
          <a:latin typeface="Arial" panose="020B0604020202020204" pitchFamily="34" charset="0"/>
          <a:ea typeface="Arial"/>
          <a:cs typeface="Arial"/>
        </a:defRPr>
      </a:pPr>
      <a:endParaRPr lang="fr-FR"/>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5947712418300651E-2"/>
          <c:y val="8.5309648793900784E-3"/>
          <c:w val="0.92810457516339873"/>
          <c:h val="0.91227580927384078"/>
        </c:manualLayout>
      </c:layout>
      <c:barChart>
        <c:barDir val="col"/>
        <c:grouping val="clustered"/>
        <c:varyColors val="0"/>
        <c:ser>
          <c:idx val="0"/>
          <c:order val="0"/>
          <c:spPr>
            <a:solidFill>
              <a:srgbClr val="0077C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ey Figures'!$I$2:$O$2</c:f>
              <c:strCache>
                <c:ptCount val="7"/>
                <c:pt idx="0">
                  <c:v>Q3 2022</c:v>
                </c:pt>
                <c:pt idx="1">
                  <c:v>Q4 2022</c:v>
                </c:pt>
                <c:pt idx="2">
                  <c:v>Q1 2023</c:v>
                </c:pt>
                <c:pt idx="3">
                  <c:v>Q2 2023</c:v>
                </c:pt>
                <c:pt idx="4">
                  <c:v>Q3 2023</c:v>
                </c:pt>
                <c:pt idx="5">
                  <c:v>Q4 2023</c:v>
                </c:pt>
                <c:pt idx="6">
                  <c:v>Q1 2024</c:v>
                </c:pt>
              </c:strCache>
            </c:strRef>
          </c:cat>
          <c:val>
            <c:numRef>
              <c:f>'Key Figures'!$I$37:$O$37</c:f>
              <c:numCache>
                <c:formatCode>#,##0_);\(#,##0\);\–_)</c:formatCode>
                <c:ptCount val="7"/>
                <c:pt idx="0">
                  <c:v>1784</c:v>
                </c:pt>
                <c:pt idx="1">
                  <c:v>1681</c:v>
                </c:pt>
                <c:pt idx="2">
                  <c:v>1894</c:v>
                </c:pt>
                <c:pt idx="3">
                  <c:v>1724</c:v>
                </c:pt>
                <c:pt idx="4">
                  <c:v>1679</c:v>
                </c:pt>
                <c:pt idx="5">
                  <c:v>1470</c:v>
                </c:pt>
                <c:pt idx="6">
                  <c:v>1551</c:v>
                </c:pt>
              </c:numCache>
            </c:numRef>
          </c:val>
          <c:extLst>
            <c:ext xmlns:c16="http://schemas.microsoft.com/office/drawing/2014/chart" uri="{C3380CC4-5D6E-409C-BE32-E72D297353CC}">
              <c16:uniqueId val="{00000000-FB29-4C8D-B0CD-532381E0B0F3}"/>
            </c:ext>
          </c:extLst>
        </c:ser>
        <c:dLbls>
          <c:showLegendKey val="0"/>
          <c:showVal val="0"/>
          <c:showCatName val="0"/>
          <c:showSerName val="0"/>
          <c:showPercent val="0"/>
          <c:showBubbleSize val="0"/>
        </c:dLbls>
        <c:gapWidth val="100"/>
        <c:axId val="721451240"/>
        <c:axId val="721448944"/>
      </c:barChart>
      <c:catAx>
        <c:axId val="721451240"/>
        <c:scaling>
          <c:orientation val="minMax"/>
        </c:scaling>
        <c:delete val="0"/>
        <c:axPos val="b"/>
        <c:numFmt formatCode="General" sourceLinked="1"/>
        <c:majorTickMark val="none"/>
        <c:minorTickMark val="none"/>
        <c:tickLblPos val="nextTo"/>
        <c:spPr>
          <a:noFill/>
          <a:ln w="6350" cap="flat" cmpd="sng" algn="ctr">
            <a:solidFill>
              <a:schemeClr val="accent4"/>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21448944"/>
        <c:crosses val="autoZero"/>
        <c:auto val="1"/>
        <c:lblAlgn val="ctr"/>
        <c:lblOffset val="100"/>
        <c:noMultiLvlLbl val="0"/>
      </c:catAx>
      <c:valAx>
        <c:axId val="721448944"/>
        <c:scaling>
          <c:orientation val="minMax"/>
          <c:max val="2200"/>
        </c:scaling>
        <c:delete val="0"/>
        <c:axPos val="l"/>
        <c:numFmt formatCode="#,##0_);\(#,##0\);\–_)"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21451240"/>
        <c:crosses val="autoZero"/>
        <c:crossBetween val="between"/>
      </c:valAx>
      <c:spPr>
        <a:noFill/>
        <a:ln>
          <a:noFill/>
        </a:ln>
        <a:effectLst/>
      </c:spPr>
    </c:plotArea>
    <c:plotVisOnly val="1"/>
    <c:dispBlanksAs val="gap"/>
    <c:showDLblsOverMax val="0"/>
    <c:extLst/>
  </c:chart>
  <c:spPr>
    <a:solidFill>
      <a:schemeClr val="bg1"/>
    </a:solidFill>
    <a:ln w="9525" cap="flat" cmpd="sng" algn="ctr">
      <a:noFill/>
      <a:round/>
    </a:ln>
    <a:effectLst/>
  </c:spPr>
  <c:txPr>
    <a:bodyPr/>
    <a:lstStyle/>
    <a:p>
      <a:pPr>
        <a:defRPr/>
      </a:pPr>
      <a:endParaRPr lang="fr-FR"/>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5947721668396292E-2"/>
          <c:y val="4.4167544537451676E-2"/>
          <c:w val="0.92810455666320746"/>
          <c:h val="0.77764383782755997"/>
        </c:manualLayout>
      </c:layout>
      <c:barChart>
        <c:barDir val="col"/>
        <c:grouping val="stacked"/>
        <c:varyColors val="0"/>
        <c:ser>
          <c:idx val="0"/>
          <c:order val="0"/>
          <c:tx>
            <c:strRef>
              <c:f>Debt!$B$25</c:f>
              <c:strCache>
                <c:ptCount val="1"/>
                <c:pt idx="0">
                  <c:v>Cash and cash equivalent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C$24:$I$24</c:f>
              <c:strCache>
                <c:ptCount val="7"/>
                <c:pt idx="0">
                  <c:v>Q3 2022</c:v>
                </c:pt>
                <c:pt idx="1">
                  <c:v>Q4 2022</c:v>
                </c:pt>
                <c:pt idx="2">
                  <c:v>Q1 2023</c:v>
                </c:pt>
                <c:pt idx="3">
                  <c:v>Q2 2023</c:v>
                </c:pt>
                <c:pt idx="4">
                  <c:v>Q3 2023</c:v>
                </c:pt>
                <c:pt idx="5">
                  <c:v>Q4 2023</c:v>
                </c:pt>
                <c:pt idx="6">
                  <c:v>Q1 2024</c:v>
                </c:pt>
              </c:strCache>
            </c:strRef>
          </c:cat>
          <c:val>
            <c:numRef>
              <c:f>Debt!$C$25:$I$25</c:f>
              <c:numCache>
                <c:formatCode>#,##0_);\(#,##0\);\–_)</c:formatCode>
                <c:ptCount val="7"/>
                <c:pt idx="0">
                  <c:v>291</c:v>
                </c:pt>
                <c:pt idx="1">
                  <c:v>552</c:v>
                </c:pt>
                <c:pt idx="2">
                  <c:v>894</c:v>
                </c:pt>
                <c:pt idx="3">
                  <c:v>855</c:v>
                </c:pt>
                <c:pt idx="4">
                  <c:v>938</c:v>
                </c:pt>
                <c:pt idx="5">
                  <c:v>900</c:v>
                </c:pt>
                <c:pt idx="6">
                  <c:v>1066</c:v>
                </c:pt>
              </c:numCache>
            </c:numRef>
          </c:val>
          <c:extLst>
            <c:ext xmlns:c16="http://schemas.microsoft.com/office/drawing/2014/chart" uri="{C3380CC4-5D6E-409C-BE32-E72D297353CC}">
              <c16:uniqueId val="{00000000-FDC2-43E9-B20F-CB974D798021}"/>
            </c:ext>
          </c:extLst>
        </c:ser>
        <c:ser>
          <c:idx val="1"/>
          <c:order val="1"/>
          <c:tx>
            <c:strRef>
              <c:f>Debt!$B$26</c:f>
              <c:strCache>
                <c:ptCount val="1"/>
                <c:pt idx="0">
                  <c:v>Available RCF</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C$24:$I$24</c:f>
              <c:strCache>
                <c:ptCount val="7"/>
                <c:pt idx="0">
                  <c:v>Q3 2022</c:v>
                </c:pt>
                <c:pt idx="1">
                  <c:v>Q4 2022</c:v>
                </c:pt>
                <c:pt idx="2">
                  <c:v>Q1 2023</c:v>
                </c:pt>
                <c:pt idx="3">
                  <c:v>Q2 2023</c:v>
                </c:pt>
                <c:pt idx="4">
                  <c:v>Q3 2023</c:v>
                </c:pt>
                <c:pt idx="5">
                  <c:v>Q4 2023</c:v>
                </c:pt>
                <c:pt idx="6">
                  <c:v>Q1 2024</c:v>
                </c:pt>
              </c:strCache>
            </c:strRef>
          </c:cat>
          <c:val>
            <c:numRef>
              <c:f>Debt!$C$26:$I$26</c:f>
              <c:numCache>
                <c:formatCode>#,##0_);\(#,##0\);\–_)</c:formatCode>
                <c:ptCount val="7"/>
                <c:pt idx="0">
                  <c:v>412</c:v>
                </c:pt>
                <c:pt idx="1">
                  <c:v>462</c:v>
                </c:pt>
                <c:pt idx="2">
                  <c:v>312</c:v>
                </c:pt>
                <c:pt idx="3">
                  <c:v>462</c:v>
                </c:pt>
                <c:pt idx="4">
                  <c:v>462</c:v>
                </c:pt>
                <c:pt idx="5">
                  <c:v>462</c:v>
                </c:pt>
                <c:pt idx="6">
                  <c:v>462</c:v>
                </c:pt>
              </c:numCache>
            </c:numRef>
          </c:val>
          <c:extLst>
            <c:ext xmlns:c16="http://schemas.microsoft.com/office/drawing/2014/chart" uri="{C3380CC4-5D6E-409C-BE32-E72D297353CC}">
              <c16:uniqueId val="{00000001-FDC2-43E9-B20F-CB974D798021}"/>
            </c:ext>
          </c:extLst>
        </c:ser>
        <c:ser>
          <c:idx val="2"/>
          <c:order val="2"/>
          <c:tx>
            <c:strRef>
              <c:f>Debt!$B$27</c:f>
              <c:strCache>
                <c:ptCount val="1"/>
                <c:pt idx="0">
                  <c:v>Available ABL</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4023-477B-8965-ECD6E2C606DF}"/>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C$24:$I$24</c:f>
              <c:strCache>
                <c:ptCount val="7"/>
                <c:pt idx="0">
                  <c:v>Q3 2022</c:v>
                </c:pt>
                <c:pt idx="1">
                  <c:v>Q4 2022</c:v>
                </c:pt>
                <c:pt idx="2">
                  <c:v>Q1 2023</c:v>
                </c:pt>
                <c:pt idx="3">
                  <c:v>Q2 2023</c:v>
                </c:pt>
                <c:pt idx="4">
                  <c:v>Q3 2023</c:v>
                </c:pt>
                <c:pt idx="5">
                  <c:v>Q4 2023</c:v>
                </c:pt>
                <c:pt idx="6">
                  <c:v>Q1 2024</c:v>
                </c:pt>
              </c:strCache>
            </c:strRef>
          </c:cat>
          <c:val>
            <c:numRef>
              <c:f>Debt!$C$27:$I$27</c:f>
              <c:numCache>
                <c:formatCode>#,##0_);\(#,##0\);\–_)</c:formatCode>
                <c:ptCount val="7"/>
                <c:pt idx="0">
                  <c:v>0</c:v>
                </c:pt>
                <c:pt idx="1">
                  <c:v>188.91805737858616</c:v>
                </c:pt>
                <c:pt idx="2">
                  <c:v>185</c:v>
                </c:pt>
                <c:pt idx="3">
                  <c:v>181</c:v>
                </c:pt>
                <c:pt idx="4">
                  <c:v>189.64267887483484</c:v>
                </c:pt>
                <c:pt idx="5">
                  <c:v>177</c:v>
                </c:pt>
                <c:pt idx="6">
                  <c:v>186</c:v>
                </c:pt>
              </c:numCache>
            </c:numRef>
          </c:val>
          <c:extLst>
            <c:ext xmlns:c16="http://schemas.microsoft.com/office/drawing/2014/chart" uri="{C3380CC4-5D6E-409C-BE32-E72D297353CC}">
              <c16:uniqueId val="{00000002-FDC2-43E9-B20F-CB974D798021}"/>
            </c:ext>
          </c:extLst>
        </c:ser>
        <c:dLbls>
          <c:showLegendKey val="0"/>
          <c:showVal val="0"/>
          <c:showCatName val="0"/>
          <c:showSerName val="0"/>
          <c:showPercent val="0"/>
          <c:showBubbleSize val="0"/>
        </c:dLbls>
        <c:gapWidth val="75"/>
        <c:overlap val="100"/>
        <c:axId val="721451240"/>
        <c:axId val="721448944"/>
      </c:barChart>
      <c:lineChart>
        <c:grouping val="standard"/>
        <c:varyColors val="0"/>
        <c:ser>
          <c:idx val="3"/>
          <c:order val="3"/>
          <c:tx>
            <c:strRef>
              <c:f>Debt!$B$28</c:f>
              <c:strCache>
                <c:ptCount val="1"/>
                <c:pt idx="0">
                  <c:v>Total liquidity</c:v>
                </c:pt>
              </c:strCache>
            </c:strRef>
          </c:tx>
          <c:spPr>
            <a:ln w="25400"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bt!$C$24:$I$24</c:f>
              <c:strCache>
                <c:ptCount val="7"/>
                <c:pt idx="0">
                  <c:v>Q3 2022</c:v>
                </c:pt>
                <c:pt idx="1">
                  <c:v>Q4 2022</c:v>
                </c:pt>
                <c:pt idx="2">
                  <c:v>Q1 2023</c:v>
                </c:pt>
                <c:pt idx="3">
                  <c:v>Q2 2023</c:v>
                </c:pt>
                <c:pt idx="4">
                  <c:v>Q3 2023</c:v>
                </c:pt>
                <c:pt idx="5">
                  <c:v>Q4 2023</c:v>
                </c:pt>
                <c:pt idx="6">
                  <c:v>Q1 2024</c:v>
                </c:pt>
              </c:strCache>
            </c:strRef>
          </c:cat>
          <c:val>
            <c:numRef>
              <c:f>Debt!$C$28:$I$28</c:f>
              <c:numCache>
                <c:formatCode>#,##0_);\(#,##0\);\–_)</c:formatCode>
                <c:ptCount val="7"/>
                <c:pt idx="0">
                  <c:v>703</c:v>
                </c:pt>
                <c:pt idx="1">
                  <c:v>1202.9180573785861</c:v>
                </c:pt>
                <c:pt idx="2">
                  <c:v>1391</c:v>
                </c:pt>
                <c:pt idx="3">
                  <c:v>1498</c:v>
                </c:pt>
                <c:pt idx="4">
                  <c:v>1589.6426788748349</c:v>
                </c:pt>
                <c:pt idx="5">
                  <c:v>1539</c:v>
                </c:pt>
                <c:pt idx="6">
                  <c:v>1714</c:v>
                </c:pt>
              </c:numCache>
            </c:numRef>
          </c:val>
          <c:smooth val="0"/>
          <c:extLst>
            <c:ext xmlns:c16="http://schemas.microsoft.com/office/drawing/2014/chart" uri="{C3380CC4-5D6E-409C-BE32-E72D297353CC}">
              <c16:uniqueId val="{0000000C-5909-471B-B26A-B3C1142DC2E3}"/>
            </c:ext>
          </c:extLst>
        </c:ser>
        <c:dLbls>
          <c:showLegendKey val="0"/>
          <c:showVal val="0"/>
          <c:showCatName val="0"/>
          <c:showSerName val="0"/>
          <c:showPercent val="0"/>
          <c:showBubbleSize val="0"/>
        </c:dLbls>
        <c:marker val="1"/>
        <c:smooth val="0"/>
        <c:axId val="721451240"/>
        <c:axId val="721448944"/>
      </c:lineChart>
      <c:catAx>
        <c:axId val="721451240"/>
        <c:scaling>
          <c:orientation val="minMax"/>
        </c:scaling>
        <c:delete val="0"/>
        <c:axPos val="b"/>
        <c:numFmt formatCode="General" sourceLinked="1"/>
        <c:majorTickMark val="none"/>
        <c:minorTickMark val="none"/>
        <c:tickLblPos val="nextTo"/>
        <c:spPr>
          <a:noFill/>
          <a:ln w="6350" cap="flat" cmpd="sng" algn="ctr">
            <a:solidFill>
              <a:schemeClr val="accent4"/>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21448944"/>
        <c:crosses val="autoZero"/>
        <c:auto val="1"/>
        <c:lblAlgn val="ctr"/>
        <c:lblOffset val="100"/>
        <c:noMultiLvlLbl val="0"/>
      </c:catAx>
      <c:valAx>
        <c:axId val="721448944"/>
        <c:scaling>
          <c:orientation val="minMax"/>
        </c:scaling>
        <c:delete val="1"/>
        <c:axPos val="l"/>
        <c:numFmt formatCode="#,##0_);\(#,##0\);\–_)" sourceLinked="1"/>
        <c:majorTickMark val="none"/>
        <c:minorTickMark val="none"/>
        <c:tickLblPos val="nextTo"/>
        <c:crossAx val="721451240"/>
        <c:crosses val="autoZero"/>
        <c:crossBetween val="between"/>
      </c:valAx>
      <c:spPr>
        <a:noFill/>
        <a:ln>
          <a:noFill/>
        </a:ln>
        <a:effectLst/>
      </c:spPr>
    </c:plotArea>
    <c:legend>
      <c:legendPos val="b"/>
      <c:legendEntry>
        <c:idx val="3"/>
        <c:delete val="1"/>
      </c:legendEntry>
      <c:layout>
        <c:manualLayout>
          <c:xMode val="edge"/>
          <c:yMode val="edge"/>
          <c:x val="1.6125525224004227E-2"/>
          <c:y val="0.92768166018967269"/>
          <c:w val="0.89999997426791578"/>
          <c:h val="6.404104261962544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extLst/>
  </c:chart>
  <c:spPr>
    <a:solidFill>
      <a:schemeClr val="bg1"/>
    </a:solidFill>
    <a:ln w="9525" cap="flat" cmpd="sng" algn="ctr">
      <a:noFill/>
      <a:round/>
    </a:ln>
    <a:effectLst/>
  </c:spPr>
  <c:txPr>
    <a:bodyPr/>
    <a:lstStyle/>
    <a:p>
      <a:pPr>
        <a:defRPr/>
      </a:pPr>
      <a:endParaRPr lang="fr-FR"/>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5947712418300651E-2"/>
          <c:y val="0"/>
          <c:w val="0.92810457516339873"/>
          <c:h val="0.75303197353913998"/>
        </c:manualLayout>
      </c:layout>
      <c:barChart>
        <c:barDir val="col"/>
        <c:grouping val="stacked"/>
        <c:varyColors val="0"/>
        <c:ser>
          <c:idx val="0"/>
          <c:order val="0"/>
          <c:tx>
            <c:strRef>
              <c:f>'Refi Charts'!$E$4</c:f>
              <c:strCache>
                <c:ptCount val="1"/>
                <c:pt idx="0">
                  <c:v>End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fi Charts'!$B$5:$B$11</c:f>
              <c:strCache>
                <c:ptCount val="7"/>
                <c:pt idx="0">
                  <c:v>Gross Debt
as of Q1 2024</c:v>
                </c:pt>
                <c:pt idx="1">
                  <c:v>8.500% Bonds
Repaid</c:v>
                </c:pt>
                <c:pt idx="2">
                  <c:v>1.837% PGE
Repaid</c:v>
                </c:pt>
                <c:pt idx="3">
                  <c:v>1.837% PGE Repaid
by Year-End</c:v>
                </c:pt>
                <c:pt idx="4">
                  <c:v>New 7.500%
USD Senior Notes</c:v>
                </c:pt>
                <c:pt idx="5">
                  <c:v>Fair Value
Accounting Effects</c:v>
                </c:pt>
                <c:pt idx="6">
                  <c:v>Pro Forma Q1 2024 Gross Debt</c:v>
                </c:pt>
              </c:strCache>
            </c:strRef>
          </c:cat>
          <c:val>
            <c:numRef>
              <c:f>'Refi Charts'!$E$5:$E$11</c:f>
              <c:numCache>
                <c:formatCode>General</c:formatCode>
                <c:ptCount val="7"/>
                <c:pt idx="0" formatCode="#,##0_);\(#,##0\);\–_)">
                  <c:v>1551</c:v>
                </c:pt>
                <c:pt idx="6" formatCode="#,##0_);\(#,##0\);\–_)">
                  <c:v>923.37199999999996</c:v>
                </c:pt>
              </c:numCache>
            </c:numRef>
          </c:val>
          <c:extLst>
            <c:ext xmlns:c16="http://schemas.microsoft.com/office/drawing/2014/chart" uri="{C3380CC4-5D6E-409C-BE32-E72D297353CC}">
              <c16:uniqueId val="{00000000-95A5-47DB-B157-6901E3434664}"/>
            </c:ext>
          </c:extLst>
        </c:ser>
        <c:ser>
          <c:idx val="1"/>
          <c:order val="1"/>
          <c:tx>
            <c:strRef>
              <c:f>'Refi Charts'!$F$4</c:f>
              <c:strCache>
                <c:ptCount val="1"/>
                <c:pt idx="0">
                  <c:v>Invisible</c:v>
                </c:pt>
              </c:strCache>
            </c:strRef>
          </c:tx>
          <c:spPr>
            <a:noFill/>
            <a:ln>
              <a:noFill/>
            </a:ln>
            <a:effectLst/>
          </c:spPr>
          <c:invertIfNegative val="0"/>
          <c:dLbls>
            <c:delete val="1"/>
          </c:dLbls>
          <c:cat>
            <c:strRef>
              <c:f>'Refi Charts'!$B$5:$B$11</c:f>
              <c:strCache>
                <c:ptCount val="7"/>
                <c:pt idx="0">
                  <c:v>Gross Debt
as of Q1 2024</c:v>
                </c:pt>
                <c:pt idx="1">
                  <c:v>8.500% Bonds
Repaid</c:v>
                </c:pt>
                <c:pt idx="2">
                  <c:v>1.837% PGE
Repaid</c:v>
                </c:pt>
                <c:pt idx="3">
                  <c:v>1.837% PGE Repaid
by Year-End</c:v>
                </c:pt>
                <c:pt idx="4">
                  <c:v>New 7.500%
USD Senior Notes</c:v>
                </c:pt>
                <c:pt idx="5">
                  <c:v>Fair Value
Accounting Effects</c:v>
                </c:pt>
                <c:pt idx="6">
                  <c:v>Pro Forma Q1 2024 Gross Debt</c:v>
                </c:pt>
              </c:strCache>
            </c:strRef>
          </c:cat>
          <c:val>
            <c:numRef>
              <c:f>'Refi Charts'!$F$5:$F$11</c:f>
              <c:numCache>
                <c:formatCode>#,##0_);\(#,##0\);\–_)</c:formatCode>
                <c:ptCount val="7"/>
                <c:pt idx="1">
                  <c:v>528</c:v>
                </c:pt>
                <c:pt idx="2">
                  <c:v>460</c:v>
                </c:pt>
                <c:pt idx="3">
                  <c:v>266</c:v>
                </c:pt>
                <c:pt idx="4">
                  <c:v>266</c:v>
                </c:pt>
                <c:pt idx="5">
                  <c:v>923.37199999999996</c:v>
                </c:pt>
              </c:numCache>
            </c:numRef>
          </c:val>
          <c:extLst>
            <c:ext xmlns:c16="http://schemas.microsoft.com/office/drawing/2014/chart" uri="{C3380CC4-5D6E-409C-BE32-E72D297353CC}">
              <c16:uniqueId val="{00000001-95A5-47DB-B157-6901E3434664}"/>
            </c:ext>
          </c:extLst>
        </c:ser>
        <c:ser>
          <c:idx val="2"/>
          <c:order val="2"/>
          <c:tx>
            <c:strRef>
              <c:f>'Refi Charts'!$G$4</c:f>
              <c:strCache>
                <c:ptCount val="1"/>
                <c:pt idx="0">
                  <c:v>Positive</c:v>
                </c:pt>
              </c:strCache>
            </c:strRef>
          </c:tx>
          <c:spPr>
            <a:solidFill>
              <a:srgbClr val="47AB7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fi Charts'!$B$5:$B$11</c:f>
              <c:strCache>
                <c:ptCount val="7"/>
                <c:pt idx="0">
                  <c:v>Gross Debt
as of Q1 2024</c:v>
                </c:pt>
                <c:pt idx="1">
                  <c:v>8.500% Bonds
Repaid</c:v>
                </c:pt>
                <c:pt idx="2">
                  <c:v>1.837% PGE
Repaid</c:v>
                </c:pt>
                <c:pt idx="3">
                  <c:v>1.837% PGE Repaid
by Year-End</c:v>
                </c:pt>
                <c:pt idx="4">
                  <c:v>New 7.500%
USD Senior Notes</c:v>
                </c:pt>
                <c:pt idx="5">
                  <c:v>Fair Value
Accounting Effects</c:v>
                </c:pt>
                <c:pt idx="6">
                  <c:v>Pro Forma Q1 2024 Gross Debt</c:v>
                </c:pt>
              </c:strCache>
            </c:strRef>
          </c:cat>
          <c:val>
            <c:numRef>
              <c:f>'Refi Charts'!$G$5:$G$11</c:f>
              <c:numCache>
                <c:formatCode>#,##0_);\(#,##0\);\–_)</c:formatCode>
                <c:ptCount val="7"/>
                <c:pt idx="1">
                  <c:v>#N/A</c:v>
                </c:pt>
                <c:pt idx="2">
                  <c:v>#N/A</c:v>
                </c:pt>
                <c:pt idx="3">
                  <c:v>#N/A</c:v>
                </c:pt>
                <c:pt idx="4">
                  <c:v>750</c:v>
                </c:pt>
                <c:pt idx="5">
                  <c:v>#N/A</c:v>
                </c:pt>
              </c:numCache>
            </c:numRef>
          </c:val>
          <c:extLst>
            <c:ext xmlns:c16="http://schemas.microsoft.com/office/drawing/2014/chart" uri="{C3380CC4-5D6E-409C-BE32-E72D297353CC}">
              <c16:uniqueId val="{00000002-95A5-47DB-B157-6901E3434664}"/>
            </c:ext>
          </c:extLst>
        </c:ser>
        <c:ser>
          <c:idx val="3"/>
          <c:order val="3"/>
          <c:tx>
            <c:strRef>
              <c:f>'Refi Charts'!$H$4</c:f>
              <c:strCache>
                <c:ptCount val="1"/>
                <c:pt idx="0">
                  <c:v>Negative</c:v>
                </c:pt>
              </c:strCache>
            </c:strRef>
          </c:tx>
          <c:spPr>
            <a:solidFill>
              <a:schemeClr val="accent4"/>
            </a:solidFill>
            <a:ln>
              <a:noFill/>
            </a:ln>
            <a:effectLst/>
          </c:spPr>
          <c:invertIfNegative val="0"/>
          <c:dLbls>
            <c:dLbl>
              <c:idx val="2"/>
              <c:layout>
                <c:manualLayout>
                  <c:x val="-5.9912161920094089E-17"/>
                  <c:y val="3.528114663726571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847-4D80-B3D2-84B56952C4F7}"/>
                </c:ext>
              </c:extLst>
            </c:dLbl>
            <c:dLbl>
              <c:idx val="5"/>
              <c:layout>
                <c:manualLayout>
                  <c:x val="0"/>
                  <c:y val="3.969128996692388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847-4D80-B3D2-84B56952C4F7}"/>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fi Charts'!$B$5:$B$11</c:f>
              <c:strCache>
                <c:ptCount val="7"/>
                <c:pt idx="0">
                  <c:v>Gross Debt
as of Q1 2024</c:v>
                </c:pt>
                <c:pt idx="1">
                  <c:v>8.500% Bonds
Repaid</c:v>
                </c:pt>
                <c:pt idx="2">
                  <c:v>1.837% PGE
Repaid</c:v>
                </c:pt>
                <c:pt idx="3">
                  <c:v>1.837% PGE Repaid
by Year-End</c:v>
                </c:pt>
                <c:pt idx="4">
                  <c:v>New 7.500%
USD Senior Notes</c:v>
                </c:pt>
                <c:pt idx="5">
                  <c:v>Fair Value
Accounting Effects</c:v>
                </c:pt>
                <c:pt idx="6">
                  <c:v>Pro Forma Q1 2024 Gross Debt</c:v>
                </c:pt>
              </c:strCache>
            </c:strRef>
          </c:cat>
          <c:val>
            <c:numRef>
              <c:f>'Refi Charts'!$H$5:$H$11</c:f>
              <c:numCache>
                <c:formatCode>#,##0_);\(#,##0\);\–_)</c:formatCode>
                <c:ptCount val="7"/>
                <c:pt idx="1">
                  <c:v>1023</c:v>
                </c:pt>
                <c:pt idx="2">
                  <c:v>68</c:v>
                </c:pt>
                <c:pt idx="3">
                  <c:v>194</c:v>
                </c:pt>
                <c:pt idx="4">
                  <c:v>#N/A</c:v>
                </c:pt>
                <c:pt idx="5">
                  <c:v>92.628</c:v>
                </c:pt>
              </c:numCache>
            </c:numRef>
          </c:val>
          <c:extLst>
            <c:ext xmlns:c16="http://schemas.microsoft.com/office/drawing/2014/chart" uri="{C3380CC4-5D6E-409C-BE32-E72D297353CC}">
              <c16:uniqueId val="{00000003-95A5-47DB-B157-6901E3434664}"/>
            </c:ext>
          </c:extLst>
        </c:ser>
        <c:dLbls>
          <c:showLegendKey val="0"/>
          <c:showVal val="1"/>
          <c:showCatName val="0"/>
          <c:showSerName val="0"/>
          <c:showPercent val="0"/>
          <c:showBubbleSize val="0"/>
        </c:dLbls>
        <c:gapWidth val="75"/>
        <c:overlap val="100"/>
        <c:axId val="698935896"/>
        <c:axId val="698937208"/>
      </c:barChart>
      <c:catAx>
        <c:axId val="698935896"/>
        <c:scaling>
          <c:orientation val="minMax"/>
        </c:scaling>
        <c:delete val="0"/>
        <c:axPos val="b"/>
        <c:numFmt formatCode="General" sourceLinked="1"/>
        <c:majorTickMark val="none"/>
        <c:minorTickMark val="none"/>
        <c:tickLblPos val="none"/>
        <c:spPr>
          <a:noFill/>
          <a:ln w="6350" cap="flat" cmpd="sng" algn="ctr">
            <a:solidFill>
              <a:schemeClr val="accent4"/>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98937208"/>
        <c:crosses val="autoZero"/>
        <c:auto val="1"/>
        <c:lblAlgn val="ctr"/>
        <c:lblOffset val="100"/>
        <c:noMultiLvlLbl val="0"/>
      </c:catAx>
      <c:valAx>
        <c:axId val="698937208"/>
        <c:scaling>
          <c:orientation val="minMax"/>
        </c:scaling>
        <c:delete val="0"/>
        <c:axPos val="l"/>
        <c:numFmt formatCode="#,##0_);\(#,##0\);\–_)"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98935896"/>
        <c:crosses val="autoZero"/>
        <c:crossBetween val="between"/>
      </c:valAx>
      <c:spPr>
        <a:noFill/>
        <a:ln>
          <a:noFill/>
        </a:ln>
        <a:effectLst/>
      </c:spPr>
    </c:plotArea>
    <c:plotVisOnly val="1"/>
    <c:dispBlanksAs val="gap"/>
    <c:showDLblsOverMax val="0"/>
    <c:extLst/>
  </c:chart>
  <c:spPr>
    <a:solidFill>
      <a:schemeClr val="bg1"/>
    </a:solidFill>
    <a:ln w="9525" cap="flat" cmpd="sng" algn="ctr">
      <a:noFill/>
      <a:round/>
    </a:ln>
    <a:effectLst/>
  </c:spPr>
  <c:txPr>
    <a:bodyPr/>
    <a:lstStyle/>
    <a:p>
      <a:pPr>
        <a:defRPr/>
      </a:pPr>
      <a:endParaRPr lang="fr-FR"/>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5947712418300651E-2"/>
          <c:y val="0"/>
          <c:w val="0.92810457516339873"/>
          <c:h val="0.75303197353913998"/>
        </c:manualLayout>
      </c:layout>
      <c:barChart>
        <c:barDir val="col"/>
        <c:grouping val="stacked"/>
        <c:varyColors val="0"/>
        <c:ser>
          <c:idx val="0"/>
          <c:order val="0"/>
          <c:tx>
            <c:strRef>
              <c:f>'Refi Charts'!$E$4</c:f>
              <c:strCache>
                <c:ptCount val="1"/>
                <c:pt idx="0">
                  <c:v>End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fi Charts'!$B$22:$B$27</c:f>
              <c:strCache>
                <c:ptCount val="6"/>
                <c:pt idx="0">
                  <c:v>Liquidity as of Q1 2024</c:v>
                </c:pt>
                <c:pt idx="1">
                  <c:v>Cash used in transaction3</c:v>
                </c:pt>
                <c:pt idx="2">
                  <c:v>Incremental PGE paydown</c:v>
                </c:pt>
                <c:pt idx="3">
                  <c:v>Increased RCF capacity</c:v>
                </c:pt>
                <c:pt idx="4">
                  <c:v>Increased ABL Capacity</c:v>
                </c:pt>
                <c:pt idx="5">
                  <c:v>Pro forma liqudity in Q1</c:v>
                </c:pt>
              </c:strCache>
            </c:strRef>
          </c:cat>
          <c:val>
            <c:numRef>
              <c:f>'Refi Charts'!$E$22:$E$27</c:f>
              <c:numCache>
                <c:formatCode>General</c:formatCode>
                <c:ptCount val="6"/>
                <c:pt idx="0" formatCode="#,##0_);\(#,##0\);\–_)">
                  <c:v>1714</c:v>
                </c:pt>
                <c:pt idx="5" formatCode="#,##0_);\(#,##0\);\–_)">
                  <c:v>1340.6</c:v>
                </c:pt>
              </c:numCache>
            </c:numRef>
          </c:val>
          <c:extLst>
            <c:ext xmlns:c16="http://schemas.microsoft.com/office/drawing/2014/chart" uri="{C3380CC4-5D6E-409C-BE32-E72D297353CC}">
              <c16:uniqueId val="{00000000-019E-4084-B721-B4035FEED385}"/>
            </c:ext>
          </c:extLst>
        </c:ser>
        <c:ser>
          <c:idx val="1"/>
          <c:order val="1"/>
          <c:tx>
            <c:strRef>
              <c:f>'Refi Charts'!$F$4</c:f>
              <c:strCache>
                <c:ptCount val="1"/>
                <c:pt idx="0">
                  <c:v>Invisible</c:v>
                </c:pt>
              </c:strCache>
            </c:strRef>
          </c:tx>
          <c:spPr>
            <a:noFill/>
            <a:ln>
              <a:noFill/>
            </a:ln>
            <a:effectLst/>
          </c:spPr>
          <c:invertIfNegative val="0"/>
          <c:dLbls>
            <c:delete val="1"/>
          </c:dLbls>
          <c:cat>
            <c:strRef>
              <c:f>'Refi Charts'!$B$22:$B$27</c:f>
              <c:strCache>
                <c:ptCount val="6"/>
                <c:pt idx="0">
                  <c:v>Liquidity as of Q1 2024</c:v>
                </c:pt>
                <c:pt idx="1">
                  <c:v>Cash used in transaction3</c:v>
                </c:pt>
                <c:pt idx="2">
                  <c:v>Incremental PGE paydown</c:v>
                </c:pt>
                <c:pt idx="3">
                  <c:v>Increased RCF capacity</c:v>
                </c:pt>
                <c:pt idx="4">
                  <c:v>Increased ABL Capacity</c:v>
                </c:pt>
                <c:pt idx="5">
                  <c:v>Pro forma liqudity in Q1</c:v>
                </c:pt>
              </c:strCache>
            </c:strRef>
          </c:cat>
          <c:val>
            <c:numRef>
              <c:f>'Refi Charts'!$F$22:$F$27</c:f>
              <c:numCache>
                <c:formatCode>#,##0_);\(#,##0\);\–_)</c:formatCode>
                <c:ptCount val="6"/>
                <c:pt idx="1">
                  <c:v>1317.6</c:v>
                </c:pt>
                <c:pt idx="2">
                  <c:v>1123.5999999999999</c:v>
                </c:pt>
                <c:pt idx="3">
                  <c:v>1123.5999999999999</c:v>
                </c:pt>
                <c:pt idx="4">
                  <c:v>1211.5999999999999</c:v>
                </c:pt>
              </c:numCache>
            </c:numRef>
          </c:val>
          <c:extLst>
            <c:ext xmlns:c16="http://schemas.microsoft.com/office/drawing/2014/chart" uri="{C3380CC4-5D6E-409C-BE32-E72D297353CC}">
              <c16:uniqueId val="{00000001-019E-4084-B721-B4035FEED385}"/>
            </c:ext>
          </c:extLst>
        </c:ser>
        <c:ser>
          <c:idx val="2"/>
          <c:order val="2"/>
          <c:tx>
            <c:strRef>
              <c:f>'Refi Charts'!$G$4</c:f>
              <c:strCache>
                <c:ptCount val="1"/>
                <c:pt idx="0">
                  <c:v>Positive</c:v>
                </c:pt>
              </c:strCache>
            </c:strRef>
          </c:tx>
          <c:spPr>
            <a:solidFill>
              <a:srgbClr val="47AB7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fi Charts'!$B$22:$B$27</c:f>
              <c:strCache>
                <c:ptCount val="6"/>
                <c:pt idx="0">
                  <c:v>Liquidity as of Q1 2024</c:v>
                </c:pt>
                <c:pt idx="1">
                  <c:v>Cash used in transaction3</c:v>
                </c:pt>
                <c:pt idx="2">
                  <c:v>Incremental PGE paydown</c:v>
                </c:pt>
                <c:pt idx="3">
                  <c:v>Increased RCF capacity</c:v>
                </c:pt>
                <c:pt idx="4">
                  <c:v>Increased ABL Capacity</c:v>
                </c:pt>
                <c:pt idx="5">
                  <c:v>Pro forma liqudity in Q1</c:v>
                </c:pt>
              </c:strCache>
            </c:strRef>
          </c:cat>
          <c:val>
            <c:numRef>
              <c:f>'Refi Charts'!$G$22:$G$27</c:f>
              <c:numCache>
                <c:formatCode>#,##0_);\(#,##0\);\–_)</c:formatCode>
                <c:ptCount val="6"/>
                <c:pt idx="1">
                  <c:v>#N/A</c:v>
                </c:pt>
                <c:pt idx="2">
                  <c:v>#N/A</c:v>
                </c:pt>
                <c:pt idx="3">
                  <c:v>88</c:v>
                </c:pt>
                <c:pt idx="4">
                  <c:v>129</c:v>
                </c:pt>
              </c:numCache>
            </c:numRef>
          </c:val>
          <c:extLst>
            <c:ext xmlns:c16="http://schemas.microsoft.com/office/drawing/2014/chart" uri="{C3380CC4-5D6E-409C-BE32-E72D297353CC}">
              <c16:uniqueId val="{00000002-019E-4084-B721-B4035FEED385}"/>
            </c:ext>
          </c:extLst>
        </c:ser>
        <c:ser>
          <c:idx val="3"/>
          <c:order val="3"/>
          <c:tx>
            <c:strRef>
              <c:f>'Refi Charts'!$H$4</c:f>
              <c:strCache>
                <c:ptCount val="1"/>
                <c:pt idx="0">
                  <c:v>Negativ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fi Charts'!$B$22:$B$27</c:f>
              <c:strCache>
                <c:ptCount val="6"/>
                <c:pt idx="0">
                  <c:v>Liquidity as of Q1 2024</c:v>
                </c:pt>
                <c:pt idx="1">
                  <c:v>Cash used in transaction3</c:v>
                </c:pt>
                <c:pt idx="2">
                  <c:v>Incremental PGE paydown</c:v>
                </c:pt>
                <c:pt idx="3">
                  <c:v>Increased RCF capacity</c:v>
                </c:pt>
                <c:pt idx="4">
                  <c:v>Increased ABL Capacity</c:v>
                </c:pt>
                <c:pt idx="5">
                  <c:v>Pro forma liqudity in Q1</c:v>
                </c:pt>
              </c:strCache>
            </c:strRef>
          </c:cat>
          <c:val>
            <c:numRef>
              <c:f>'Refi Charts'!$H$22:$H$27</c:f>
              <c:numCache>
                <c:formatCode>#,##0_);\(#,##0\);\–_)</c:formatCode>
                <c:ptCount val="6"/>
                <c:pt idx="1">
                  <c:v>396.4</c:v>
                </c:pt>
                <c:pt idx="2">
                  <c:v>194</c:v>
                </c:pt>
                <c:pt idx="3">
                  <c:v>#N/A</c:v>
                </c:pt>
                <c:pt idx="4">
                  <c:v>#N/A</c:v>
                </c:pt>
              </c:numCache>
            </c:numRef>
          </c:val>
          <c:extLst>
            <c:ext xmlns:c16="http://schemas.microsoft.com/office/drawing/2014/chart" uri="{C3380CC4-5D6E-409C-BE32-E72D297353CC}">
              <c16:uniqueId val="{00000003-019E-4084-B721-B4035FEED385}"/>
            </c:ext>
          </c:extLst>
        </c:ser>
        <c:dLbls>
          <c:showLegendKey val="0"/>
          <c:showVal val="1"/>
          <c:showCatName val="0"/>
          <c:showSerName val="0"/>
          <c:showPercent val="0"/>
          <c:showBubbleSize val="0"/>
        </c:dLbls>
        <c:gapWidth val="75"/>
        <c:overlap val="100"/>
        <c:axId val="698935896"/>
        <c:axId val="698937208"/>
      </c:barChart>
      <c:catAx>
        <c:axId val="698935896"/>
        <c:scaling>
          <c:orientation val="minMax"/>
        </c:scaling>
        <c:delete val="0"/>
        <c:axPos val="b"/>
        <c:numFmt formatCode="General" sourceLinked="1"/>
        <c:majorTickMark val="none"/>
        <c:minorTickMark val="none"/>
        <c:tickLblPos val="none"/>
        <c:spPr>
          <a:noFill/>
          <a:ln w="6350" cap="flat" cmpd="sng" algn="ctr">
            <a:solidFill>
              <a:schemeClr val="accent4"/>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98937208"/>
        <c:crosses val="autoZero"/>
        <c:auto val="1"/>
        <c:lblAlgn val="ctr"/>
        <c:lblOffset val="100"/>
        <c:noMultiLvlLbl val="0"/>
      </c:catAx>
      <c:valAx>
        <c:axId val="698937208"/>
        <c:scaling>
          <c:orientation val="minMax"/>
        </c:scaling>
        <c:delete val="0"/>
        <c:axPos val="l"/>
        <c:numFmt formatCode="#,##0_);\(#,##0\);\–_)"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98935896"/>
        <c:crosses val="autoZero"/>
        <c:crossBetween val="between"/>
      </c:valAx>
      <c:spPr>
        <a:noFill/>
        <a:ln>
          <a:noFill/>
        </a:ln>
        <a:effectLst/>
      </c:spPr>
    </c:plotArea>
    <c:plotVisOnly val="1"/>
    <c:dispBlanksAs val="gap"/>
    <c:showDLblsOverMax val="0"/>
    <c:extLst/>
  </c:chart>
  <c:spPr>
    <a:solidFill>
      <a:schemeClr val="bg1"/>
    </a:solidFill>
    <a:ln w="9525" cap="flat" cmpd="sng" algn="ctr">
      <a:noFill/>
      <a:round/>
    </a:ln>
    <a:effectLst/>
  </c:spPr>
  <c:txPr>
    <a:bodyPr/>
    <a:lstStyle/>
    <a:p>
      <a:pPr>
        <a:defRPr/>
      </a:pPr>
      <a:endParaRPr lang="fr-FR"/>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US Rig Count'!$C$1</c:f>
              <c:strCache>
                <c:ptCount val="1"/>
                <c:pt idx="0">
                  <c:v>HORZ.</c:v>
                </c:pt>
              </c:strCache>
            </c:strRef>
          </c:tx>
          <c:spPr>
            <a:ln w="28575" cap="rnd">
              <a:solidFill>
                <a:schemeClr val="accent1"/>
              </a:solidFill>
              <a:round/>
            </a:ln>
            <a:effectLst/>
          </c:spPr>
          <c:marker>
            <c:symbol val="none"/>
          </c:marker>
          <c:cat>
            <c:numRef>
              <c:f>'US Rig Count'!$A$2:$A$2050</c:f>
              <c:numCache>
                <c:formatCode>[$-409]dd\-mmm\-yy;@</c:formatCode>
                <c:ptCount val="2049"/>
                <c:pt idx="0">
                  <c:v>33242</c:v>
                </c:pt>
                <c:pt idx="1">
                  <c:v>33249</c:v>
                </c:pt>
                <c:pt idx="2">
                  <c:v>33256</c:v>
                </c:pt>
                <c:pt idx="3">
                  <c:v>33263</c:v>
                </c:pt>
                <c:pt idx="4">
                  <c:v>33270</c:v>
                </c:pt>
                <c:pt idx="5">
                  <c:v>33277</c:v>
                </c:pt>
                <c:pt idx="6">
                  <c:v>33284</c:v>
                </c:pt>
                <c:pt idx="7">
                  <c:v>33291</c:v>
                </c:pt>
                <c:pt idx="8">
                  <c:v>33298</c:v>
                </c:pt>
                <c:pt idx="9">
                  <c:v>33305</c:v>
                </c:pt>
                <c:pt idx="10">
                  <c:v>33312</c:v>
                </c:pt>
                <c:pt idx="11">
                  <c:v>33319</c:v>
                </c:pt>
                <c:pt idx="12">
                  <c:v>33326</c:v>
                </c:pt>
                <c:pt idx="13">
                  <c:v>33333</c:v>
                </c:pt>
                <c:pt idx="14">
                  <c:v>33340</c:v>
                </c:pt>
                <c:pt idx="15">
                  <c:v>33347</c:v>
                </c:pt>
                <c:pt idx="16">
                  <c:v>33354</c:v>
                </c:pt>
                <c:pt idx="17">
                  <c:v>33361</c:v>
                </c:pt>
                <c:pt idx="18">
                  <c:v>33368</c:v>
                </c:pt>
                <c:pt idx="19">
                  <c:v>33375</c:v>
                </c:pt>
                <c:pt idx="20">
                  <c:v>33382</c:v>
                </c:pt>
                <c:pt idx="21">
                  <c:v>33389</c:v>
                </c:pt>
                <c:pt idx="22">
                  <c:v>33396</c:v>
                </c:pt>
                <c:pt idx="23">
                  <c:v>33403</c:v>
                </c:pt>
                <c:pt idx="24">
                  <c:v>33410</c:v>
                </c:pt>
                <c:pt idx="25">
                  <c:v>33417</c:v>
                </c:pt>
                <c:pt idx="26">
                  <c:v>33424</c:v>
                </c:pt>
                <c:pt idx="27">
                  <c:v>33431</c:v>
                </c:pt>
                <c:pt idx="28">
                  <c:v>33438</c:v>
                </c:pt>
                <c:pt idx="29">
                  <c:v>33445</c:v>
                </c:pt>
                <c:pt idx="30">
                  <c:v>33452</c:v>
                </c:pt>
                <c:pt idx="31">
                  <c:v>33459</c:v>
                </c:pt>
                <c:pt idx="32">
                  <c:v>33466</c:v>
                </c:pt>
                <c:pt idx="33">
                  <c:v>33473</c:v>
                </c:pt>
                <c:pt idx="34">
                  <c:v>33480</c:v>
                </c:pt>
                <c:pt idx="35">
                  <c:v>33487</c:v>
                </c:pt>
                <c:pt idx="36">
                  <c:v>33494</c:v>
                </c:pt>
                <c:pt idx="37">
                  <c:v>33501</c:v>
                </c:pt>
                <c:pt idx="38">
                  <c:v>33508</c:v>
                </c:pt>
                <c:pt idx="39">
                  <c:v>33515</c:v>
                </c:pt>
                <c:pt idx="40">
                  <c:v>33522</c:v>
                </c:pt>
                <c:pt idx="41">
                  <c:v>33529</c:v>
                </c:pt>
                <c:pt idx="42">
                  <c:v>33536</c:v>
                </c:pt>
                <c:pt idx="43">
                  <c:v>33543</c:v>
                </c:pt>
                <c:pt idx="44">
                  <c:v>33550</c:v>
                </c:pt>
                <c:pt idx="45">
                  <c:v>33557</c:v>
                </c:pt>
                <c:pt idx="46">
                  <c:v>33564</c:v>
                </c:pt>
                <c:pt idx="47">
                  <c:v>33571</c:v>
                </c:pt>
                <c:pt idx="48">
                  <c:v>33578</c:v>
                </c:pt>
                <c:pt idx="49">
                  <c:v>33585</c:v>
                </c:pt>
                <c:pt idx="50">
                  <c:v>33592</c:v>
                </c:pt>
                <c:pt idx="51">
                  <c:v>33599</c:v>
                </c:pt>
                <c:pt idx="52">
                  <c:v>33606</c:v>
                </c:pt>
                <c:pt idx="53">
                  <c:v>33613</c:v>
                </c:pt>
                <c:pt idx="54">
                  <c:v>33620</c:v>
                </c:pt>
                <c:pt idx="55">
                  <c:v>33627</c:v>
                </c:pt>
                <c:pt idx="56">
                  <c:v>33634</c:v>
                </c:pt>
                <c:pt idx="57">
                  <c:v>33641</c:v>
                </c:pt>
                <c:pt idx="58">
                  <c:v>33648</c:v>
                </c:pt>
                <c:pt idx="59">
                  <c:v>33655</c:v>
                </c:pt>
                <c:pt idx="60">
                  <c:v>33662</c:v>
                </c:pt>
                <c:pt idx="61">
                  <c:v>33669</c:v>
                </c:pt>
                <c:pt idx="62">
                  <c:v>33676</c:v>
                </c:pt>
                <c:pt idx="63">
                  <c:v>33683</c:v>
                </c:pt>
                <c:pt idx="64">
                  <c:v>33690</c:v>
                </c:pt>
                <c:pt idx="65">
                  <c:v>33697</c:v>
                </c:pt>
                <c:pt idx="66">
                  <c:v>33704</c:v>
                </c:pt>
                <c:pt idx="67">
                  <c:v>33711</c:v>
                </c:pt>
                <c:pt idx="68">
                  <c:v>33718</c:v>
                </c:pt>
                <c:pt idx="69">
                  <c:v>33725</c:v>
                </c:pt>
                <c:pt idx="70">
                  <c:v>33732</c:v>
                </c:pt>
                <c:pt idx="71">
                  <c:v>33739</c:v>
                </c:pt>
                <c:pt idx="72">
                  <c:v>33746</c:v>
                </c:pt>
                <c:pt idx="73">
                  <c:v>33753</c:v>
                </c:pt>
                <c:pt idx="74">
                  <c:v>33760</c:v>
                </c:pt>
                <c:pt idx="75">
                  <c:v>33767</c:v>
                </c:pt>
                <c:pt idx="76">
                  <c:v>33774</c:v>
                </c:pt>
                <c:pt idx="77">
                  <c:v>33781</c:v>
                </c:pt>
                <c:pt idx="78">
                  <c:v>33788</c:v>
                </c:pt>
                <c:pt idx="79">
                  <c:v>33795</c:v>
                </c:pt>
                <c:pt idx="80">
                  <c:v>33802</c:v>
                </c:pt>
                <c:pt idx="81">
                  <c:v>33809</c:v>
                </c:pt>
                <c:pt idx="82">
                  <c:v>33816</c:v>
                </c:pt>
                <c:pt idx="83">
                  <c:v>33823</c:v>
                </c:pt>
                <c:pt idx="84">
                  <c:v>33830</c:v>
                </c:pt>
                <c:pt idx="85">
                  <c:v>33837</c:v>
                </c:pt>
                <c:pt idx="86">
                  <c:v>33844</c:v>
                </c:pt>
                <c:pt idx="87">
                  <c:v>33851</c:v>
                </c:pt>
                <c:pt idx="88">
                  <c:v>33858</c:v>
                </c:pt>
                <c:pt idx="89">
                  <c:v>33865</c:v>
                </c:pt>
                <c:pt idx="90">
                  <c:v>33872</c:v>
                </c:pt>
                <c:pt idx="91">
                  <c:v>33879</c:v>
                </c:pt>
                <c:pt idx="92">
                  <c:v>33886</c:v>
                </c:pt>
                <c:pt idx="93">
                  <c:v>33893</c:v>
                </c:pt>
                <c:pt idx="94">
                  <c:v>33900</c:v>
                </c:pt>
                <c:pt idx="95">
                  <c:v>33907</c:v>
                </c:pt>
                <c:pt idx="96">
                  <c:v>33914</c:v>
                </c:pt>
                <c:pt idx="97">
                  <c:v>33921</c:v>
                </c:pt>
                <c:pt idx="98">
                  <c:v>33928</c:v>
                </c:pt>
                <c:pt idx="99">
                  <c:v>33935</c:v>
                </c:pt>
                <c:pt idx="100">
                  <c:v>33942</c:v>
                </c:pt>
                <c:pt idx="101">
                  <c:v>33949</c:v>
                </c:pt>
                <c:pt idx="102">
                  <c:v>33956</c:v>
                </c:pt>
                <c:pt idx="103">
                  <c:v>33963</c:v>
                </c:pt>
                <c:pt idx="104">
                  <c:v>33970</c:v>
                </c:pt>
                <c:pt idx="105">
                  <c:v>33977</c:v>
                </c:pt>
                <c:pt idx="106">
                  <c:v>33984</c:v>
                </c:pt>
                <c:pt idx="107">
                  <c:v>33991</c:v>
                </c:pt>
                <c:pt idx="108">
                  <c:v>33998</c:v>
                </c:pt>
                <c:pt idx="109">
                  <c:v>34005</c:v>
                </c:pt>
                <c:pt idx="110">
                  <c:v>34012</c:v>
                </c:pt>
                <c:pt idx="111">
                  <c:v>34019</c:v>
                </c:pt>
                <c:pt idx="112">
                  <c:v>34026</c:v>
                </c:pt>
                <c:pt idx="113">
                  <c:v>34033</c:v>
                </c:pt>
                <c:pt idx="114">
                  <c:v>34040</c:v>
                </c:pt>
                <c:pt idx="115">
                  <c:v>34047</c:v>
                </c:pt>
                <c:pt idx="116">
                  <c:v>34054</c:v>
                </c:pt>
                <c:pt idx="117">
                  <c:v>34061</c:v>
                </c:pt>
                <c:pt idx="118">
                  <c:v>34068</c:v>
                </c:pt>
                <c:pt idx="119">
                  <c:v>34075</c:v>
                </c:pt>
                <c:pt idx="120">
                  <c:v>34082</c:v>
                </c:pt>
                <c:pt idx="121">
                  <c:v>34089</c:v>
                </c:pt>
                <c:pt idx="122">
                  <c:v>34096</c:v>
                </c:pt>
                <c:pt idx="123">
                  <c:v>34103</c:v>
                </c:pt>
                <c:pt idx="124">
                  <c:v>34110</c:v>
                </c:pt>
                <c:pt idx="125">
                  <c:v>34117</c:v>
                </c:pt>
                <c:pt idx="126">
                  <c:v>34124</c:v>
                </c:pt>
                <c:pt idx="127">
                  <c:v>34131</c:v>
                </c:pt>
                <c:pt idx="128">
                  <c:v>34138</c:v>
                </c:pt>
                <c:pt idx="129">
                  <c:v>34145</c:v>
                </c:pt>
                <c:pt idx="130">
                  <c:v>34152</c:v>
                </c:pt>
                <c:pt idx="131">
                  <c:v>34159</c:v>
                </c:pt>
                <c:pt idx="132">
                  <c:v>34166</c:v>
                </c:pt>
                <c:pt idx="133">
                  <c:v>34173</c:v>
                </c:pt>
                <c:pt idx="134">
                  <c:v>34180</c:v>
                </c:pt>
                <c:pt idx="135">
                  <c:v>34187</c:v>
                </c:pt>
                <c:pt idx="136">
                  <c:v>34194</c:v>
                </c:pt>
                <c:pt idx="137">
                  <c:v>34201</c:v>
                </c:pt>
                <c:pt idx="138">
                  <c:v>34208</c:v>
                </c:pt>
                <c:pt idx="139">
                  <c:v>34215</c:v>
                </c:pt>
                <c:pt idx="140">
                  <c:v>34222</c:v>
                </c:pt>
                <c:pt idx="141">
                  <c:v>34229</c:v>
                </c:pt>
                <c:pt idx="142">
                  <c:v>34236</c:v>
                </c:pt>
                <c:pt idx="143">
                  <c:v>34243</c:v>
                </c:pt>
                <c:pt idx="144">
                  <c:v>34250</c:v>
                </c:pt>
                <c:pt idx="145">
                  <c:v>34257</c:v>
                </c:pt>
                <c:pt idx="146">
                  <c:v>34264</c:v>
                </c:pt>
                <c:pt idx="147">
                  <c:v>34271</c:v>
                </c:pt>
                <c:pt idx="148">
                  <c:v>34278</c:v>
                </c:pt>
                <c:pt idx="149">
                  <c:v>34285</c:v>
                </c:pt>
                <c:pt idx="150">
                  <c:v>34292</c:v>
                </c:pt>
                <c:pt idx="151">
                  <c:v>34299</c:v>
                </c:pt>
                <c:pt idx="152">
                  <c:v>34306</c:v>
                </c:pt>
                <c:pt idx="153">
                  <c:v>34313</c:v>
                </c:pt>
                <c:pt idx="154">
                  <c:v>34320</c:v>
                </c:pt>
                <c:pt idx="155">
                  <c:v>34327</c:v>
                </c:pt>
                <c:pt idx="156">
                  <c:v>34334</c:v>
                </c:pt>
                <c:pt idx="157">
                  <c:v>34341</c:v>
                </c:pt>
                <c:pt idx="158">
                  <c:v>34348</c:v>
                </c:pt>
                <c:pt idx="159">
                  <c:v>34355</c:v>
                </c:pt>
                <c:pt idx="160">
                  <c:v>34362</c:v>
                </c:pt>
                <c:pt idx="161">
                  <c:v>34369</c:v>
                </c:pt>
                <c:pt idx="162">
                  <c:v>34376</c:v>
                </c:pt>
                <c:pt idx="163">
                  <c:v>34383</c:v>
                </c:pt>
                <c:pt idx="164">
                  <c:v>34390</c:v>
                </c:pt>
                <c:pt idx="165">
                  <c:v>34397</c:v>
                </c:pt>
                <c:pt idx="166">
                  <c:v>34404</c:v>
                </c:pt>
                <c:pt idx="167">
                  <c:v>34411</c:v>
                </c:pt>
                <c:pt idx="168">
                  <c:v>34418</c:v>
                </c:pt>
                <c:pt idx="169">
                  <c:v>34425</c:v>
                </c:pt>
                <c:pt idx="170">
                  <c:v>34432</c:v>
                </c:pt>
                <c:pt idx="171">
                  <c:v>34439</c:v>
                </c:pt>
                <c:pt idx="172">
                  <c:v>34446</c:v>
                </c:pt>
                <c:pt idx="173">
                  <c:v>34453</c:v>
                </c:pt>
                <c:pt idx="174">
                  <c:v>34460</c:v>
                </c:pt>
                <c:pt idx="175">
                  <c:v>34467</c:v>
                </c:pt>
                <c:pt idx="176">
                  <c:v>34474</c:v>
                </c:pt>
                <c:pt idx="177">
                  <c:v>34481</c:v>
                </c:pt>
                <c:pt idx="178">
                  <c:v>34488</c:v>
                </c:pt>
                <c:pt idx="179">
                  <c:v>34495</c:v>
                </c:pt>
                <c:pt idx="180">
                  <c:v>34502</c:v>
                </c:pt>
                <c:pt idx="181">
                  <c:v>34509</c:v>
                </c:pt>
                <c:pt idx="182">
                  <c:v>34516</c:v>
                </c:pt>
                <c:pt idx="183">
                  <c:v>34523</c:v>
                </c:pt>
                <c:pt idx="184">
                  <c:v>34530</c:v>
                </c:pt>
                <c:pt idx="185">
                  <c:v>34537</c:v>
                </c:pt>
                <c:pt idx="186">
                  <c:v>34544</c:v>
                </c:pt>
                <c:pt idx="187">
                  <c:v>34551</c:v>
                </c:pt>
                <c:pt idx="188">
                  <c:v>34558</c:v>
                </c:pt>
                <c:pt idx="189">
                  <c:v>34565</c:v>
                </c:pt>
                <c:pt idx="190">
                  <c:v>34572</c:v>
                </c:pt>
                <c:pt idx="191">
                  <c:v>34579</c:v>
                </c:pt>
                <c:pt idx="192">
                  <c:v>34586</c:v>
                </c:pt>
                <c:pt idx="193">
                  <c:v>34593</c:v>
                </c:pt>
                <c:pt idx="194">
                  <c:v>34600</c:v>
                </c:pt>
                <c:pt idx="195">
                  <c:v>34607</c:v>
                </c:pt>
                <c:pt idx="196">
                  <c:v>34614</c:v>
                </c:pt>
                <c:pt idx="197">
                  <c:v>34621</c:v>
                </c:pt>
                <c:pt idx="198">
                  <c:v>34628</c:v>
                </c:pt>
                <c:pt idx="199">
                  <c:v>34635</c:v>
                </c:pt>
                <c:pt idx="200">
                  <c:v>34642</c:v>
                </c:pt>
                <c:pt idx="201">
                  <c:v>34649</c:v>
                </c:pt>
                <c:pt idx="202">
                  <c:v>34656</c:v>
                </c:pt>
                <c:pt idx="203">
                  <c:v>34663</c:v>
                </c:pt>
                <c:pt idx="204">
                  <c:v>34670</c:v>
                </c:pt>
                <c:pt idx="205">
                  <c:v>34677</c:v>
                </c:pt>
                <c:pt idx="206">
                  <c:v>34684</c:v>
                </c:pt>
                <c:pt idx="207">
                  <c:v>34691</c:v>
                </c:pt>
                <c:pt idx="208">
                  <c:v>34698</c:v>
                </c:pt>
                <c:pt idx="209">
                  <c:v>34705</c:v>
                </c:pt>
                <c:pt idx="210">
                  <c:v>34712</c:v>
                </c:pt>
                <c:pt idx="211">
                  <c:v>34719</c:v>
                </c:pt>
                <c:pt idx="212">
                  <c:v>34726</c:v>
                </c:pt>
                <c:pt idx="213">
                  <c:v>34733</c:v>
                </c:pt>
                <c:pt idx="214">
                  <c:v>34740</c:v>
                </c:pt>
                <c:pt idx="215">
                  <c:v>34747</c:v>
                </c:pt>
                <c:pt idx="216">
                  <c:v>34754</c:v>
                </c:pt>
                <c:pt idx="217">
                  <c:v>34761</c:v>
                </c:pt>
                <c:pt idx="218">
                  <c:v>34768</c:v>
                </c:pt>
                <c:pt idx="219">
                  <c:v>34775</c:v>
                </c:pt>
                <c:pt idx="220">
                  <c:v>34782</c:v>
                </c:pt>
                <c:pt idx="221">
                  <c:v>34789</c:v>
                </c:pt>
                <c:pt idx="222">
                  <c:v>34796</c:v>
                </c:pt>
                <c:pt idx="223">
                  <c:v>34803</c:v>
                </c:pt>
                <c:pt idx="224">
                  <c:v>34810</c:v>
                </c:pt>
                <c:pt idx="225">
                  <c:v>34817</c:v>
                </c:pt>
                <c:pt idx="226">
                  <c:v>34824</c:v>
                </c:pt>
                <c:pt idx="227">
                  <c:v>34831</c:v>
                </c:pt>
                <c:pt idx="228">
                  <c:v>34838</c:v>
                </c:pt>
                <c:pt idx="229">
                  <c:v>34845</c:v>
                </c:pt>
                <c:pt idx="230">
                  <c:v>34852</c:v>
                </c:pt>
                <c:pt idx="231">
                  <c:v>34859</c:v>
                </c:pt>
                <c:pt idx="232">
                  <c:v>34866</c:v>
                </c:pt>
                <c:pt idx="233">
                  <c:v>34873</c:v>
                </c:pt>
                <c:pt idx="234">
                  <c:v>34880</c:v>
                </c:pt>
                <c:pt idx="235">
                  <c:v>34887</c:v>
                </c:pt>
                <c:pt idx="236">
                  <c:v>34894</c:v>
                </c:pt>
                <c:pt idx="237">
                  <c:v>34901</c:v>
                </c:pt>
                <c:pt idx="238">
                  <c:v>34908</c:v>
                </c:pt>
                <c:pt idx="239">
                  <c:v>34915</c:v>
                </c:pt>
                <c:pt idx="240">
                  <c:v>34922</c:v>
                </c:pt>
                <c:pt idx="241">
                  <c:v>34929</c:v>
                </c:pt>
                <c:pt idx="242">
                  <c:v>34936</c:v>
                </c:pt>
                <c:pt idx="243">
                  <c:v>34943</c:v>
                </c:pt>
                <c:pt idx="244">
                  <c:v>34950</c:v>
                </c:pt>
                <c:pt idx="245">
                  <c:v>34957</c:v>
                </c:pt>
                <c:pt idx="246">
                  <c:v>34964</c:v>
                </c:pt>
                <c:pt idx="247">
                  <c:v>34971</c:v>
                </c:pt>
                <c:pt idx="248">
                  <c:v>34978</c:v>
                </c:pt>
                <c:pt idx="249">
                  <c:v>34985</c:v>
                </c:pt>
                <c:pt idx="250">
                  <c:v>34992</c:v>
                </c:pt>
                <c:pt idx="251">
                  <c:v>34999</c:v>
                </c:pt>
                <c:pt idx="252">
                  <c:v>35006</c:v>
                </c:pt>
                <c:pt idx="253">
                  <c:v>35013</c:v>
                </c:pt>
                <c:pt idx="254">
                  <c:v>35020</c:v>
                </c:pt>
                <c:pt idx="255">
                  <c:v>35027</c:v>
                </c:pt>
                <c:pt idx="256">
                  <c:v>35034</c:v>
                </c:pt>
                <c:pt idx="257">
                  <c:v>35041</c:v>
                </c:pt>
                <c:pt idx="258">
                  <c:v>35048</c:v>
                </c:pt>
                <c:pt idx="259">
                  <c:v>35055</c:v>
                </c:pt>
                <c:pt idx="260">
                  <c:v>35062</c:v>
                </c:pt>
                <c:pt idx="261">
                  <c:v>35069</c:v>
                </c:pt>
                <c:pt idx="262">
                  <c:v>35076</c:v>
                </c:pt>
                <c:pt idx="263">
                  <c:v>35083</c:v>
                </c:pt>
                <c:pt idx="264">
                  <c:v>35090</c:v>
                </c:pt>
                <c:pt idx="265">
                  <c:v>35097</c:v>
                </c:pt>
                <c:pt idx="266">
                  <c:v>35104</c:v>
                </c:pt>
                <c:pt idx="267">
                  <c:v>35111</c:v>
                </c:pt>
                <c:pt idx="268">
                  <c:v>35118</c:v>
                </c:pt>
                <c:pt idx="269">
                  <c:v>35125</c:v>
                </c:pt>
                <c:pt idx="270">
                  <c:v>35132</c:v>
                </c:pt>
                <c:pt idx="271">
                  <c:v>35139</c:v>
                </c:pt>
                <c:pt idx="272">
                  <c:v>35146</c:v>
                </c:pt>
                <c:pt idx="273">
                  <c:v>35153</c:v>
                </c:pt>
                <c:pt idx="274">
                  <c:v>35160</c:v>
                </c:pt>
                <c:pt idx="275">
                  <c:v>35167</c:v>
                </c:pt>
                <c:pt idx="276">
                  <c:v>35174</c:v>
                </c:pt>
                <c:pt idx="277">
                  <c:v>35181</c:v>
                </c:pt>
                <c:pt idx="278">
                  <c:v>35188</c:v>
                </c:pt>
                <c:pt idx="279">
                  <c:v>35195</c:v>
                </c:pt>
                <c:pt idx="280">
                  <c:v>35202</c:v>
                </c:pt>
                <c:pt idx="281">
                  <c:v>35209</c:v>
                </c:pt>
                <c:pt idx="282">
                  <c:v>35216</c:v>
                </c:pt>
                <c:pt idx="283">
                  <c:v>35223</c:v>
                </c:pt>
                <c:pt idx="284">
                  <c:v>35230</c:v>
                </c:pt>
                <c:pt idx="285">
                  <c:v>35237</c:v>
                </c:pt>
                <c:pt idx="286">
                  <c:v>35244</c:v>
                </c:pt>
                <c:pt idx="287">
                  <c:v>35251</c:v>
                </c:pt>
                <c:pt idx="288">
                  <c:v>35258</c:v>
                </c:pt>
                <c:pt idx="289">
                  <c:v>35265</c:v>
                </c:pt>
                <c:pt idx="290">
                  <c:v>35272</c:v>
                </c:pt>
                <c:pt idx="291">
                  <c:v>35279</c:v>
                </c:pt>
                <c:pt idx="292">
                  <c:v>35286</c:v>
                </c:pt>
                <c:pt idx="293">
                  <c:v>35293</c:v>
                </c:pt>
                <c:pt idx="294">
                  <c:v>35300</c:v>
                </c:pt>
                <c:pt idx="295">
                  <c:v>35307</c:v>
                </c:pt>
                <c:pt idx="296">
                  <c:v>35314</c:v>
                </c:pt>
                <c:pt idx="297">
                  <c:v>35321</c:v>
                </c:pt>
                <c:pt idx="298">
                  <c:v>35328</c:v>
                </c:pt>
                <c:pt idx="299">
                  <c:v>35335</c:v>
                </c:pt>
                <c:pt idx="300">
                  <c:v>35342</c:v>
                </c:pt>
                <c:pt idx="301">
                  <c:v>35349</c:v>
                </c:pt>
                <c:pt idx="302">
                  <c:v>35356</c:v>
                </c:pt>
                <c:pt idx="303">
                  <c:v>35363</c:v>
                </c:pt>
                <c:pt idx="304">
                  <c:v>35370</c:v>
                </c:pt>
                <c:pt idx="305">
                  <c:v>35377</c:v>
                </c:pt>
                <c:pt idx="306">
                  <c:v>35384</c:v>
                </c:pt>
                <c:pt idx="307">
                  <c:v>35391</c:v>
                </c:pt>
                <c:pt idx="308">
                  <c:v>35398</c:v>
                </c:pt>
                <c:pt idx="309">
                  <c:v>35405</c:v>
                </c:pt>
                <c:pt idx="310">
                  <c:v>35412</c:v>
                </c:pt>
                <c:pt idx="311">
                  <c:v>35419</c:v>
                </c:pt>
                <c:pt idx="312">
                  <c:v>35426</c:v>
                </c:pt>
                <c:pt idx="313">
                  <c:v>35433</c:v>
                </c:pt>
                <c:pt idx="314">
                  <c:v>35440</c:v>
                </c:pt>
                <c:pt idx="315">
                  <c:v>35447</c:v>
                </c:pt>
                <c:pt idx="316">
                  <c:v>35454</c:v>
                </c:pt>
                <c:pt idx="317">
                  <c:v>35461</c:v>
                </c:pt>
                <c:pt idx="318">
                  <c:v>35468</c:v>
                </c:pt>
                <c:pt idx="319">
                  <c:v>35475</c:v>
                </c:pt>
                <c:pt idx="320">
                  <c:v>35482</c:v>
                </c:pt>
                <c:pt idx="321">
                  <c:v>35489</c:v>
                </c:pt>
                <c:pt idx="322">
                  <c:v>35496</c:v>
                </c:pt>
                <c:pt idx="323">
                  <c:v>35503</c:v>
                </c:pt>
                <c:pt idx="324">
                  <c:v>35510</c:v>
                </c:pt>
                <c:pt idx="325">
                  <c:v>35517</c:v>
                </c:pt>
                <c:pt idx="326">
                  <c:v>35524</c:v>
                </c:pt>
                <c:pt idx="327">
                  <c:v>35531</c:v>
                </c:pt>
                <c:pt idx="328">
                  <c:v>35538</c:v>
                </c:pt>
                <c:pt idx="329">
                  <c:v>35545</c:v>
                </c:pt>
                <c:pt idx="330">
                  <c:v>35552</c:v>
                </c:pt>
                <c:pt idx="331">
                  <c:v>35559</c:v>
                </c:pt>
                <c:pt idx="332">
                  <c:v>35566</c:v>
                </c:pt>
                <c:pt idx="333">
                  <c:v>35573</c:v>
                </c:pt>
                <c:pt idx="334">
                  <c:v>35580</c:v>
                </c:pt>
                <c:pt idx="335">
                  <c:v>35587</c:v>
                </c:pt>
                <c:pt idx="336">
                  <c:v>35594</c:v>
                </c:pt>
                <c:pt idx="337">
                  <c:v>35601</c:v>
                </c:pt>
                <c:pt idx="338">
                  <c:v>35608</c:v>
                </c:pt>
                <c:pt idx="339">
                  <c:v>35615</c:v>
                </c:pt>
                <c:pt idx="340">
                  <c:v>35622</c:v>
                </c:pt>
                <c:pt idx="341">
                  <c:v>35629</c:v>
                </c:pt>
                <c:pt idx="342">
                  <c:v>35636</c:v>
                </c:pt>
                <c:pt idx="343">
                  <c:v>35643</c:v>
                </c:pt>
                <c:pt idx="344">
                  <c:v>35650</c:v>
                </c:pt>
                <c:pt idx="345">
                  <c:v>35657</c:v>
                </c:pt>
                <c:pt idx="346">
                  <c:v>35664</c:v>
                </c:pt>
                <c:pt idx="347">
                  <c:v>35671</c:v>
                </c:pt>
                <c:pt idx="348">
                  <c:v>35678</c:v>
                </c:pt>
                <c:pt idx="349">
                  <c:v>35685</c:v>
                </c:pt>
                <c:pt idx="350">
                  <c:v>35692</c:v>
                </c:pt>
                <c:pt idx="351">
                  <c:v>35699</c:v>
                </c:pt>
                <c:pt idx="352">
                  <c:v>35706</c:v>
                </c:pt>
                <c:pt idx="353">
                  <c:v>35713</c:v>
                </c:pt>
                <c:pt idx="354">
                  <c:v>35720</c:v>
                </c:pt>
                <c:pt idx="355">
                  <c:v>35727</c:v>
                </c:pt>
                <c:pt idx="356">
                  <c:v>35734</c:v>
                </c:pt>
                <c:pt idx="357">
                  <c:v>35741</c:v>
                </c:pt>
                <c:pt idx="358">
                  <c:v>35748</c:v>
                </c:pt>
                <c:pt idx="359">
                  <c:v>35755</c:v>
                </c:pt>
                <c:pt idx="360">
                  <c:v>35762</c:v>
                </c:pt>
                <c:pt idx="361">
                  <c:v>35769</c:v>
                </c:pt>
                <c:pt idx="362">
                  <c:v>35776</c:v>
                </c:pt>
                <c:pt idx="363">
                  <c:v>35783</c:v>
                </c:pt>
                <c:pt idx="364">
                  <c:v>35790</c:v>
                </c:pt>
                <c:pt idx="365">
                  <c:v>35797</c:v>
                </c:pt>
                <c:pt idx="366">
                  <c:v>35804</c:v>
                </c:pt>
                <c:pt idx="367">
                  <c:v>35811</c:v>
                </c:pt>
                <c:pt idx="368">
                  <c:v>35818</c:v>
                </c:pt>
                <c:pt idx="369">
                  <c:v>35825</c:v>
                </c:pt>
                <c:pt idx="370">
                  <c:v>35832</c:v>
                </c:pt>
                <c:pt idx="371">
                  <c:v>35839</c:v>
                </c:pt>
                <c:pt idx="372">
                  <c:v>35846</c:v>
                </c:pt>
                <c:pt idx="373">
                  <c:v>35853</c:v>
                </c:pt>
                <c:pt idx="374">
                  <c:v>35860</c:v>
                </c:pt>
                <c:pt idx="375">
                  <c:v>35867</c:v>
                </c:pt>
                <c:pt idx="376">
                  <c:v>35874</c:v>
                </c:pt>
                <c:pt idx="377">
                  <c:v>35881</c:v>
                </c:pt>
                <c:pt idx="378">
                  <c:v>35888</c:v>
                </c:pt>
                <c:pt idx="379">
                  <c:v>35895</c:v>
                </c:pt>
                <c:pt idx="380">
                  <c:v>35902</c:v>
                </c:pt>
                <c:pt idx="381">
                  <c:v>35909</c:v>
                </c:pt>
                <c:pt idx="382">
                  <c:v>35916</c:v>
                </c:pt>
                <c:pt idx="383">
                  <c:v>35923</c:v>
                </c:pt>
                <c:pt idx="384">
                  <c:v>35930</c:v>
                </c:pt>
                <c:pt idx="385">
                  <c:v>35937</c:v>
                </c:pt>
                <c:pt idx="386">
                  <c:v>35944</c:v>
                </c:pt>
                <c:pt idx="387">
                  <c:v>35951</c:v>
                </c:pt>
                <c:pt idx="388">
                  <c:v>35958</c:v>
                </c:pt>
                <c:pt idx="389">
                  <c:v>35965</c:v>
                </c:pt>
                <c:pt idx="390">
                  <c:v>35972</c:v>
                </c:pt>
                <c:pt idx="391">
                  <c:v>35979</c:v>
                </c:pt>
                <c:pt idx="392">
                  <c:v>35986</c:v>
                </c:pt>
                <c:pt idx="393">
                  <c:v>35993</c:v>
                </c:pt>
                <c:pt idx="394">
                  <c:v>36000</c:v>
                </c:pt>
                <c:pt idx="395">
                  <c:v>36007</c:v>
                </c:pt>
                <c:pt idx="396">
                  <c:v>36014</c:v>
                </c:pt>
                <c:pt idx="397">
                  <c:v>36021</c:v>
                </c:pt>
                <c:pt idx="398">
                  <c:v>36028</c:v>
                </c:pt>
                <c:pt idx="399">
                  <c:v>36035</c:v>
                </c:pt>
                <c:pt idx="400">
                  <c:v>36042</c:v>
                </c:pt>
                <c:pt idx="401">
                  <c:v>36049</c:v>
                </c:pt>
                <c:pt idx="402">
                  <c:v>36056</c:v>
                </c:pt>
                <c:pt idx="403">
                  <c:v>36063</c:v>
                </c:pt>
                <c:pt idx="404">
                  <c:v>36070</c:v>
                </c:pt>
                <c:pt idx="405">
                  <c:v>36077</c:v>
                </c:pt>
                <c:pt idx="406">
                  <c:v>36084</c:v>
                </c:pt>
                <c:pt idx="407">
                  <c:v>36091</c:v>
                </c:pt>
                <c:pt idx="408">
                  <c:v>36098</c:v>
                </c:pt>
                <c:pt idx="409">
                  <c:v>36105</c:v>
                </c:pt>
                <c:pt idx="410">
                  <c:v>36112</c:v>
                </c:pt>
                <c:pt idx="411">
                  <c:v>36119</c:v>
                </c:pt>
                <c:pt idx="412">
                  <c:v>36126</c:v>
                </c:pt>
                <c:pt idx="413">
                  <c:v>36133</c:v>
                </c:pt>
                <c:pt idx="414">
                  <c:v>36140</c:v>
                </c:pt>
                <c:pt idx="415">
                  <c:v>36147</c:v>
                </c:pt>
                <c:pt idx="416">
                  <c:v>36154</c:v>
                </c:pt>
                <c:pt idx="417">
                  <c:v>36161</c:v>
                </c:pt>
                <c:pt idx="418">
                  <c:v>36168</c:v>
                </c:pt>
                <c:pt idx="419">
                  <c:v>36175</c:v>
                </c:pt>
                <c:pt idx="420">
                  <c:v>36182</c:v>
                </c:pt>
                <c:pt idx="421">
                  <c:v>36189</c:v>
                </c:pt>
                <c:pt idx="422">
                  <c:v>36196</c:v>
                </c:pt>
                <c:pt idx="423">
                  <c:v>36203</c:v>
                </c:pt>
                <c:pt idx="424">
                  <c:v>36210</c:v>
                </c:pt>
                <c:pt idx="425">
                  <c:v>36217</c:v>
                </c:pt>
                <c:pt idx="426">
                  <c:v>36224</c:v>
                </c:pt>
                <c:pt idx="427">
                  <c:v>36231</c:v>
                </c:pt>
                <c:pt idx="428">
                  <c:v>36238</c:v>
                </c:pt>
                <c:pt idx="429">
                  <c:v>36245</c:v>
                </c:pt>
                <c:pt idx="430">
                  <c:v>36252</c:v>
                </c:pt>
                <c:pt idx="431">
                  <c:v>36259</c:v>
                </c:pt>
                <c:pt idx="432">
                  <c:v>36266</c:v>
                </c:pt>
                <c:pt idx="433">
                  <c:v>36273</c:v>
                </c:pt>
                <c:pt idx="434">
                  <c:v>36280</c:v>
                </c:pt>
                <c:pt idx="435">
                  <c:v>36287</c:v>
                </c:pt>
                <c:pt idx="436">
                  <c:v>36294</c:v>
                </c:pt>
                <c:pt idx="437">
                  <c:v>36301</c:v>
                </c:pt>
                <c:pt idx="438">
                  <c:v>36308</c:v>
                </c:pt>
                <c:pt idx="439">
                  <c:v>36315</c:v>
                </c:pt>
                <c:pt idx="440">
                  <c:v>36322</c:v>
                </c:pt>
                <c:pt idx="441">
                  <c:v>36329</c:v>
                </c:pt>
                <c:pt idx="442">
                  <c:v>36336</c:v>
                </c:pt>
                <c:pt idx="443">
                  <c:v>36343</c:v>
                </c:pt>
                <c:pt idx="444">
                  <c:v>36350</c:v>
                </c:pt>
                <c:pt idx="445">
                  <c:v>36357</c:v>
                </c:pt>
                <c:pt idx="446">
                  <c:v>36364</c:v>
                </c:pt>
                <c:pt idx="447">
                  <c:v>36371</c:v>
                </c:pt>
                <c:pt idx="448">
                  <c:v>36378</c:v>
                </c:pt>
                <c:pt idx="449">
                  <c:v>36385</c:v>
                </c:pt>
                <c:pt idx="450">
                  <c:v>36392</c:v>
                </c:pt>
                <c:pt idx="451">
                  <c:v>36399</c:v>
                </c:pt>
                <c:pt idx="452">
                  <c:v>36406</c:v>
                </c:pt>
                <c:pt idx="453">
                  <c:v>36413</c:v>
                </c:pt>
                <c:pt idx="454">
                  <c:v>36420</c:v>
                </c:pt>
                <c:pt idx="455">
                  <c:v>36427</c:v>
                </c:pt>
                <c:pt idx="456">
                  <c:v>36434</c:v>
                </c:pt>
                <c:pt idx="457">
                  <c:v>36441</c:v>
                </c:pt>
                <c:pt idx="458">
                  <c:v>36448</c:v>
                </c:pt>
                <c:pt idx="459">
                  <c:v>36455</c:v>
                </c:pt>
                <c:pt idx="460">
                  <c:v>36462</c:v>
                </c:pt>
                <c:pt idx="461">
                  <c:v>36469</c:v>
                </c:pt>
                <c:pt idx="462">
                  <c:v>36476</c:v>
                </c:pt>
                <c:pt idx="463">
                  <c:v>36483</c:v>
                </c:pt>
                <c:pt idx="464">
                  <c:v>36490</c:v>
                </c:pt>
                <c:pt idx="465">
                  <c:v>36497</c:v>
                </c:pt>
                <c:pt idx="466">
                  <c:v>36504</c:v>
                </c:pt>
                <c:pt idx="467">
                  <c:v>36511</c:v>
                </c:pt>
                <c:pt idx="468">
                  <c:v>36518</c:v>
                </c:pt>
                <c:pt idx="469">
                  <c:v>36525</c:v>
                </c:pt>
                <c:pt idx="470">
                  <c:v>36532</c:v>
                </c:pt>
                <c:pt idx="471">
                  <c:v>36539</c:v>
                </c:pt>
                <c:pt idx="472">
                  <c:v>36546</c:v>
                </c:pt>
                <c:pt idx="473">
                  <c:v>36553</c:v>
                </c:pt>
                <c:pt idx="474">
                  <c:v>36560</c:v>
                </c:pt>
                <c:pt idx="475">
                  <c:v>36567</c:v>
                </c:pt>
                <c:pt idx="476">
                  <c:v>36574</c:v>
                </c:pt>
                <c:pt idx="477">
                  <c:v>36581</c:v>
                </c:pt>
                <c:pt idx="478">
                  <c:v>36588</c:v>
                </c:pt>
                <c:pt idx="479">
                  <c:v>36595</c:v>
                </c:pt>
                <c:pt idx="480">
                  <c:v>36602</c:v>
                </c:pt>
                <c:pt idx="481">
                  <c:v>36609</c:v>
                </c:pt>
                <c:pt idx="482">
                  <c:v>36616</c:v>
                </c:pt>
                <c:pt idx="483">
                  <c:v>36623</c:v>
                </c:pt>
                <c:pt idx="484">
                  <c:v>36630</c:v>
                </c:pt>
                <c:pt idx="485">
                  <c:v>36637</c:v>
                </c:pt>
                <c:pt idx="486">
                  <c:v>36644</c:v>
                </c:pt>
                <c:pt idx="487">
                  <c:v>36651</c:v>
                </c:pt>
                <c:pt idx="488">
                  <c:v>36658</c:v>
                </c:pt>
                <c:pt idx="489">
                  <c:v>36665</c:v>
                </c:pt>
                <c:pt idx="490">
                  <c:v>36672</c:v>
                </c:pt>
                <c:pt idx="491">
                  <c:v>36679</c:v>
                </c:pt>
                <c:pt idx="492">
                  <c:v>36686</c:v>
                </c:pt>
                <c:pt idx="493">
                  <c:v>36693</c:v>
                </c:pt>
                <c:pt idx="494">
                  <c:v>36700</c:v>
                </c:pt>
                <c:pt idx="495">
                  <c:v>36707</c:v>
                </c:pt>
                <c:pt idx="496">
                  <c:v>36714</c:v>
                </c:pt>
                <c:pt idx="497">
                  <c:v>36721</c:v>
                </c:pt>
                <c:pt idx="498">
                  <c:v>36728</c:v>
                </c:pt>
                <c:pt idx="499">
                  <c:v>36735</c:v>
                </c:pt>
                <c:pt idx="500">
                  <c:v>36742</c:v>
                </c:pt>
                <c:pt idx="501">
                  <c:v>36749</c:v>
                </c:pt>
                <c:pt idx="502">
                  <c:v>36756</c:v>
                </c:pt>
                <c:pt idx="503">
                  <c:v>36763</c:v>
                </c:pt>
                <c:pt idx="504">
                  <c:v>36770</c:v>
                </c:pt>
                <c:pt idx="505">
                  <c:v>36777</c:v>
                </c:pt>
                <c:pt idx="506">
                  <c:v>36784</c:v>
                </c:pt>
                <c:pt idx="507">
                  <c:v>36791</c:v>
                </c:pt>
                <c:pt idx="508">
                  <c:v>36798</c:v>
                </c:pt>
                <c:pt idx="509">
                  <c:v>36805</c:v>
                </c:pt>
                <c:pt idx="510">
                  <c:v>36812</c:v>
                </c:pt>
                <c:pt idx="511">
                  <c:v>36819</c:v>
                </c:pt>
                <c:pt idx="512">
                  <c:v>36826</c:v>
                </c:pt>
                <c:pt idx="513">
                  <c:v>36833</c:v>
                </c:pt>
                <c:pt idx="514">
                  <c:v>36840</c:v>
                </c:pt>
                <c:pt idx="515">
                  <c:v>36847</c:v>
                </c:pt>
                <c:pt idx="516">
                  <c:v>36854</c:v>
                </c:pt>
                <c:pt idx="517">
                  <c:v>36861</c:v>
                </c:pt>
                <c:pt idx="518">
                  <c:v>36868</c:v>
                </c:pt>
                <c:pt idx="519">
                  <c:v>36875</c:v>
                </c:pt>
                <c:pt idx="520">
                  <c:v>36882</c:v>
                </c:pt>
                <c:pt idx="521">
                  <c:v>36889</c:v>
                </c:pt>
                <c:pt idx="522">
                  <c:v>36896</c:v>
                </c:pt>
                <c:pt idx="523">
                  <c:v>36903</c:v>
                </c:pt>
                <c:pt idx="524">
                  <c:v>36910</c:v>
                </c:pt>
                <c:pt idx="525">
                  <c:v>36917</c:v>
                </c:pt>
                <c:pt idx="526">
                  <c:v>36924</c:v>
                </c:pt>
                <c:pt idx="527">
                  <c:v>36931</c:v>
                </c:pt>
                <c:pt idx="528">
                  <c:v>36938</c:v>
                </c:pt>
                <c:pt idx="529">
                  <c:v>36945</c:v>
                </c:pt>
                <c:pt idx="530">
                  <c:v>36952</c:v>
                </c:pt>
                <c:pt idx="531">
                  <c:v>36959</c:v>
                </c:pt>
                <c:pt idx="532">
                  <c:v>36966</c:v>
                </c:pt>
                <c:pt idx="533">
                  <c:v>36973</c:v>
                </c:pt>
                <c:pt idx="534">
                  <c:v>36980</c:v>
                </c:pt>
                <c:pt idx="535">
                  <c:v>36987</c:v>
                </c:pt>
                <c:pt idx="536">
                  <c:v>36994</c:v>
                </c:pt>
                <c:pt idx="537">
                  <c:v>37001</c:v>
                </c:pt>
                <c:pt idx="538">
                  <c:v>37008</c:v>
                </c:pt>
                <c:pt idx="539">
                  <c:v>37015</c:v>
                </c:pt>
                <c:pt idx="540">
                  <c:v>37022</c:v>
                </c:pt>
                <c:pt idx="541">
                  <c:v>37029</c:v>
                </c:pt>
                <c:pt idx="542">
                  <c:v>37036</c:v>
                </c:pt>
                <c:pt idx="543">
                  <c:v>37043</c:v>
                </c:pt>
                <c:pt idx="544">
                  <c:v>37050</c:v>
                </c:pt>
                <c:pt idx="545">
                  <c:v>37057</c:v>
                </c:pt>
                <c:pt idx="546">
                  <c:v>37064</c:v>
                </c:pt>
                <c:pt idx="547">
                  <c:v>37071</c:v>
                </c:pt>
                <c:pt idx="548">
                  <c:v>37078</c:v>
                </c:pt>
                <c:pt idx="549">
                  <c:v>37085</c:v>
                </c:pt>
                <c:pt idx="550">
                  <c:v>37092</c:v>
                </c:pt>
                <c:pt idx="551">
                  <c:v>37099</c:v>
                </c:pt>
                <c:pt idx="552">
                  <c:v>37106</c:v>
                </c:pt>
                <c:pt idx="553">
                  <c:v>37113</c:v>
                </c:pt>
                <c:pt idx="554">
                  <c:v>37120</c:v>
                </c:pt>
                <c:pt idx="555">
                  <c:v>37127</c:v>
                </c:pt>
                <c:pt idx="556">
                  <c:v>37134</c:v>
                </c:pt>
                <c:pt idx="557">
                  <c:v>37141</c:v>
                </c:pt>
                <c:pt idx="558">
                  <c:v>37148</c:v>
                </c:pt>
                <c:pt idx="559">
                  <c:v>37155</c:v>
                </c:pt>
                <c:pt idx="560">
                  <c:v>37162</c:v>
                </c:pt>
                <c:pt idx="561">
                  <c:v>37169</c:v>
                </c:pt>
                <c:pt idx="562">
                  <c:v>37176</c:v>
                </c:pt>
                <c:pt idx="563">
                  <c:v>37183</c:v>
                </c:pt>
                <c:pt idx="564">
                  <c:v>37190</c:v>
                </c:pt>
                <c:pt idx="565">
                  <c:v>37197</c:v>
                </c:pt>
                <c:pt idx="566">
                  <c:v>37204</c:v>
                </c:pt>
                <c:pt idx="567">
                  <c:v>37211</c:v>
                </c:pt>
                <c:pt idx="568">
                  <c:v>37218</c:v>
                </c:pt>
                <c:pt idx="569">
                  <c:v>37225</c:v>
                </c:pt>
                <c:pt idx="570">
                  <c:v>37232</c:v>
                </c:pt>
                <c:pt idx="571">
                  <c:v>37239</c:v>
                </c:pt>
                <c:pt idx="572">
                  <c:v>37246</c:v>
                </c:pt>
                <c:pt idx="573">
                  <c:v>37253</c:v>
                </c:pt>
                <c:pt idx="574">
                  <c:v>37260</c:v>
                </c:pt>
                <c:pt idx="575">
                  <c:v>37267</c:v>
                </c:pt>
                <c:pt idx="576">
                  <c:v>37274</c:v>
                </c:pt>
                <c:pt idx="577">
                  <c:v>37281</c:v>
                </c:pt>
                <c:pt idx="578">
                  <c:v>37288</c:v>
                </c:pt>
                <c:pt idx="579">
                  <c:v>37295</c:v>
                </c:pt>
                <c:pt idx="580">
                  <c:v>37302</c:v>
                </c:pt>
                <c:pt idx="581">
                  <c:v>37309</c:v>
                </c:pt>
                <c:pt idx="582">
                  <c:v>37316</c:v>
                </c:pt>
                <c:pt idx="583">
                  <c:v>37323</c:v>
                </c:pt>
                <c:pt idx="584">
                  <c:v>37330</c:v>
                </c:pt>
                <c:pt idx="585">
                  <c:v>37337</c:v>
                </c:pt>
                <c:pt idx="586">
                  <c:v>37344</c:v>
                </c:pt>
                <c:pt idx="587">
                  <c:v>37351</c:v>
                </c:pt>
                <c:pt idx="588">
                  <c:v>37358</c:v>
                </c:pt>
                <c:pt idx="589">
                  <c:v>37365</c:v>
                </c:pt>
                <c:pt idx="590">
                  <c:v>37372</c:v>
                </c:pt>
                <c:pt idx="591">
                  <c:v>37379</c:v>
                </c:pt>
                <c:pt idx="592">
                  <c:v>37386</c:v>
                </c:pt>
                <c:pt idx="593">
                  <c:v>37393</c:v>
                </c:pt>
                <c:pt idx="594">
                  <c:v>37400</c:v>
                </c:pt>
                <c:pt idx="595">
                  <c:v>37407</c:v>
                </c:pt>
                <c:pt idx="596">
                  <c:v>37414</c:v>
                </c:pt>
                <c:pt idx="597">
                  <c:v>37421</c:v>
                </c:pt>
                <c:pt idx="598">
                  <c:v>37428</c:v>
                </c:pt>
                <c:pt idx="599">
                  <c:v>37435</c:v>
                </c:pt>
                <c:pt idx="600">
                  <c:v>37442</c:v>
                </c:pt>
                <c:pt idx="601">
                  <c:v>37449</c:v>
                </c:pt>
                <c:pt idx="602">
                  <c:v>37456</c:v>
                </c:pt>
                <c:pt idx="603">
                  <c:v>37463</c:v>
                </c:pt>
                <c:pt idx="604">
                  <c:v>37470</c:v>
                </c:pt>
                <c:pt idx="605">
                  <c:v>37477</c:v>
                </c:pt>
                <c:pt idx="606">
                  <c:v>37484</c:v>
                </c:pt>
                <c:pt idx="607">
                  <c:v>37491</c:v>
                </c:pt>
                <c:pt idx="608">
                  <c:v>37498</c:v>
                </c:pt>
                <c:pt idx="609">
                  <c:v>37505</c:v>
                </c:pt>
                <c:pt idx="610">
                  <c:v>37512</c:v>
                </c:pt>
                <c:pt idx="611">
                  <c:v>37519</c:v>
                </c:pt>
                <c:pt idx="612">
                  <c:v>37526</c:v>
                </c:pt>
                <c:pt idx="613">
                  <c:v>37533</c:v>
                </c:pt>
                <c:pt idx="614">
                  <c:v>37540</c:v>
                </c:pt>
                <c:pt idx="615">
                  <c:v>37547</c:v>
                </c:pt>
                <c:pt idx="616">
                  <c:v>37554</c:v>
                </c:pt>
                <c:pt idx="617">
                  <c:v>37561</c:v>
                </c:pt>
                <c:pt idx="618">
                  <c:v>37568</c:v>
                </c:pt>
                <c:pt idx="619">
                  <c:v>37575</c:v>
                </c:pt>
                <c:pt idx="620">
                  <c:v>37582</c:v>
                </c:pt>
                <c:pt idx="621">
                  <c:v>37589</c:v>
                </c:pt>
                <c:pt idx="622">
                  <c:v>37596</c:v>
                </c:pt>
                <c:pt idx="623">
                  <c:v>37603</c:v>
                </c:pt>
                <c:pt idx="624">
                  <c:v>37610</c:v>
                </c:pt>
                <c:pt idx="625">
                  <c:v>37617</c:v>
                </c:pt>
                <c:pt idx="626">
                  <c:v>37624</c:v>
                </c:pt>
                <c:pt idx="627">
                  <c:v>37631</c:v>
                </c:pt>
                <c:pt idx="628">
                  <c:v>37638</c:v>
                </c:pt>
                <c:pt idx="629">
                  <c:v>37645</c:v>
                </c:pt>
                <c:pt idx="630">
                  <c:v>37652</c:v>
                </c:pt>
                <c:pt idx="631">
                  <c:v>37659</c:v>
                </c:pt>
                <c:pt idx="632">
                  <c:v>37666</c:v>
                </c:pt>
                <c:pt idx="633">
                  <c:v>37673</c:v>
                </c:pt>
                <c:pt idx="634">
                  <c:v>37680</c:v>
                </c:pt>
                <c:pt idx="635">
                  <c:v>37687</c:v>
                </c:pt>
                <c:pt idx="636">
                  <c:v>37694</c:v>
                </c:pt>
                <c:pt idx="637">
                  <c:v>37701</c:v>
                </c:pt>
                <c:pt idx="638">
                  <c:v>37708</c:v>
                </c:pt>
                <c:pt idx="639">
                  <c:v>37715</c:v>
                </c:pt>
                <c:pt idx="640">
                  <c:v>37722</c:v>
                </c:pt>
                <c:pt idx="641">
                  <c:v>37729</c:v>
                </c:pt>
                <c:pt idx="642">
                  <c:v>37736</c:v>
                </c:pt>
                <c:pt idx="643">
                  <c:v>37743</c:v>
                </c:pt>
                <c:pt idx="644">
                  <c:v>37750</c:v>
                </c:pt>
                <c:pt idx="645">
                  <c:v>37757</c:v>
                </c:pt>
                <c:pt idx="646">
                  <c:v>37764</c:v>
                </c:pt>
                <c:pt idx="647">
                  <c:v>37771</c:v>
                </c:pt>
                <c:pt idx="648">
                  <c:v>37778</c:v>
                </c:pt>
                <c:pt idx="649">
                  <c:v>37785</c:v>
                </c:pt>
                <c:pt idx="650">
                  <c:v>37792</c:v>
                </c:pt>
                <c:pt idx="651">
                  <c:v>37799</c:v>
                </c:pt>
                <c:pt idx="652">
                  <c:v>37806</c:v>
                </c:pt>
                <c:pt idx="653">
                  <c:v>37813</c:v>
                </c:pt>
                <c:pt idx="654">
                  <c:v>37820</c:v>
                </c:pt>
                <c:pt idx="655">
                  <c:v>37827</c:v>
                </c:pt>
                <c:pt idx="656">
                  <c:v>37834</c:v>
                </c:pt>
                <c:pt idx="657">
                  <c:v>37841</c:v>
                </c:pt>
                <c:pt idx="658">
                  <c:v>37848</c:v>
                </c:pt>
                <c:pt idx="659">
                  <c:v>37855</c:v>
                </c:pt>
                <c:pt idx="660">
                  <c:v>37862</c:v>
                </c:pt>
                <c:pt idx="661">
                  <c:v>37869</c:v>
                </c:pt>
                <c:pt idx="662">
                  <c:v>37876</c:v>
                </c:pt>
                <c:pt idx="663">
                  <c:v>37883</c:v>
                </c:pt>
                <c:pt idx="664">
                  <c:v>37890</c:v>
                </c:pt>
                <c:pt idx="665">
                  <c:v>37897</c:v>
                </c:pt>
                <c:pt idx="666">
                  <c:v>37904</c:v>
                </c:pt>
                <c:pt idx="667">
                  <c:v>37911</c:v>
                </c:pt>
                <c:pt idx="668">
                  <c:v>37918</c:v>
                </c:pt>
                <c:pt idx="669">
                  <c:v>37925</c:v>
                </c:pt>
                <c:pt idx="670">
                  <c:v>37932</c:v>
                </c:pt>
                <c:pt idx="671">
                  <c:v>37939</c:v>
                </c:pt>
                <c:pt idx="672">
                  <c:v>37946</c:v>
                </c:pt>
                <c:pt idx="673">
                  <c:v>37953</c:v>
                </c:pt>
                <c:pt idx="674">
                  <c:v>37960</c:v>
                </c:pt>
                <c:pt idx="675">
                  <c:v>37967</c:v>
                </c:pt>
                <c:pt idx="676">
                  <c:v>37974</c:v>
                </c:pt>
                <c:pt idx="677">
                  <c:v>37981</c:v>
                </c:pt>
                <c:pt idx="678">
                  <c:v>37988</c:v>
                </c:pt>
                <c:pt idx="679">
                  <c:v>37995</c:v>
                </c:pt>
                <c:pt idx="680">
                  <c:v>38002</c:v>
                </c:pt>
                <c:pt idx="681">
                  <c:v>38009</c:v>
                </c:pt>
                <c:pt idx="682">
                  <c:v>38016</c:v>
                </c:pt>
                <c:pt idx="683">
                  <c:v>38023</c:v>
                </c:pt>
                <c:pt idx="684">
                  <c:v>38030</c:v>
                </c:pt>
                <c:pt idx="685">
                  <c:v>38037</c:v>
                </c:pt>
                <c:pt idx="686">
                  <c:v>38044</c:v>
                </c:pt>
                <c:pt idx="687">
                  <c:v>38051</c:v>
                </c:pt>
                <c:pt idx="688">
                  <c:v>38058</c:v>
                </c:pt>
                <c:pt idx="689">
                  <c:v>38065</c:v>
                </c:pt>
                <c:pt idx="690">
                  <c:v>38072</c:v>
                </c:pt>
                <c:pt idx="691">
                  <c:v>38079</c:v>
                </c:pt>
                <c:pt idx="692">
                  <c:v>38086</c:v>
                </c:pt>
                <c:pt idx="693">
                  <c:v>38093</c:v>
                </c:pt>
                <c:pt idx="694">
                  <c:v>38100</c:v>
                </c:pt>
                <c:pt idx="695">
                  <c:v>38107</c:v>
                </c:pt>
                <c:pt idx="696">
                  <c:v>38114</c:v>
                </c:pt>
                <c:pt idx="697">
                  <c:v>38121</c:v>
                </c:pt>
                <c:pt idx="698">
                  <c:v>38128</c:v>
                </c:pt>
                <c:pt idx="699">
                  <c:v>38135</c:v>
                </c:pt>
                <c:pt idx="700">
                  <c:v>38142</c:v>
                </c:pt>
                <c:pt idx="701">
                  <c:v>38149</c:v>
                </c:pt>
                <c:pt idx="702">
                  <c:v>38156</c:v>
                </c:pt>
                <c:pt idx="703">
                  <c:v>38163</c:v>
                </c:pt>
                <c:pt idx="704">
                  <c:v>38170</c:v>
                </c:pt>
                <c:pt idx="705">
                  <c:v>38177</c:v>
                </c:pt>
                <c:pt idx="706">
                  <c:v>38184</c:v>
                </c:pt>
                <c:pt idx="707">
                  <c:v>38191</c:v>
                </c:pt>
                <c:pt idx="708">
                  <c:v>38198</c:v>
                </c:pt>
                <c:pt idx="709">
                  <c:v>38205</c:v>
                </c:pt>
                <c:pt idx="710">
                  <c:v>38212</c:v>
                </c:pt>
                <c:pt idx="711">
                  <c:v>38219</c:v>
                </c:pt>
                <c:pt idx="712">
                  <c:v>38226</c:v>
                </c:pt>
                <c:pt idx="713">
                  <c:v>38233</c:v>
                </c:pt>
                <c:pt idx="714">
                  <c:v>38240</c:v>
                </c:pt>
                <c:pt idx="715">
                  <c:v>38247</c:v>
                </c:pt>
                <c:pt idx="716">
                  <c:v>38254</c:v>
                </c:pt>
                <c:pt idx="717">
                  <c:v>38261</c:v>
                </c:pt>
                <c:pt idx="718">
                  <c:v>38268</c:v>
                </c:pt>
                <c:pt idx="719">
                  <c:v>38275</c:v>
                </c:pt>
                <c:pt idx="720">
                  <c:v>38282</c:v>
                </c:pt>
                <c:pt idx="721">
                  <c:v>38289</c:v>
                </c:pt>
                <c:pt idx="722">
                  <c:v>38296</c:v>
                </c:pt>
                <c:pt idx="723">
                  <c:v>38303</c:v>
                </c:pt>
                <c:pt idx="724">
                  <c:v>38310</c:v>
                </c:pt>
                <c:pt idx="725">
                  <c:v>38317</c:v>
                </c:pt>
                <c:pt idx="726">
                  <c:v>38324</c:v>
                </c:pt>
                <c:pt idx="727">
                  <c:v>38331</c:v>
                </c:pt>
                <c:pt idx="728">
                  <c:v>38338</c:v>
                </c:pt>
                <c:pt idx="729">
                  <c:v>38345</c:v>
                </c:pt>
                <c:pt idx="730">
                  <c:v>38352</c:v>
                </c:pt>
                <c:pt idx="731">
                  <c:v>38359</c:v>
                </c:pt>
                <c:pt idx="732">
                  <c:v>38366</c:v>
                </c:pt>
                <c:pt idx="733">
                  <c:v>38373</c:v>
                </c:pt>
                <c:pt idx="734">
                  <c:v>38380</c:v>
                </c:pt>
                <c:pt idx="735">
                  <c:v>38387</c:v>
                </c:pt>
                <c:pt idx="736">
                  <c:v>38394</c:v>
                </c:pt>
                <c:pt idx="737">
                  <c:v>38401</c:v>
                </c:pt>
                <c:pt idx="738">
                  <c:v>38408</c:v>
                </c:pt>
                <c:pt idx="739">
                  <c:v>38415</c:v>
                </c:pt>
                <c:pt idx="740">
                  <c:v>38422</c:v>
                </c:pt>
                <c:pt idx="741">
                  <c:v>38429</c:v>
                </c:pt>
                <c:pt idx="742">
                  <c:v>38436</c:v>
                </c:pt>
                <c:pt idx="743">
                  <c:v>38443</c:v>
                </c:pt>
                <c:pt idx="744">
                  <c:v>38450</c:v>
                </c:pt>
                <c:pt idx="745">
                  <c:v>38457</c:v>
                </c:pt>
                <c:pt idx="746">
                  <c:v>38464</c:v>
                </c:pt>
                <c:pt idx="747">
                  <c:v>38471</c:v>
                </c:pt>
                <c:pt idx="748">
                  <c:v>38478</c:v>
                </c:pt>
                <c:pt idx="749">
                  <c:v>38485</c:v>
                </c:pt>
                <c:pt idx="750">
                  <c:v>38492</c:v>
                </c:pt>
                <c:pt idx="751">
                  <c:v>38499</c:v>
                </c:pt>
                <c:pt idx="752">
                  <c:v>38506</c:v>
                </c:pt>
                <c:pt idx="753">
                  <c:v>38513</c:v>
                </c:pt>
                <c:pt idx="754">
                  <c:v>38520</c:v>
                </c:pt>
                <c:pt idx="755">
                  <c:v>38527</c:v>
                </c:pt>
                <c:pt idx="756">
                  <c:v>38534</c:v>
                </c:pt>
                <c:pt idx="757">
                  <c:v>38541</c:v>
                </c:pt>
                <c:pt idx="758">
                  <c:v>38548</c:v>
                </c:pt>
                <c:pt idx="759">
                  <c:v>38555</c:v>
                </c:pt>
                <c:pt idx="760">
                  <c:v>38562</c:v>
                </c:pt>
                <c:pt idx="761">
                  <c:v>38569</c:v>
                </c:pt>
                <c:pt idx="762">
                  <c:v>38576</c:v>
                </c:pt>
                <c:pt idx="763">
                  <c:v>38583</c:v>
                </c:pt>
                <c:pt idx="764">
                  <c:v>38590</c:v>
                </c:pt>
                <c:pt idx="765">
                  <c:v>38597</c:v>
                </c:pt>
                <c:pt idx="766">
                  <c:v>38604</c:v>
                </c:pt>
                <c:pt idx="767">
                  <c:v>38611</c:v>
                </c:pt>
                <c:pt idx="768">
                  <c:v>38618</c:v>
                </c:pt>
                <c:pt idx="769">
                  <c:v>38625</c:v>
                </c:pt>
                <c:pt idx="770">
                  <c:v>38632</c:v>
                </c:pt>
                <c:pt idx="771">
                  <c:v>38639</c:v>
                </c:pt>
                <c:pt idx="772">
                  <c:v>38646</c:v>
                </c:pt>
                <c:pt idx="773">
                  <c:v>38653</c:v>
                </c:pt>
                <c:pt idx="774">
                  <c:v>38660</c:v>
                </c:pt>
                <c:pt idx="775">
                  <c:v>38667</c:v>
                </c:pt>
                <c:pt idx="776">
                  <c:v>38674</c:v>
                </c:pt>
                <c:pt idx="777">
                  <c:v>38681</c:v>
                </c:pt>
                <c:pt idx="778">
                  <c:v>38688</c:v>
                </c:pt>
                <c:pt idx="779">
                  <c:v>38695</c:v>
                </c:pt>
                <c:pt idx="780">
                  <c:v>38702</c:v>
                </c:pt>
                <c:pt idx="781">
                  <c:v>38709</c:v>
                </c:pt>
                <c:pt idx="782">
                  <c:v>38716</c:v>
                </c:pt>
                <c:pt idx="783">
                  <c:v>38723</c:v>
                </c:pt>
                <c:pt idx="784">
                  <c:v>38730</c:v>
                </c:pt>
                <c:pt idx="785">
                  <c:v>38737</c:v>
                </c:pt>
                <c:pt idx="786">
                  <c:v>38744</c:v>
                </c:pt>
                <c:pt idx="787">
                  <c:v>38751</c:v>
                </c:pt>
                <c:pt idx="788">
                  <c:v>38758</c:v>
                </c:pt>
                <c:pt idx="789">
                  <c:v>38765</c:v>
                </c:pt>
                <c:pt idx="790">
                  <c:v>38772</c:v>
                </c:pt>
                <c:pt idx="791">
                  <c:v>38779</c:v>
                </c:pt>
                <c:pt idx="792">
                  <c:v>38786</c:v>
                </c:pt>
                <c:pt idx="793">
                  <c:v>38793</c:v>
                </c:pt>
                <c:pt idx="794">
                  <c:v>38800</c:v>
                </c:pt>
                <c:pt idx="795">
                  <c:v>38807</c:v>
                </c:pt>
                <c:pt idx="796">
                  <c:v>38814</c:v>
                </c:pt>
                <c:pt idx="797">
                  <c:v>38821</c:v>
                </c:pt>
                <c:pt idx="798">
                  <c:v>38828</c:v>
                </c:pt>
                <c:pt idx="799">
                  <c:v>38835</c:v>
                </c:pt>
                <c:pt idx="800">
                  <c:v>38842</c:v>
                </c:pt>
                <c:pt idx="801">
                  <c:v>38849</c:v>
                </c:pt>
                <c:pt idx="802">
                  <c:v>38856</c:v>
                </c:pt>
                <c:pt idx="803">
                  <c:v>38863</c:v>
                </c:pt>
                <c:pt idx="804">
                  <c:v>38870</c:v>
                </c:pt>
                <c:pt idx="805">
                  <c:v>38877</c:v>
                </c:pt>
                <c:pt idx="806">
                  <c:v>38884</c:v>
                </c:pt>
                <c:pt idx="807">
                  <c:v>38891</c:v>
                </c:pt>
                <c:pt idx="808">
                  <c:v>38898</c:v>
                </c:pt>
                <c:pt idx="809">
                  <c:v>38905</c:v>
                </c:pt>
                <c:pt idx="810">
                  <c:v>38912</c:v>
                </c:pt>
                <c:pt idx="811">
                  <c:v>38919</c:v>
                </c:pt>
                <c:pt idx="812">
                  <c:v>38926</c:v>
                </c:pt>
                <c:pt idx="813">
                  <c:v>38933</c:v>
                </c:pt>
                <c:pt idx="814">
                  <c:v>38940</c:v>
                </c:pt>
                <c:pt idx="815">
                  <c:v>38947</c:v>
                </c:pt>
                <c:pt idx="816">
                  <c:v>38954</c:v>
                </c:pt>
                <c:pt idx="817">
                  <c:v>38961</c:v>
                </c:pt>
                <c:pt idx="818">
                  <c:v>38968</c:v>
                </c:pt>
                <c:pt idx="819">
                  <c:v>38975</c:v>
                </c:pt>
                <c:pt idx="820">
                  <c:v>38982</c:v>
                </c:pt>
                <c:pt idx="821">
                  <c:v>38989</c:v>
                </c:pt>
                <c:pt idx="822">
                  <c:v>38996</c:v>
                </c:pt>
                <c:pt idx="823">
                  <c:v>39003</c:v>
                </c:pt>
                <c:pt idx="824">
                  <c:v>39010</c:v>
                </c:pt>
                <c:pt idx="825">
                  <c:v>39017</c:v>
                </c:pt>
                <c:pt idx="826">
                  <c:v>39024</c:v>
                </c:pt>
                <c:pt idx="827">
                  <c:v>39031</c:v>
                </c:pt>
                <c:pt idx="828">
                  <c:v>39038</c:v>
                </c:pt>
                <c:pt idx="829">
                  <c:v>39045</c:v>
                </c:pt>
                <c:pt idx="830">
                  <c:v>39052</c:v>
                </c:pt>
                <c:pt idx="831">
                  <c:v>39059</c:v>
                </c:pt>
                <c:pt idx="832">
                  <c:v>39066</c:v>
                </c:pt>
                <c:pt idx="833">
                  <c:v>39073</c:v>
                </c:pt>
                <c:pt idx="834">
                  <c:v>39080</c:v>
                </c:pt>
                <c:pt idx="835">
                  <c:v>39087</c:v>
                </c:pt>
                <c:pt idx="836">
                  <c:v>39094</c:v>
                </c:pt>
                <c:pt idx="837">
                  <c:v>39101</c:v>
                </c:pt>
                <c:pt idx="838">
                  <c:v>39108</c:v>
                </c:pt>
                <c:pt idx="839">
                  <c:v>39115</c:v>
                </c:pt>
                <c:pt idx="840">
                  <c:v>39122</c:v>
                </c:pt>
                <c:pt idx="841">
                  <c:v>39129</c:v>
                </c:pt>
                <c:pt idx="842">
                  <c:v>39136</c:v>
                </c:pt>
                <c:pt idx="843">
                  <c:v>39143</c:v>
                </c:pt>
                <c:pt idx="844">
                  <c:v>39150</c:v>
                </c:pt>
                <c:pt idx="845">
                  <c:v>39157</c:v>
                </c:pt>
                <c:pt idx="846">
                  <c:v>39164</c:v>
                </c:pt>
                <c:pt idx="847">
                  <c:v>39171</c:v>
                </c:pt>
                <c:pt idx="848">
                  <c:v>39178</c:v>
                </c:pt>
                <c:pt idx="849">
                  <c:v>39185</c:v>
                </c:pt>
                <c:pt idx="850">
                  <c:v>39192</c:v>
                </c:pt>
                <c:pt idx="851">
                  <c:v>39199</c:v>
                </c:pt>
                <c:pt idx="852">
                  <c:v>39206</c:v>
                </c:pt>
                <c:pt idx="853">
                  <c:v>39213</c:v>
                </c:pt>
                <c:pt idx="854">
                  <c:v>39220</c:v>
                </c:pt>
                <c:pt idx="855">
                  <c:v>39227</c:v>
                </c:pt>
                <c:pt idx="856">
                  <c:v>39234</c:v>
                </c:pt>
                <c:pt idx="857">
                  <c:v>39241</c:v>
                </c:pt>
                <c:pt idx="858">
                  <c:v>39248</c:v>
                </c:pt>
                <c:pt idx="859">
                  <c:v>39255</c:v>
                </c:pt>
                <c:pt idx="860">
                  <c:v>39262</c:v>
                </c:pt>
                <c:pt idx="861">
                  <c:v>39269</c:v>
                </c:pt>
                <c:pt idx="862">
                  <c:v>39276</c:v>
                </c:pt>
                <c:pt idx="863">
                  <c:v>39283</c:v>
                </c:pt>
                <c:pt idx="864">
                  <c:v>39290</c:v>
                </c:pt>
                <c:pt idx="865">
                  <c:v>39297</c:v>
                </c:pt>
                <c:pt idx="866">
                  <c:v>39304</c:v>
                </c:pt>
                <c:pt idx="867">
                  <c:v>39311</c:v>
                </c:pt>
                <c:pt idx="868">
                  <c:v>39318</c:v>
                </c:pt>
                <c:pt idx="869">
                  <c:v>39325</c:v>
                </c:pt>
                <c:pt idx="870">
                  <c:v>39332</c:v>
                </c:pt>
                <c:pt idx="871">
                  <c:v>39339</c:v>
                </c:pt>
                <c:pt idx="872">
                  <c:v>39346</c:v>
                </c:pt>
                <c:pt idx="873">
                  <c:v>39353</c:v>
                </c:pt>
                <c:pt idx="874">
                  <c:v>39360</c:v>
                </c:pt>
                <c:pt idx="875">
                  <c:v>39367</c:v>
                </c:pt>
                <c:pt idx="876">
                  <c:v>39374</c:v>
                </c:pt>
                <c:pt idx="877">
                  <c:v>39381</c:v>
                </c:pt>
                <c:pt idx="878">
                  <c:v>39388</c:v>
                </c:pt>
                <c:pt idx="879">
                  <c:v>39395</c:v>
                </c:pt>
                <c:pt idx="880">
                  <c:v>39402</c:v>
                </c:pt>
                <c:pt idx="881">
                  <c:v>39409</c:v>
                </c:pt>
                <c:pt idx="882">
                  <c:v>39416</c:v>
                </c:pt>
                <c:pt idx="883">
                  <c:v>39423</c:v>
                </c:pt>
                <c:pt idx="884">
                  <c:v>39430</c:v>
                </c:pt>
                <c:pt idx="885">
                  <c:v>39437</c:v>
                </c:pt>
                <c:pt idx="886">
                  <c:v>39444</c:v>
                </c:pt>
                <c:pt idx="887">
                  <c:v>39451</c:v>
                </c:pt>
                <c:pt idx="888">
                  <c:v>39458</c:v>
                </c:pt>
                <c:pt idx="889">
                  <c:v>39465</c:v>
                </c:pt>
                <c:pt idx="890">
                  <c:v>39472</c:v>
                </c:pt>
                <c:pt idx="891">
                  <c:v>39479</c:v>
                </c:pt>
                <c:pt idx="892">
                  <c:v>39486</c:v>
                </c:pt>
                <c:pt idx="893">
                  <c:v>39493</c:v>
                </c:pt>
                <c:pt idx="894">
                  <c:v>39500</c:v>
                </c:pt>
                <c:pt idx="895">
                  <c:v>39507</c:v>
                </c:pt>
                <c:pt idx="896">
                  <c:v>39514</c:v>
                </c:pt>
                <c:pt idx="897">
                  <c:v>39521</c:v>
                </c:pt>
                <c:pt idx="898">
                  <c:v>39528</c:v>
                </c:pt>
                <c:pt idx="899">
                  <c:v>39535</c:v>
                </c:pt>
                <c:pt idx="900">
                  <c:v>39542</c:v>
                </c:pt>
                <c:pt idx="901">
                  <c:v>39549</c:v>
                </c:pt>
                <c:pt idx="902">
                  <c:v>39556</c:v>
                </c:pt>
                <c:pt idx="903">
                  <c:v>39563</c:v>
                </c:pt>
                <c:pt idx="904">
                  <c:v>39570</c:v>
                </c:pt>
                <c:pt idx="905">
                  <c:v>39577</c:v>
                </c:pt>
                <c:pt idx="906">
                  <c:v>39584</c:v>
                </c:pt>
                <c:pt idx="907">
                  <c:v>39591</c:v>
                </c:pt>
                <c:pt idx="908">
                  <c:v>39598</c:v>
                </c:pt>
                <c:pt idx="909">
                  <c:v>39605</c:v>
                </c:pt>
                <c:pt idx="910">
                  <c:v>39612</c:v>
                </c:pt>
                <c:pt idx="911">
                  <c:v>39619</c:v>
                </c:pt>
                <c:pt idx="912">
                  <c:v>39626</c:v>
                </c:pt>
                <c:pt idx="913">
                  <c:v>39633</c:v>
                </c:pt>
                <c:pt idx="914">
                  <c:v>39640</c:v>
                </c:pt>
                <c:pt idx="915">
                  <c:v>39647</c:v>
                </c:pt>
                <c:pt idx="916">
                  <c:v>39654</c:v>
                </c:pt>
                <c:pt idx="917">
                  <c:v>39661</c:v>
                </c:pt>
                <c:pt idx="918">
                  <c:v>39668</c:v>
                </c:pt>
                <c:pt idx="919">
                  <c:v>39675</c:v>
                </c:pt>
                <c:pt idx="920">
                  <c:v>39682</c:v>
                </c:pt>
                <c:pt idx="921">
                  <c:v>39689</c:v>
                </c:pt>
                <c:pt idx="922">
                  <c:v>39696</c:v>
                </c:pt>
                <c:pt idx="923">
                  <c:v>39703</c:v>
                </c:pt>
                <c:pt idx="924">
                  <c:v>39710</c:v>
                </c:pt>
                <c:pt idx="925">
                  <c:v>39717</c:v>
                </c:pt>
                <c:pt idx="926">
                  <c:v>39724</c:v>
                </c:pt>
                <c:pt idx="927">
                  <c:v>39731</c:v>
                </c:pt>
                <c:pt idx="928">
                  <c:v>39738</c:v>
                </c:pt>
                <c:pt idx="929">
                  <c:v>39745</c:v>
                </c:pt>
                <c:pt idx="930">
                  <c:v>39752</c:v>
                </c:pt>
                <c:pt idx="931">
                  <c:v>39759</c:v>
                </c:pt>
                <c:pt idx="932">
                  <c:v>39766</c:v>
                </c:pt>
                <c:pt idx="933">
                  <c:v>39773</c:v>
                </c:pt>
                <c:pt idx="934">
                  <c:v>39780</c:v>
                </c:pt>
                <c:pt idx="935">
                  <c:v>39787</c:v>
                </c:pt>
                <c:pt idx="936">
                  <c:v>39794</c:v>
                </c:pt>
                <c:pt idx="937">
                  <c:v>39801</c:v>
                </c:pt>
                <c:pt idx="938">
                  <c:v>39808</c:v>
                </c:pt>
                <c:pt idx="939">
                  <c:v>39815</c:v>
                </c:pt>
                <c:pt idx="940">
                  <c:v>39822</c:v>
                </c:pt>
                <c:pt idx="941">
                  <c:v>39829</c:v>
                </c:pt>
                <c:pt idx="942">
                  <c:v>39836</c:v>
                </c:pt>
                <c:pt idx="943">
                  <c:v>39843</c:v>
                </c:pt>
                <c:pt idx="944">
                  <c:v>39850</c:v>
                </c:pt>
                <c:pt idx="945">
                  <c:v>39857</c:v>
                </c:pt>
                <c:pt idx="946">
                  <c:v>39864</c:v>
                </c:pt>
                <c:pt idx="947">
                  <c:v>39871</c:v>
                </c:pt>
                <c:pt idx="948">
                  <c:v>39878</c:v>
                </c:pt>
                <c:pt idx="949">
                  <c:v>39885</c:v>
                </c:pt>
                <c:pt idx="950">
                  <c:v>39892</c:v>
                </c:pt>
                <c:pt idx="951">
                  <c:v>39899</c:v>
                </c:pt>
                <c:pt idx="952">
                  <c:v>39906</c:v>
                </c:pt>
                <c:pt idx="953">
                  <c:v>39913</c:v>
                </c:pt>
                <c:pt idx="954">
                  <c:v>39920</c:v>
                </c:pt>
                <c:pt idx="955">
                  <c:v>39927</c:v>
                </c:pt>
                <c:pt idx="956">
                  <c:v>39934</c:v>
                </c:pt>
                <c:pt idx="957">
                  <c:v>39941</c:v>
                </c:pt>
                <c:pt idx="958">
                  <c:v>39948</c:v>
                </c:pt>
                <c:pt idx="959">
                  <c:v>39955</c:v>
                </c:pt>
                <c:pt idx="960">
                  <c:v>39962</c:v>
                </c:pt>
                <c:pt idx="961">
                  <c:v>39969</c:v>
                </c:pt>
                <c:pt idx="962">
                  <c:v>39976</c:v>
                </c:pt>
                <c:pt idx="963">
                  <c:v>39983</c:v>
                </c:pt>
                <c:pt idx="964">
                  <c:v>39990</c:v>
                </c:pt>
                <c:pt idx="965">
                  <c:v>39997</c:v>
                </c:pt>
                <c:pt idx="966">
                  <c:v>40004</c:v>
                </c:pt>
                <c:pt idx="967">
                  <c:v>40011</c:v>
                </c:pt>
                <c:pt idx="968">
                  <c:v>40018</c:v>
                </c:pt>
                <c:pt idx="969">
                  <c:v>40025</c:v>
                </c:pt>
                <c:pt idx="970">
                  <c:v>40032</c:v>
                </c:pt>
                <c:pt idx="971">
                  <c:v>40039</c:v>
                </c:pt>
                <c:pt idx="972">
                  <c:v>40046</c:v>
                </c:pt>
                <c:pt idx="973">
                  <c:v>40053</c:v>
                </c:pt>
                <c:pt idx="974">
                  <c:v>40060</c:v>
                </c:pt>
                <c:pt idx="975">
                  <c:v>40067</c:v>
                </c:pt>
                <c:pt idx="976">
                  <c:v>40074</c:v>
                </c:pt>
                <c:pt idx="977">
                  <c:v>40081</c:v>
                </c:pt>
                <c:pt idx="978">
                  <c:v>40088</c:v>
                </c:pt>
                <c:pt idx="979">
                  <c:v>40095</c:v>
                </c:pt>
                <c:pt idx="980">
                  <c:v>40102</c:v>
                </c:pt>
                <c:pt idx="981">
                  <c:v>40109</c:v>
                </c:pt>
                <c:pt idx="982">
                  <c:v>40116</c:v>
                </c:pt>
                <c:pt idx="983">
                  <c:v>40123</c:v>
                </c:pt>
                <c:pt idx="984">
                  <c:v>40130</c:v>
                </c:pt>
                <c:pt idx="985">
                  <c:v>40137</c:v>
                </c:pt>
                <c:pt idx="986">
                  <c:v>40144</c:v>
                </c:pt>
                <c:pt idx="987">
                  <c:v>40151</c:v>
                </c:pt>
                <c:pt idx="988">
                  <c:v>40158</c:v>
                </c:pt>
                <c:pt idx="989">
                  <c:v>40165</c:v>
                </c:pt>
                <c:pt idx="990">
                  <c:v>40172</c:v>
                </c:pt>
                <c:pt idx="991">
                  <c:v>40179</c:v>
                </c:pt>
                <c:pt idx="992">
                  <c:v>40186</c:v>
                </c:pt>
                <c:pt idx="993">
                  <c:v>40193</c:v>
                </c:pt>
                <c:pt idx="994">
                  <c:v>40200</c:v>
                </c:pt>
                <c:pt idx="995">
                  <c:v>40207</c:v>
                </c:pt>
                <c:pt idx="996">
                  <c:v>40214</c:v>
                </c:pt>
                <c:pt idx="997">
                  <c:v>40221</c:v>
                </c:pt>
                <c:pt idx="998">
                  <c:v>40228</c:v>
                </c:pt>
                <c:pt idx="999">
                  <c:v>40235</c:v>
                </c:pt>
                <c:pt idx="1000">
                  <c:v>40242</c:v>
                </c:pt>
                <c:pt idx="1001">
                  <c:v>40249</c:v>
                </c:pt>
                <c:pt idx="1002">
                  <c:v>40256</c:v>
                </c:pt>
                <c:pt idx="1003">
                  <c:v>40263</c:v>
                </c:pt>
                <c:pt idx="1004">
                  <c:v>40270</c:v>
                </c:pt>
                <c:pt idx="1005">
                  <c:v>40277</c:v>
                </c:pt>
                <c:pt idx="1006">
                  <c:v>40284</c:v>
                </c:pt>
                <c:pt idx="1007">
                  <c:v>40291</c:v>
                </c:pt>
                <c:pt idx="1008">
                  <c:v>40298</c:v>
                </c:pt>
                <c:pt idx="1009">
                  <c:v>40305</c:v>
                </c:pt>
                <c:pt idx="1010">
                  <c:v>40312</c:v>
                </c:pt>
                <c:pt idx="1011">
                  <c:v>40319</c:v>
                </c:pt>
                <c:pt idx="1012">
                  <c:v>40326</c:v>
                </c:pt>
                <c:pt idx="1013">
                  <c:v>40333</c:v>
                </c:pt>
                <c:pt idx="1014">
                  <c:v>40340</c:v>
                </c:pt>
                <c:pt idx="1015">
                  <c:v>40347</c:v>
                </c:pt>
                <c:pt idx="1016">
                  <c:v>40354</c:v>
                </c:pt>
                <c:pt idx="1017">
                  <c:v>40361</c:v>
                </c:pt>
                <c:pt idx="1018">
                  <c:v>40368</c:v>
                </c:pt>
                <c:pt idx="1019">
                  <c:v>40375</c:v>
                </c:pt>
                <c:pt idx="1020">
                  <c:v>40382</c:v>
                </c:pt>
                <c:pt idx="1021">
                  <c:v>40389</c:v>
                </c:pt>
                <c:pt idx="1022">
                  <c:v>40396</c:v>
                </c:pt>
                <c:pt idx="1023">
                  <c:v>40403</c:v>
                </c:pt>
                <c:pt idx="1024">
                  <c:v>40410</c:v>
                </c:pt>
                <c:pt idx="1025">
                  <c:v>40417</c:v>
                </c:pt>
                <c:pt idx="1026">
                  <c:v>40424</c:v>
                </c:pt>
                <c:pt idx="1027">
                  <c:v>40431</c:v>
                </c:pt>
                <c:pt idx="1028">
                  <c:v>40438</c:v>
                </c:pt>
                <c:pt idx="1029">
                  <c:v>40445</c:v>
                </c:pt>
                <c:pt idx="1030">
                  <c:v>40452</c:v>
                </c:pt>
                <c:pt idx="1031">
                  <c:v>40459</c:v>
                </c:pt>
                <c:pt idx="1032">
                  <c:v>40466</c:v>
                </c:pt>
                <c:pt idx="1033">
                  <c:v>40473</c:v>
                </c:pt>
                <c:pt idx="1034">
                  <c:v>40480</c:v>
                </c:pt>
                <c:pt idx="1035">
                  <c:v>40487</c:v>
                </c:pt>
                <c:pt idx="1036">
                  <c:v>40494</c:v>
                </c:pt>
                <c:pt idx="1037">
                  <c:v>40501</c:v>
                </c:pt>
                <c:pt idx="1038">
                  <c:v>40508</c:v>
                </c:pt>
                <c:pt idx="1039">
                  <c:v>40515</c:v>
                </c:pt>
                <c:pt idx="1040">
                  <c:v>40522</c:v>
                </c:pt>
                <c:pt idx="1041">
                  <c:v>40529</c:v>
                </c:pt>
                <c:pt idx="1042">
                  <c:v>40536</c:v>
                </c:pt>
                <c:pt idx="1043">
                  <c:v>40543</c:v>
                </c:pt>
                <c:pt idx="1044">
                  <c:v>40550</c:v>
                </c:pt>
                <c:pt idx="1045">
                  <c:v>40557</c:v>
                </c:pt>
                <c:pt idx="1046">
                  <c:v>40564</c:v>
                </c:pt>
                <c:pt idx="1047">
                  <c:v>40571</c:v>
                </c:pt>
                <c:pt idx="1048">
                  <c:v>40578</c:v>
                </c:pt>
                <c:pt idx="1049">
                  <c:v>40585</c:v>
                </c:pt>
                <c:pt idx="1050">
                  <c:v>40592</c:v>
                </c:pt>
                <c:pt idx="1051">
                  <c:v>40599</c:v>
                </c:pt>
                <c:pt idx="1052">
                  <c:v>40606</c:v>
                </c:pt>
                <c:pt idx="1053">
                  <c:v>40613</c:v>
                </c:pt>
                <c:pt idx="1054">
                  <c:v>40620</c:v>
                </c:pt>
                <c:pt idx="1055">
                  <c:v>40627</c:v>
                </c:pt>
                <c:pt idx="1056">
                  <c:v>40634</c:v>
                </c:pt>
                <c:pt idx="1057">
                  <c:v>40641</c:v>
                </c:pt>
                <c:pt idx="1058">
                  <c:v>40648</c:v>
                </c:pt>
                <c:pt idx="1059">
                  <c:v>40655</c:v>
                </c:pt>
                <c:pt idx="1060">
                  <c:v>40662</c:v>
                </c:pt>
                <c:pt idx="1061">
                  <c:v>40669</c:v>
                </c:pt>
                <c:pt idx="1062">
                  <c:v>40676</c:v>
                </c:pt>
                <c:pt idx="1063">
                  <c:v>40683</c:v>
                </c:pt>
                <c:pt idx="1064">
                  <c:v>40690</c:v>
                </c:pt>
                <c:pt idx="1065">
                  <c:v>40697</c:v>
                </c:pt>
                <c:pt idx="1066">
                  <c:v>40704</c:v>
                </c:pt>
                <c:pt idx="1067">
                  <c:v>40711</c:v>
                </c:pt>
                <c:pt idx="1068">
                  <c:v>40718</c:v>
                </c:pt>
                <c:pt idx="1069">
                  <c:v>40725</c:v>
                </c:pt>
                <c:pt idx="1070">
                  <c:v>40732</c:v>
                </c:pt>
                <c:pt idx="1071">
                  <c:v>40739</c:v>
                </c:pt>
                <c:pt idx="1072">
                  <c:v>40746</c:v>
                </c:pt>
                <c:pt idx="1073">
                  <c:v>40753</c:v>
                </c:pt>
                <c:pt idx="1074">
                  <c:v>40760</c:v>
                </c:pt>
                <c:pt idx="1075">
                  <c:v>40767</c:v>
                </c:pt>
                <c:pt idx="1076">
                  <c:v>40774</c:v>
                </c:pt>
                <c:pt idx="1077">
                  <c:v>40781</c:v>
                </c:pt>
                <c:pt idx="1078">
                  <c:v>40788</c:v>
                </c:pt>
                <c:pt idx="1079">
                  <c:v>40795</c:v>
                </c:pt>
                <c:pt idx="1080">
                  <c:v>40802</c:v>
                </c:pt>
                <c:pt idx="1081">
                  <c:v>40809</c:v>
                </c:pt>
                <c:pt idx="1082">
                  <c:v>40816</c:v>
                </c:pt>
                <c:pt idx="1083">
                  <c:v>40823</c:v>
                </c:pt>
                <c:pt idx="1084">
                  <c:v>40830</c:v>
                </c:pt>
                <c:pt idx="1085">
                  <c:v>40837</c:v>
                </c:pt>
                <c:pt idx="1086">
                  <c:v>40844</c:v>
                </c:pt>
                <c:pt idx="1087">
                  <c:v>40851</c:v>
                </c:pt>
                <c:pt idx="1088">
                  <c:v>40858</c:v>
                </c:pt>
                <c:pt idx="1089">
                  <c:v>40865</c:v>
                </c:pt>
                <c:pt idx="1090">
                  <c:v>40872</c:v>
                </c:pt>
                <c:pt idx="1091">
                  <c:v>40879</c:v>
                </c:pt>
                <c:pt idx="1092">
                  <c:v>40886</c:v>
                </c:pt>
                <c:pt idx="1093">
                  <c:v>40893</c:v>
                </c:pt>
                <c:pt idx="1094">
                  <c:v>40900</c:v>
                </c:pt>
                <c:pt idx="1095">
                  <c:v>40907</c:v>
                </c:pt>
                <c:pt idx="1096">
                  <c:v>40914</c:v>
                </c:pt>
                <c:pt idx="1097">
                  <c:v>40921</c:v>
                </c:pt>
                <c:pt idx="1098">
                  <c:v>40928</c:v>
                </c:pt>
                <c:pt idx="1099">
                  <c:v>40935</c:v>
                </c:pt>
                <c:pt idx="1100">
                  <c:v>40942</c:v>
                </c:pt>
                <c:pt idx="1101">
                  <c:v>40949</c:v>
                </c:pt>
                <c:pt idx="1102">
                  <c:v>40956</c:v>
                </c:pt>
                <c:pt idx="1103">
                  <c:v>40963</c:v>
                </c:pt>
                <c:pt idx="1104">
                  <c:v>40970</c:v>
                </c:pt>
                <c:pt idx="1105">
                  <c:v>40977</c:v>
                </c:pt>
                <c:pt idx="1106">
                  <c:v>40984</c:v>
                </c:pt>
                <c:pt idx="1107">
                  <c:v>40991</c:v>
                </c:pt>
                <c:pt idx="1108">
                  <c:v>40998</c:v>
                </c:pt>
                <c:pt idx="1109">
                  <c:v>41005</c:v>
                </c:pt>
                <c:pt idx="1110">
                  <c:v>41012</c:v>
                </c:pt>
                <c:pt idx="1111">
                  <c:v>41019</c:v>
                </c:pt>
                <c:pt idx="1112">
                  <c:v>41026</c:v>
                </c:pt>
                <c:pt idx="1113">
                  <c:v>41033</c:v>
                </c:pt>
                <c:pt idx="1114">
                  <c:v>41040</c:v>
                </c:pt>
                <c:pt idx="1115">
                  <c:v>41047</c:v>
                </c:pt>
                <c:pt idx="1116">
                  <c:v>41054</c:v>
                </c:pt>
                <c:pt idx="1117">
                  <c:v>41061</c:v>
                </c:pt>
                <c:pt idx="1118">
                  <c:v>41068</c:v>
                </c:pt>
                <c:pt idx="1119">
                  <c:v>41075</c:v>
                </c:pt>
                <c:pt idx="1120">
                  <c:v>41082</c:v>
                </c:pt>
                <c:pt idx="1121">
                  <c:v>41089</c:v>
                </c:pt>
                <c:pt idx="1122">
                  <c:v>41096</c:v>
                </c:pt>
                <c:pt idx="1123">
                  <c:v>41103</c:v>
                </c:pt>
                <c:pt idx="1124">
                  <c:v>41110</c:v>
                </c:pt>
                <c:pt idx="1125">
                  <c:v>41117</c:v>
                </c:pt>
                <c:pt idx="1126">
                  <c:v>41124</c:v>
                </c:pt>
                <c:pt idx="1127">
                  <c:v>41131</c:v>
                </c:pt>
                <c:pt idx="1128">
                  <c:v>41138</c:v>
                </c:pt>
                <c:pt idx="1129">
                  <c:v>41145</c:v>
                </c:pt>
                <c:pt idx="1130">
                  <c:v>41152</c:v>
                </c:pt>
                <c:pt idx="1131">
                  <c:v>41159</c:v>
                </c:pt>
                <c:pt idx="1132">
                  <c:v>41166</c:v>
                </c:pt>
                <c:pt idx="1133">
                  <c:v>41173</c:v>
                </c:pt>
                <c:pt idx="1134">
                  <c:v>41180</c:v>
                </c:pt>
                <c:pt idx="1135">
                  <c:v>41187</c:v>
                </c:pt>
                <c:pt idx="1136">
                  <c:v>41194</c:v>
                </c:pt>
                <c:pt idx="1137">
                  <c:v>41201</c:v>
                </c:pt>
                <c:pt idx="1138">
                  <c:v>41208</c:v>
                </c:pt>
                <c:pt idx="1139">
                  <c:v>41215</c:v>
                </c:pt>
                <c:pt idx="1140">
                  <c:v>41222</c:v>
                </c:pt>
                <c:pt idx="1141">
                  <c:v>41229</c:v>
                </c:pt>
                <c:pt idx="1142">
                  <c:v>41236</c:v>
                </c:pt>
                <c:pt idx="1143">
                  <c:v>41243</c:v>
                </c:pt>
                <c:pt idx="1144">
                  <c:v>41250</c:v>
                </c:pt>
                <c:pt idx="1145">
                  <c:v>41257</c:v>
                </c:pt>
                <c:pt idx="1146">
                  <c:v>41264</c:v>
                </c:pt>
                <c:pt idx="1147">
                  <c:v>41271</c:v>
                </c:pt>
                <c:pt idx="1148">
                  <c:v>41278</c:v>
                </c:pt>
                <c:pt idx="1149">
                  <c:v>41285</c:v>
                </c:pt>
                <c:pt idx="1150">
                  <c:v>41292</c:v>
                </c:pt>
                <c:pt idx="1151">
                  <c:v>41299</c:v>
                </c:pt>
                <c:pt idx="1152">
                  <c:v>41306</c:v>
                </c:pt>
                <c:pt idx="1153">
                  <c:v>41313</c:v>
                </c:pt>
                <c:pt idx="1154">
                  <c:v>41320</c:v>
                </c:pt>
                <c:pt idx="1155">
                  <c:v>41327</c:v>
                </c:pt>
                <c:pt idx="1156">
                  <c:v>41334</c:v>
                </c:pt>
                <c:pt idx="1157">
                  <c:v>41341</c:v>
                </c:pt>
                <c:pt idx="1158">
                  <c:v>41348</c:v>
                </c:pt>
                <c:pt idx="1159">
                  <c:v>41355</c:v>
                </c:pt>
                <c:pt idx="1160">
                  <c:v>41362</c:v>
                </c:pt>
                <c:pt idx="1161">
                  <c:v>41369</c:v>
                </c:pt>
                <c:pt idx="1162">
                  <c:v>41376</c:v>
                </c:pt>
                <c:pt idx="1163">
                  <c:v>41383</c:v>
                </c:pt>
                <c:pt idx="1164">
                  <c:v>41390</c:v>
                </c:pt>
                <c:pt idx="1165">
                  <c:v>41397</c:v>
                </c:pt>
                <c:pt idx="1166">
                  <c:v>41404</c:v>
                </c:pt>
                <c:pt idx="1167">
                  <c:v>41411</c:v>
                </c:pt>
                <c:pt idx="1168">
                  <c:v>41418</c:v>
                </c:pt>
                <c:pt idx="1169">
                  <c:v>41425</c:v>
                </c:pt>
                <c:pt idx="1170">
                  <c:v>41432</c:v>
                </c:pt>
                <c:pt idx="1171">
                  <c:v>41439</c:v>
                </c:pt>
                <c:pt idx="1172">
                  <c:v>41446</c:v>
                </c:pt>
                <c:pt idx="1173">
                  <c:v>41453</c:v>
                </c:pt>
                <c:pt idx="1174">
                  <c:v>41460</c:v>
                </c:pt>
                <c:pt idx="1175">
                  <c:v>41467</c:v>
                </c:pt>
                <c:pt idx="1176">
                  <c:v>41474</c:v>
                </c:pt>
                <c:pt idx="1177">
                  <c:v>41481</c:v>
                </c:pt>
                <c:pt idx="1178">
                  <c:v>41488</c:v>
                </c:pt>
                <c:pt idx="1179">
                  <c:v>41495</c:v>
                </c:pt>
                <c:pt idx="1180">
                  <c:v>41502</c:v>
                </c:pt>
                <c:pt idx="1181">
                  <c:v>41509</c:v>
                </c:pt>
                <c:pt idx="1182">
                  <c:v>41516</c:v>
                </c:pt>
                <c:pt idx="1183">
                  <c:v>41523</c:v>
                </c:pt>
                <c:pt idx="1184">
                  <c:v>41530</c:v>
                </c:pt>
                <c:pt idx="1185">
                  <c:v>41537</c:v>
                </c:pt>
                <c:pt idx="1186">
                  <c:v>41544</c:v>
                </c:pt>
                <c:pt idx="1187">
                  <c:v>41551</c:v>
                </c:pt>
                <c:pt idx="1188">
                  <c:v>41558</c:v>
                </c:pt>
                <c:pt idx="1189">
                  <c:v>41565</c:v>
                </c:pt>
                <c:pt idx="1190">
                  <c:v>41572</c:v>
                </c:pt>
                <c:pt idx="1191">
                  <c:v>41579</c:v>
                </c:pt>
                <c:pt idx="1192">
                  <c:v>41586</c:v>
                </c:pt>
                <c:pt idx="1193">
                  <c:v>41593</c:v>
                </c:pt>
                <c:pt idx="1194">
                  <c:v>41600</c:v>
                </c:pt>
                <c:pt idx="1195">
                  <c:v>41607</c:v>
                </c:pt>
                <c:pt idx="1196">
                  <c:v>41614</c:v>
                </c:pt>
                <c:pt idx="1197">
                  <c:v>41621</c:v>
                </c:pt>
                <c:pt idx="1198">
                  <c:v>41628</c:v>
                </c:pt>
                <c:pt idx="1199">
                  <c:v>41635</c:v>
                </c:pt>
                <c:pt idx="1200">
                  <c:v>41642</c:v>
                </c:pt>
                <c:pt idx="1201">
                  <c:v>41649</c:v>
                </c:pt>
                <c:pt idx="1202">
                  <c:v>41656</c:v>
                </c:pt>
                <c:pt idx="1203">
                  <c:v>41663</c:v>
                </c:pt>
                <c:pt idx="1204">
                  <c:v>41670</c:v>
                </c:pt>
                <c:pt idx="1205">
                  <c:v>41677</c:v>
                </c:pt>
                <c:pt idx="1206">
                  <c:v>41684</c:v>
                </c:pt>
                <c:pt idx="1207">
                  <c:v>41691</c:v>
                </c:pt>
                <c:pt idx="1208">
                  <c:v>41698</c:v>
                </c:pt>
                <c:pt idx="1209">
                  <c:v>41705</c:v>
                </c:pt>
                <c:pt idx="1210">
                  <c:v>41712</c:v>
                </c:pt>
                <c:pt idx="1211">
                  <c:v>41719</c:v>
                </c:pt>
                <c:pt idx="1212">
                  <c:v>41726</c:v>
                </c:pt>
                <c:pt idx="1213">
                  <c:v>41733</c:v>
                </c:pt>
                <c:pt idx="1214">
                  <c:v>41740</c:v>
                </c:pt>
                <c:pt idx="1215">
                  <c:v>41747</c:v>
                </c:pt>
                <c:pt idx="1216">
                  <c:v>41754</c:v>
                </c:pt>
                <c:pt idx="1217">
                  <c:v>41761</c:v>
                </c:pt>
                <c:pt idx="1218">
                  <c:v>41768</c:v>
                </c:pt>
                <c:pt idx="1219">
                  <c:v>41775</c:v>
                </c:pt>
                <c:pt idx="1220">
                  <c:v>41782</c:v>
                </c:pt>
                <c:pt idx="1221">
                  <c:v>41789</c:v>
                </c:pt>
                <c:pt idx="1222">
                  <c:v>41796</c:v>
                </c:pt>
                <c:pt idx="1223">
                  <c:v>41803</c:v>
                </c:pt>
                <c:pt idx="1224">
                  <c:v>41810</c:v>
                </c:pt>
                <c:pt idx="1225">
                  <c:v>41817</c:v>
                </c:pt>
                <c:pt idx="1226">
                  <c:v>41824</c:v>
                </c:pt>
                <c:pt idx="1227">
                  <c:v>41831</c:v>
                </c:pt>
                <c:pt idx="1228">
                  <c:v>41838</c:v>
                </c:pt>
                <c:pt idx="1229">
                  <c:v>41845</c:v>
                </c:pt>
                <c:pt idx="1230">
                  <c:v>41852</c:v>
                </c:pt>
                <c:pt idx="1231">
                  <c:v>41859</c:v>
                </c:pt>
                <c:pt idx="1232">
                  <c:v>41866</c:v>
                </c:pt>
                <c:pt idx="1233">
                  <c:v>41873</c:v>
                </c:pt>
                <c:pt idx="1234">
                  <c:v>41880</c:v>
                </c:pt>
                <c:pt idx="1235">
                  <c:v>41887</c:v>
                </c:pt>
                <c:pt idx="1236">
                  <c:v>41894</c:v>
                </c:pt>
                <c:pt idx="1237">
                  <c:v>41901</c:v>
                </c:pt>
                <c:pt idx="1238">
                  <c:v>41908</c:v>
                </c:pt>
                <c:pt idx="1239">
                  <c:v>41915</c:v>
                </c:pt>
                <c:pt idx="1240">
                  <c:v>41922</c:v>
                </c:pt>
                <c:pt idx="1241">
                  <c:v>41929</c:v>
                </c:pt>
                <c:pt idx="1242">
                  <c:v>41936</c:v>
                </c:pt>
                <c:pt idx="1243">
                  <c:v>41943</c:v>
                </c:pt>
                <c:pt idx="1244">
                  <c:v>41950</c:v>
                </c:pt>
                <c:pt idx="1245">
                  <c:v>41957</c:v>
                </c:pt>
                <c:pt idx="1246">
                  <c:v>41964</c:v>
                </c:pt>
                <c:pt idx="1247">
                  <c:v>41971</c:v>
                </c:pt>
                <c:pt idx="1248">
                  <c:v>41978</c:v>
                </c:pt>
                <c:pt idx="1249">
                  <c:v>41985</c:v>
                </c:pt>
                <c:pt idx="1250">
                  <c:v>41992</c:v>
                </c:pt>
                <c:pt idx="1251">
                  <c:v>41999</c:v>
                </c:pt>
                <c:pt idx="1252">
                  <c:v>42006</c:v>
                </c:pt>
                <c:pt idx="1253">
                  <c:v>42013</c:v>
                </c:pt>
                <c:pt idx="1254">
                  <c:v>42020</c:v>
                </c:pt>
                <c:pt idx="1255">
                  <c:v>42027</c:v>
                </c:pt>
                <c:pt idx="1256">
                  <c:v>42034</c:v>
                </c:pt>
                <c:pt idx="1257">
                  <c:v>42041</c:v>
                </c:pt>
                <c:pt idx="1258">
                  <c:v>42048</c:v>
                </c:pt>
                <c:pt idx="1259">
                  <c:v>42055</c:v>
                </c:pt>
                <c:pt idx="1260">
                  <c:v>42062</c:v>
                </c:pt>
                <c:pt idx="1261">
                  <c:v>42069</c:v>
                </c:pt>
                <c:pt idx="1262">
                  <c:v>42076</c:v>
                </c:pt>
                <c:pt idx="1263">
                  <c:v>42083</c:v>
                </c:pt>
                <c:pt idx="1264">
                  <c:v>42090</c:v>
                </c:pt>
                <c:pt idx="1265">
                  <c:v>42097</c:v>
                </c:pt>
                <c:pt idx="1266">
                  <c:v>42104</c:v>
                </c:pt>
                <c:pt idx="1267">
                  <c:v>42111</c:v>
                </c:pt>
                <c:pt idx="1268">
                  <c:v>42118</c:v>
                </c:pt>
                <c:pt idx="1269">
                  <c:v>42125</c:v>
                </c:pt>
                <c:pt idx="1270">
                  <c:v>42132</c:v>
                </c:pt>
                <c:pt idx="1271">
                  <c:v>42139</c:v>
                </c:pt>
                <c:pt idx="1272">
                  <c:v>42146</c:v>
                </c:pt>
                <c:pt idx="1273">
                  <c:v>42153</c:v>
                </c:pt>
                <c:pt idx="1274">
                  <c:v>42160</c:v>
                </c:pt>
                <c:pt idx="1275">
                  <c:v>42167</c:v>
                </c:pt>
                <c:pt idx="1276">
                  <c:v>42174</c:v>
                </c:pt>
                <c:pt idx="1277">
                  <c:v>42181</c:v>
                </c:pt>
                <c:pt idx="1278">
                  <c:v>42188</c:v>
                </c:pt>
                <c:pt idx="1279">
                  <c:v>42195</c:v>
                </c:pt>
                <c:pt idx="1280">
                  <c:v>42202</c:v>
                </c:pt>
                <c:pt idx="1281">
                  <c:v>42209</c:v>
                </c:pt>
                <c:pt idx="1282">
                  <c:v>42216</c:v>
                </c:pt>
                <c:pt idx="1283">
                  <c:v>42223</c:v>
                </c:pt>
                <c:pt idx="1284">
                  <c:v>42230</c:v>
                </c:pt>
                <c:pt idx="1285">
                  <c:v>42237</c:v>
                </c:pt>
                <c:pt idx="1286">
                  <c:v>42244</c:v>
                </c:pt>
                <c:pt idx="1287">
                  <c:v>42251</c:v>
                </c:pt>
                <c:pt idx="1288">
                  <c:v>42258</c:v>
                </c:pt>
                <c:pt idx="1289">
                  <c:v>42265</c:v>
                </c:pt>
                <c:pt idx="1290">
                  <c:v>42272</c:v>
                </c:pt>
                <c:pt idx="1291">
                  <c:v>42279</c:v>
                </c:pt>
                <c:pt idx="1292">
                  <c:v>42286</c:v>
                </c:pt>
                <c:pt idx="1293">
                  <c:v>42293</c:v>
                </c:pt>
                <c:pt idx="1294">
                  <c:v>42300</c:v>
                </c:pt>
                <c:pt idx="1295">
                  <c:v>42307</c:v>
                </c:pt>
                <c:pt idx="1296">
                  <c:v>42314</c:v>
                </c:pt>
                <c:pt idx="1297">
                  <c:v>42321</c:v>
                </c:pt>
                <c:pt idx="1298">
                  <c:v>42328</c:v>
                </c:pt>
                <c:pt idx="1299">
                  <c:v>42335</c:v>
                </c:pt>
                <c:pt idx="1300">
                  <c:v>42342</c:v>
                </c:pt>
                <c:pt idx="1301">
                  <c:v>42349</c:v>
                </c:pt>
                <c:pt idx="1302">
                  <c:v>42356</c:v>
                </c:pt>
                <c:pt idx="1303">
                  <c:v>42363</c:v>
                </c:pt>
                <c:pt idx="1304">
                  <c:v>42370</c:v>
                </c:pt>
                <c:pt idx="1305">
                  <c:v>42377</c:v>
                </c:pt>
                <c:pt idx="1306">
                  <c:v>42384</c:v>
                </c:pt>
                <c:pt idx="1307">
                  <c:v>42391</c:v>
                </c:pt>
                <c:pt idx="1308">
                  <c:v>42398</c:v>
                </c:pt>
                <c:pt idx="1309">
                  <c:v>42405</c:v>
                </c:pt>
                <c:pt idx="1310">
                  <c:v>42412</c:v>
                </c:pt>
                <c:pt idx="1311">
                  <c:v>42419</c:v>
                </c:pt>
                <c:pt idx="1312">
                  <c:v>42426</c:v>
                </c:pt>
                <c:pt idx="1313">
                  <c:v>42433</c:v>
                </c:pt>
                <c:pt idx="1314">
                  <c:v>42440</c:v>
                </c:pt>
                <c:pt idx="1315">
                  <c:v>42447</c:v>
                </c:pt>
                <c:pt idx="1316">
                  <c:v>42454</c:v>
                </c:pt>
                <c:pt idx="1317">
                  <c:v>42461</c:v>
                </c:pt>
                <c:pt idx="1318">
                  <c:v>42468</c:v>
                </c:pt>
                <c:pt idx="1319">
                  <c:v>42475</c:v>
                </c:pt>
                <c:pt idx="1320">
                  <c:v>42482</c:v>
                </c:pt>
                <c:pt idx="1321">
                  <c:v>42489</c:v>
                </c:pt>
                <c:pt idx="1322">
                  <c:v>42496</c:v>
                </c:pt>
                <c:pt idx="1323">
                  <c:v>42503</c:v>
                </c:pt>
                <c:pt idx="1324">
                  <c:v>42510</c:v>
                </c:pt>
                <c:pt idx="1325">
                  <c:v>42517</c:v>
                </c:pt>
                <c:pt idx="1326">
                  <c:v>42524</c:v>
                </c:pt>
                <c:pt idx="1327">
                  <c:v>42531</c:v>
                </c:pt>
                <c:pt idx="1328">
                  <c:v>42538</c:v>
                </c:pt>
                <c:pt idx="1329">
                  <c:v>42545</c:v>
                </c:pt>
                <c:pt idx="1330">
                  <c:v>42552</c:v>
                </c:pt>
                <c:pt idx="1331">
                  <c:v>42559</c:v>
                </c:pt>
                <c:pt idx="1332">
                  <c:v>42566</c:v>
                </c:pt>
                <c:pt idx="1333">
                  <c:v>42573</c:v>
                </c:pt>
                <c:pt idx="1334">
                  <c:v>42580</c:v>
                </c:pt>
                <c:pt idx="1335">
                  <c:v>42587</c:v>
                </c:pt>
                <c:pt idx="1336">
                  <c:v>42594</c:v>
                </c:pt>
                <c:pt idx="1337">
                  <c:v>42601</c:v>
                </c:pt>
                <c:pt idx="1338">
                  <c:v>42608</c:v>
                </c:pt>
                <c:pt idx="1339">
                  <c:v>42615</c:v>
                </c:pt>
                <c:pt idx="1340">
                  <c:v>42622</c:v>
                </c:pt>
                <c:pt idx="1341">
                  <c:v>42629</c:v>
                </c:pt>
                <c:pt idx="1342">
                  <c:v>42636</c:v>
                </c:pt>
                <c:pt idx="1343">
                  <c:v>42643</c:v>
                </c:pt>
                <c:pt idx="1344">
                  <c:v>42650</c:v>
                </c:pt>
                <c:pt idx="1345">
                  <c:v>42657</c:v>
                </c:pt>
                <c:pt idx="1346">
                  <c:v>42664</c:v>
                </c:pt>
                <c:pt idx="1347">
                  <c:v>42671</c:v>
                </c:pt>
                <c:pt idx="1348">
                  <c:v>42678</c:v>
                </c:pt>
                <c:pt idx="1349">
                  <c:v>42685</c:v>
                </c:pt>
                <c:pt idx="1350">
                  <c:v>42692</c:v>
                </c:pt>
                <c:pt idx="1351">
                  <c:v>42699</c:v>
                </c:pt>
                <c:pt idx="1352">
                  <c:v>42706</c:v>
                </c:pt>
                <c:pt idx="1353">
                  <c:v>42713</c:v>
                </c:pt>
                <c:pt idx="1354">
                  <c:v>42720</c:v>
                </c:pt>
                <c:pt idx="1355">
                  <c:v>42727</c:v>
                </c:pt>
                <c:pt idx="1356">
                  <c:v>42734</c:v>
                </c:pt>
                <c:pt idx="1357">
                  <c:v>42741</c:v>
                </c:pt>
                <c:pt idx="1358">
                  <c:v>42748</c:v>
                </c:pt>
                <c:pt idx="1359">
                  <c:v>42755</c:v>
                </c:pt>
                <c:pt idx="1360">
                  <c:v>42762</c:v>
                </c:pt>
                <c:pt idx="1361">
                  <c:v>42769</c:v>
                </c:pt>
                <c:pt idx="1362">
                  <c:v>42776</c:v>
                </c:pt>
                <c:pt idx="1363">
                  <c:v>42783</c:v>
                </c:pt>
                <c:pt idx="1364">
                  <c:v>42790</c:v>
                </c:pt>
                <c:pt idx="1365">
                  <c:v>42797</c:v>
                </c:pt>
                <c:pt idx="1366">
                  <c:v>42804</c:v>
                </c:pt>
                <c:pt idx="1367">
                  <c:v>42811</c:v>
                </c:pt>
                <c:pt idx="1368">
                  <c:v>42818</c:v>
                </c:pt>
                <c:pt idx="1369">
                  <c:v>42825</c:v>
                </c:pt>
                <c:pt idx="1370">
                  <c:v>42832</c:v>
                </c:pt>
                <c:pt idx="1371">
                  <c:v>42839</c:v>
                </c:pt>
                <c:pt idx="1372">
                  <c:v>42846</c:v>
                </c:pt>
                <c:pt idx="1373">
                  <c:v>42853</c:v>
                </c:pt>
                <c:pt idx="1374">
                  <c:v>42860</c:v>
                </c:pt>
                <c:pt idx="1375">
                  <c:v>42867</c:v>
                </c:pt>
                <c:pt idx="1376">
                  <c:v>42874</c:v>
                </c:pt>
                <c:pt idx="1377">
                  <c:v>42881</c:v>
                </c:pt>
                <c:pt idx="1378">
                  <c:v>42888</c:v>
                </c:pt>
                <c:pt idx="1379">
                  <c:v>42895</c:v>
                </c:pt>
                <c:pt idx="1380">
                  <c:v>42902</c:v>
                </c:pt>
                <c:pt idx="1381">
                  <c:v>42909</c:v>
                </c:pt>
                <c:pt idx="1382">
                  <c:v>42916</c:v>
                </c:pt>
                <c:pt idx="1383">
                  <c:v>42923</c:v>
                </c:pt>
                <c:pt idx="1384">
                  <c:v>42930</c:v>
                </c:pt>
                <c:pt idx="1385">
                  <c:v>42937</c:v>
                </c:pt>
                <c:pt idx="1386">
                  <c:v>42944</c:v>
                </c:pt>
                <c:pt idx="1387">
                  <c:v>42951</c:v>
                </c:pt>
                <c:pt idx="1388">
                  <c:v>42958</c:v>
                </c:pt>
                <c:pt idx="1389">
                  <c:v>42965</c:v>
                </c:pt>
                <c:pt idx="1390">
                  <c:v>42972</c:v>
                </c:pt>
                <c:pt idx="1391">
                  <c:v>42979</c:v>
                </c:pt>
                <c:pt idx="1392">
                  <c:v>42986</c:v>
                </c:pt>
                <c:pt idx="1393">
                  <c:v>42993</c:v>
                </c:pt>
                <c:pt idx="1394">
                  <c:v>43000</c:v>
                </c:pt>
                <c:pt idx="1395">
                  <c:v>43007</c:v>
                </c:pt>
                <c:pt idx="1396">
                  <c:v>43014</c:v>
                </c:pt>
                <c:pt idx="1397">
                  <c:v>43021</c:v>
                </c:pt>
                <c:pt idx="1398">
                  <c:v>43028</c:v>
                </c:pt>
                <c:pt idx="1399">
                  <c:v>43035</c:v>
                </c:pt>
                <c:pt idx="1400">
                  <c:v>43042</c:v>
                </c:pt>
                <c:pt idx="1401">
                  <c:v>43049</c:v>
                </c:pt>
                <c:pt idx="1402">
                  <c:v>43056</c:v>
                </c:pt>
                <c:pt idx="1403">
                  <c:v>43063</c:v>
                </c:pt>
                <c:pt idx="1404">
                  <c:v>43070</c:v>
                </c:pt>
                <c:pt idx="1405">
                  <c:v>43077</c:v>
                </c:pt>
                <c:pt idx="1406">
                  <c:v>43084</c:v>
                </c:pt>
                <c:pt idx="1407">
                  <c:v>43091</c:v>
                </c:pt>
                <c:pt idx="1408">
                  <c:v>43098</c:v>
                </c:pt>
                <c:pt idx="1409">
                  <c:v>43105</c:v>
                </c:pt>
                <c:pt idx="1410">
                  <c:v>43112</c:v>
                </c:pt>
                <c:pt idx="1411">
                  <c:v>43119</c:v>
                </c:pt>
                <c:pt idx="1412">
                  <c:v>43126</c:v>
                </c:pt>
                <c:pt idx="1413">
                  <c:v>43133</c:v>
                </c:pt>
                <c:pt idx="1414">
                  <c:v>43140</c:v>
                </c:pt>
                <c:pt idx="1415">
                  <c:v>43147</c:v>
                </c:pt>
                <c:pt idx="1416">
                  <c:v>43154</c:v>
                </c:pt>
                <c:pt idx="1417">
                  <c:v>43161</c:v>
                </c:pt>
                <c:pt idx="1418">
                  <c:v>43168</c:v>
                </c:pt>
                <c:pt idx="1419">
                  <c:v>43175</c:v>
                </c:pt>
                <c:pt idx="1420">
                  <c:v>43182</c:v>
                </c:pt>
                <c:pt idx="1421">
                  <c:v>43189</c:v>
                </c:pt>
                <c:pt idx="1422">
                  <c:v>43196</c:v>
                </c:pt>
                <c:pt idx="1423">
                  <c:v>43203</c:v>
                </c:pt>
                <c:pt idx="1424">
                  <c:v>43210</c:v>
                </c:pt>
                <c:pt idx="1425">
                  <c:v>43217</c:v>
                </c:pt>
                <c:pt idx="1426">
                  <c:v>43224</c:v>
                </c:pt>
                <c:pt idx="1427">
                  <c:v>43231</c:v>
                </c:pt>
                <c:pt idx="1428">
                  <c:v>43238</c:v>
                </c:pt>
                <c:pt idx="1429">
                  <c:v>43245</c:v>
                </c:pt>
                <c:pt idx="1430">
                  <c:v>43252</c:v>
                </c:pt>
                <c:pt idx="1431">
                  <c:v>43259</c:v>
                </c:pt>
                <c:pt idx="1432">
                  <c:v>43266</c:v>
                </c:pt>
                <c:pt idx="1433">
                  <c:v>43273</c:v>
                </c:pt>
                <c:pt idx="1434">
                  <c:v>43280</c:v>
                </c:pt>
                <c:pt idx="1435">
                  <c:v>43287</c:v>
                </c:pt>
                <c:pt idx="1436">
                  <c:v>43294</c:v>
                </c:pt>
                <c:pt idx="1437">
                  <c:v>43301</c:v>
                </c:pt>
                <c:pt idx="1438">
                  <c:v>43308</c:v>
                </c:pt>
                <c:pt idx="1439">
                  <c:v>43315</c:v>
                </c:pt>
                <c:pt idx="1440">
                  <c:v>43322</c:v>
                </c:pt>
                <c:pt idx="1441">
                  <c:v>43329</c:v>
                </c:pt>
                <c:pt idx="1442">
                  <c:v>43336</c:v>
                </c:pt>
                <c:pt idx="1443">
                  <c:v>43343</c:v>
                </c:pt>
                <c:pt idx="1444">
                  <c:v>43350</c:v>
                </c:pt>
                <c:pt idx="1445">
                  <c:v>43357</c:v>
                </c:pt>
                <c:pt idx="1446">
                  <c:v>43364</c:v>
                </c:pt>
                <c:pt idx="1447">
                  <c:v>43371</c:v>
                </c:pt>
                <c:pt idx="1448">
                  <c:v>43378</c:v>
                </c:pt>
                <c:pt idx="1449">
                  <c:v>43385</c:v>
                </c:pt>
                <c:pt idx="1450">
                  <c:v>43392</c:v>
                </c:pt>
                <c:pt idx="1451">
                  <c:v>43399</c:v>
                </c:pt>
                <c:pt idx="1452">
                  <c:v>43406</c:v>
                </c:pt>
                <c:pt idx="1453">
                  <c:v>43413</c:v>
                </c:pt>
                <c:pt idx="1454">
                  <c:v>43420</c:v>
                </c:pt>
                <c:pt idx="1455">
                  <c:v>43427</c:v>
                </c:pt>
                <c:pt idx="1456">
                  <c:v>43434</c:v>
                </c:pt>
                <c:pt idx="1457">
                  <c:v>43441</c:v>
                </c:pt>
                <c:pt idx="1458">
                  <c:v>43448</c:v>
                </c:pt>
                <c:pt idx="1459">
                  <c:v>43455</c:v>
                </c:pt>
                <c:pt idx="1460">
                  <c:v>43462</c:v>
                </c:pt>
                <c:pt idx="1461">
                  <c:v>43469</c:v>
                </c:pt>
                <c:pt idx="1462">
                  <c:v>43476</c:v>
                </c:pt>
                <c:pt idx="1463">
                  <c:v>43483</c:v>
                </c:pt>
                <c:pt idx="1464">
                  <c:v>43490</c:v>
                </c:pt>
                <c:pt idx="1465">
                  <c:v>43497</c:v>
                </c:pt>
                <c:pt idx="1466">
                  <c:v>43504</c:v>
                </c:pt>
                <c:pt idx="1467">
                  <c:v>43511</c:v>
                </c:pt>
                <c:pt idx="1468">
                  <c:v>43518</c:v>
                </c:pt>
                <c:pt idx="1469">
                  <c:v>43525</c:v>
                </c:pt>
                <c:pt idx="1470">
                  <c:v>43532</c:v>
                </c:pt>
                <c:pt idx="1471">
                  <c:v>43539</c:v>
                </c:pt>
                <c:pt idx="1472">
                  <c:v>43546</c:v>
                </c:pt>
                <c:pt idx="1473">
                  <c:v>43553</c:v>
                </c:pt>
                <c:pt idx="1474">
                  <c:v>43560</c:v>
                </c:pt>
                <c:pt idx="1475">
                  <c:v>43567</c:v>
                </c:pt>
                <c:pt idx="1476">
                  <c:v>43574</c:v>
                </c:pt>
                <c:pt idx="1477">
                  <c:v>43581</c:v>
                </c:pt>
                <c:pt idx="1478">
                  <c:v>43588</c:v>
                </c:pt>
                <c:pt idx="1479">
                  <c:v>43595</c:v>
                </c:pt>
                <c:pt idx="1480">
                  <c:v>43602</c:v>
                </c:pt>
                <c:pt idx="1481">
                  <c:v>43609</c:v>
                </c:pt>
                <c:pt idx="1482">
                  <c:v>43616</c:v>
                </c:pt>
                <c:pt idx="1483">
                  <c:v>43623</c:v>
                </c:pt>
                <c:pt idx="1484">
                  <c:v>43630</c:v>
                </c:pt>
                <c:pt idx="1485">
                  <c:v>43637</c:v>
                </c:pt>
                <c:pt idx="1486">
                  <c:v>43644</c:v>
                </c:pt>
                <c:pt idx="1487">
                  <c:v>43651</c:v>
                </c:pt>
                <c:pt idx="1488">
                  <c:v>43658</c:v>
                </c:pt>
                <c:pt idx="1489">
                  <c:v>43665</c:v>
                </c:pt>
                <c:pt idx="1490">
                  <c:v>43672</c:v>
                </c:pt>
                <c:pt idx="1491">
                  <c:v>43679</c:v>
                </c:pt>
                <c:pt idx="1492">
                  <c:v>43686</c:v>
                </c:pt>
                <c:pt idx="1493">
                  <c:v>43693</c:v>
                </c:pt>
                <c:pt idx="1494">
                  <c:v>43700</c:v>
                </c:pt>
                <c:pt idx="1495">
                  <c:v>43707</c:v>
                </c:pt>
                <c:pt idx="1496">
                  <c:v>43714</c:v>
                </c:pt>
                <c:pt idx="1497">
                  <c:v>43721</c:v>
                </c:pt>
                <c:pt idx="1498">
                  <c:v>43728</c:v>
                </c:pt>
                <c:pt idx="1499">
                  <c:v>43735</c:v>
                </c:pt>
                <c:pt idx="1500">
                  <c:v>43742</c:v>
                </c:pt>
                <c:pt idx="1501">
                  <c:v>43749</c:v>
                </c:pt>
                <c:pt idx="1502">
                  <c:v>43756</c:v>
                </c:pt>
                <c:pt idx="1503">
                  <c:v>43763</c:v>
                </c:pt>
                <c:pt idx="1504">
                  <c:v>43770</c:v>
                </c:pt>
                <c:pt idx="1505">
                  <c:v>43777</c:v>
                </c:pt>
                <c:pt idx="1506">
                  <c:v>43784</c:v>
                </c:pt>
                <c:pt idx="1507">
                  <c:v>43791</c:v>
                </c:pt>
                <c:pt idx="1508">
                  <c:v>43798</c:v>
                </c:pt>
                <c:pt idx="1509">
                  <c:v>43805</c:v>
                </c:pt>
                <c:pt idx="1510">
                  <c:v>43812</c:v>
                </c:pt>
                <c:pt idx="1511">
                  <c:v>43819</c:v>
                </c:pt>
                <c:pt idx="1512">
                  <c:v>43826</c:v>
                </c:pt>
                <c:pt idx="1513">
                  <c:v>43833</c:v>
                </c:pt>
                <c:pt idx="1514">
                  <c:v>43840</c:v>
                </c:pt>
                <c:pt idx="1515">
                  <c:v>43847</c:v>
                </c:pt>
                <c:pt idx="1516">
                  <c:v>43854</c:v>
                </c:pt>
                <c:pt idx="1517">
                  <c:v>43861</c:v>
                </c:pt>
                <c:pt idx="1518">
                  <c:v>43868</c:v>
                </c:pt>
                <c:pt idx="1519">
                  <c:v>43875</c:v>
                </c:pt>
                <c:pt idx="1520">
                  <c:v>43882</c:v>
                </c:pt>
                <c:pt idx="1521">
                  <c:v>43889</c:v>
                </c:pt>
                <c:pt idx="1522">
                  <c:v>43896</c:v>
                </c:pt>
                <c:pt idx="1523">
                  <c:v>43903</c:v>
                </c:pt>
                <c:pt idx="1524">
                  <c:v>43910</c:v>
                </c:pt>
                <c:pt idx="1525">
                  <c:v>43917</c:v>
                </c:pt>
                <c:pt idx="1526">
                  <c:v>43924</c:v>
                </c:pt>
                <c:pt idx="1527">
                  <c:v>43931</c:v>
                </c:pt>
                <c:pt idx="1528">
                  <c:v>43938</c:v>
                </c:pt>
                <c:pt idx="1529">
                  <c:v>43945</c:v>
                </c:pt>
                <c:pt idx="1530">
                  <c:v>43952</c:v>
                </c:pt>
                <c:pt idx="1531">
                  <c:v>43959</c:v>
                </c:pt>
                <c:pt idx="1532">
                  <c:v>43966</c:v>
                </c:pt>
                <c:pt idx="1533">
                  <c:v>43973</c:v>
                </c:pt>
                <c:pt idx="1534">
                  <c:v>43980</c:v>
                </c:pt>
                <c:pt idx="1535">
                  <c:v>43987</c:v>
                </c:pt>
                <c:pt idx="1536">
                  <c:v>43994</c:v>
                </c:pt>
                <c:pt idx="1537">
                  <c:v>44001</c:v>
                </c:pt>
                <c:pt idx="1538">
                  <c:v>44008</c:v>
                </c:pt>
                <c:pt idx="1539">
                  <c:v>44015</c:v>
                </c:pt>
                <c:pt idx="1540">
                  <c:v>44022</c:v>
                </c:pt>
                <c:pt idx="1541">
                  <c:v>44029</c:v>
                </c:pt>
                <c:pt idx="1542">
                  <c:v>44036</c:v>
                </c:pt>
                <c:pt idx="1543">
                  <c:v>44043</c:v>
                </c:pt>
                <c:pt idx="1544">
                  <c:v>44050</c:v>
                </c:pt>
                <c:pt idx="1545">
                  <c:v>44057</c:v>
                </c:pt>
                <c:pt idx="1546">
                  <c:v>44064</c:v>
                </c:pt>
                <c:pt idx="1547">
                  <c:v>44071</c:v>
                </c:pt>
                <c:pt idx="1548">
                  <c:v>44078</c:v>
                </c:pt>
                <c:pt idx="1549">
                  <c:v>44085</c:v>
                </c:pt>
                <c:pt idx="1550">
                  <c:v>44092</c:v>
                </c:pt>
                <c:pt idx="1551">
                  <c:v>44099</c:v>
                </c:pt>
                <c:pt idx="1552">
                  <c:v>44106</c:v>
                </c:pt>
                <c:pt idx="1553">
                  <c:v>44113</c:v>
                </c:pt>
                <c:pt idx="1554">
                  <c:v>44120</c:v>
                </c:pt>
                <c:pt idx="1555">
                  <c:v>44127</c:v>
                </c:pt>
                <c:pt idx="1556">
                  <c:v>44134</c:v>
                </c:pt>
                <c:pt idx="1557">
                  <c:v>44141</c:v>
                </c:pt>
                <c:pt idx="1558">
                  <c:v>44148</c:v>
                </c:pt>
                <c:pt idx="1559">
                  <c:v>44155</c:v>
                </c:pt>
                <c:pt idx="1560">
                  <c:v>44162</c:v>
                </c:pt>
                <c:pt idx="1561">
                  <c:v>44169</c:v>
                </c:pt>
                <c:pt idx="1562">
                  <c:v>44176</c:v>
                </c:pt>
                <c:pt idx="1563">
                  <c:v>44183</c:v>
                </c:pt>
                <c:pt idx="1564">
                  <c:v>44190</c:v>
                </c:pt>
                <c:pt idx="1565">
                  <c:v>44197</c:v>
                </c:pt>
                <c:pt idx="1566">
                  <c:v>44204</c:v>
                </c:pt>
                <c:pt idx="1567">
                  <c:v>44211</c:v>
                </c:pt>
                <c:pt idx="1568">
                  <c:v>44218</c:v>
                </c:pt>
                <c:pt idx="1569">
                  <c:v>44225</c:v>
                </c:pt>
                <c:pt idx="1570">
                  <c:v>44232</c:v>
                </c:pt>
                <c:pt idx="1571">
                  <c:v>44239</c:v>
                </c:pt>
                <c:pt idx="1572">
                  <c:v>44246</c:v>
                </c:pt>
                <c:pt idx="1573">
                  <c:v>44253</c:v>
                </c:pt>
                <c:pt idx="1574">
                  <c:v>44260</c:v>
                </c:pt>
                <c:pt idx="1575">
                  <c:v>44267</c:v>
                </c:pt>
                <c:pt idx="1576">
                  <c:v>44274</c:v>
                </c:pt>
                <c:pt idx="1577">
                  <c:v>44281</c:v>
                </c:pt>
                <c:pt idx="1578">
                  <c:v>44288</c:v>
                </c:pt>
                <c:pt idx="1579">
                  <c:v>44295</c:v>
                </c:pt>
                <c:pt idx="1580">
                  <c:v>44302</c:v>
                </c:pt>
                <c:pt idx="1581">
                  <c:v>44309</c:v>
                </c:pt>
                <c:pt idx="1582">
                  <c:v>44316</c:v>
                </c:pt>
                <c:pt idx="1583">
                  <c:v>44323</c:v>
                </c:pt>
                <c:pt idx="1584">
                  <c:v>44330</c:v>
                </c:pt>
                <c:pt idx="1585">
                  <c:v>44337</c:v>
                </c:pt>
                <c:pt idx="1586">
                  <c:v>44344</c:v>
                </c:pt>
                <c:pt idx="1587">
                  <c:v>44351</c:v>
                </c:pt>
                <c:pt idx="1588">
                  <c:v>44358</c:v>
                </c:pt>
                <c:pt idx="1589">
                  <c:v>44365</c:v>
                </c:pt>
                <c:pt idx="1590">
                  <c:v>44372</c:v>
                </c:pt>
                <c:pt idx="1591">
                  <c:v>44379</c:v>
                </c:pt>
                <c:pt idx="1592">
                  <c:v>44386</c:v>
                </c:pt>
                <c:pt idx="1593">
                  <c:v>44393</c:v>
                </c:pt>
                <c:pt idx="1594">
                  <c:v>44400</c:v>
                </c:pt>
                <c:pt idx="1595">
                  <c:v>44407</c:v>
                </c:pt>
                <c:pt idx="1596">
                  <c:v>44414</c:v>
                </c:pt>
                <c:pt idx="1597">
                  <c:v>44421</c:v>
                </c:pt>
                <c:pt idx="1598">
                  <c:v>44428</c:v>
                </c:pt>
                <c:pt idx="1599">
                  <c:v>44435</c:v>
                </c:pt>
                <c:pt idx="1600">
                  <c:v>44442</c:v>
                </c:pt>
                <c:pt idx="1601">
                  <c:v>44449</c:v>
                </c:pt>
                <c:pt idx="1602">
                  <c:v>44456</c:v>
                </c:pt>
                <c:pt idx="1603">
                  <c:v>44463</c:v>
                </c:pt>
                <c:pt idx="1604">
                  <c:v>44470</c:v>
                </c:pt>
                <c:pt idx="1605">
                  <c:v>44477</c:v>
                </c:pt>
                <c:pt idx="1606">
                  <c:v>44484</c:v>
                </c:pt>
                <c:pt idx="1607">
                  <c:v>44491</c:v>
                </c:pt>
                <c:pt idx="1608">
                  <c:v>44498</c:v>
                </c:pt>
                <c:pt idx="1609">
                  <c:v>44505</c:v>
                </c:pt>
                <c:pt idx="1610">
                  <c:v>44512</c:v>
                </c:pt>
                <c:pt idx="1611">
                  <c:v>44519</c:v>
                </c:pt>
                <c:pt idx="1612">
                  <c:v>44526</c:v>
                </c:pt>
                <c:pt idx="1613">
                  <c:v>44533</c:v>
                </c:pt>
                <c:pt idx="1614">
                  <c:v>44540</c:v>
                </c:pt>
                <c:pt idx="1615">
                  <c:v>44547</c:v>
                </c:pt>
                <c:pt idx="1616">
                  <c:v>44554</c:v>
                </c:pt>
                <c:pt idx="1617">
                  <c:v>44561</c:v>
                </c:pt>
                <c:pt idx="1618">
                  <c:v>44568</c:v>
                </c:pt>
                <c:pt idx="1619">
                  <c:v>44575</c:v>
                </c:pt>
                <c:pt idx="1620">
                  <c:v>44582</c:v>
                </c:pt>
                <c:pt idx="1621">
                  <c:v>44589</c:v>
                </c:pt>
                <c:pt idx="1622">
                  <c:v>44596</c:v>
                </c:pt>
                <c:pt idx="1623">
                  <c:v>44603</c:v>
                </c:pt>
                <c:pt idx="1624">
                  <c:v>44610</c:v>
                </c:pt>
                <c:pt idx="1625">
                  <c:v>44617</c:v>
                </c:pt>
                <c:pt idx="1626">
                  <c:v>44624</c:v>
                </c:pt>
                <c:pt idx="1627">
                  <c:v>44631</c:v>
                </c:pt>
                <c:pt idx="1628">
                  <c:v>44638</c:v>
                </c:pt>
                <c:pt idx="1629">
                  <c:v>44645</c:v>
                </c:pt>
                <c:pt idx="1630">
                  <c:v>44652</c:v>
                </c:pt>
                <c:pt idx="1631">
                  <c:v>44659</c:v>
                </c:pt>
                <c:pt idx="1632">
                  <c:v>44666</c:v>
                </c:pt>
                <c:pt idx="1633">
                  <c:v>44673</c:v>
                </c:pt>
                <c:pt idx="1634">
                  <c:v>44680</c:v>
                </c:pt>
                <c:pt idx="1635">
                  <c:v>44687</c:v>
                </c:pt>
                <c:pt idx="1636">
                  <c:v>44694</c:v>
                </c:pt>
                <c:pt idx="1637">
                  <c:v>44701</c:v>
                </c:pt>
                <c:pt idx="1638">
                  <c:v>44708</c:v>
                </c:pt>
                <c:pt idx="1639">
                  <c:v>44715</c:v>
                </c:pt>
                <c:pt idx="1640">
                  <c:v>44722</c:v>
                </c:pt>
                <c:pt idx="1641">
                  <c:v>44729</c:v>
                </c:pt>
                <c:pt idx="1642">
                  <c:v>44736</c:v>
                </c:pt>
                <c:pt idx="1643">
                  <c:v>44743</c:v>
                </c:pt>
                <c:pt idx="1644">
                  <c:v>44750</c:v>
                </c:pt>
                <c:pt idx="1645">
                  <c:v>44757</c:v>
                </c:pt>
                <c:pt idx="1646">
                  <c:v>44764</c:v>
                </c:pt>
                <c:pt idx="1647">
                  <c:v>44771</c:v>
                </c:pt>
                <c:pt idx="1648">
                  <c:v>44778</c:v>
                </c:pt>
                <c:pt idx="1649">
                  <c:v>44785</c:v>
                </c:pt>
                <c:pt idx="1650">
                  <c:v>44792</c:v>
                </c:pt>
                <c:pt idx="1651">
                  <c:v>44799</c:v>
                </c:pt>
                <c:pt idx="1652">
                  <c:v>44806</c:v>
                </c:pt>
                <c:pt idx="1653">
                  <c:v>44813</c:v>
                </c:pt>
                <c:pt idx="1654">
                  <c:v>44820</c:v>
                </c:pt>
                <c:pt idx="1655">
                  <c:v>44827</c:v>
                </c:pt>
                <c:pt idx="1656">
                  <c:v>44834</c:v>
                </c:pt>
                <c:pt idx="1657">
                  <c:v>44841</c:v>
                </c:pt>
                <c:pt idx="1658">
                  <c:v>44848</c:v>
                </c:pt>
                <c:pt idx="1659">
                  <c:v>44855</c:v>
                </c:pt>
                <c:pt idx="1660">
                  <c:v>44862</c:v>
                </c:pt>
                <c:pt idx="1661">
                  <c:v>44869</c:v>
                </c:pt>
                <c:pt idx="1662">
                  <c:v>44876</c:v>
                </c:pt>
                <c:pt idx="1663">
                  <c:v>44883</c:v>
                </c:pt>
                <c:pt idx="1664">
                  <c:v>44890</c:v>
                </c:pt>
                <c:pt idx="1665">
                  <c:v>44897</c:v>
                </c:pt>
                <c:pt idx="1666">
                  <c:v>44904</c:v>
                </c:pt>
                <c:pt idx="1667">
                  <c:v>44911</c:v>
                </c:pt>
                <c:pt idx="1668">
                  <c:v>44918</c:v>
                </c:pt>
                <c:pt idx="1669">
                  <c:v>44925</c:v>
                </c:pt>
                <c:pt idx="1670">
                  <c:v>44932</c:v>
                </c:pt>
                <c:pt idx="1671">
                  <c:v>44939</c:v>
                </c:pt>
                <c:pt idx="1672">
                  <c:v>44946</c:v>
                </c:pt>
                <c:pt idx="1673">
                  <c:v>44953</c:v>
                </c:pt>
                <c:pt idx="1674">
                  <c:v>44960</c:v>
                </c:pt>
                <c:pt idx="1675">
                  <c:v>44967</c:v>
                </c:pt>
                <c:pt idx="1676">
                  <c:v>44974</c:v>
                </c:pt>
                <c:pt idx="1677">
                  <c:v>44981</c:v>
                </c:pt>
                <c:pt idx="1678">
                  <c:v>44988</c:v>
                </c:pt>
                <c:pt idx="1679">
                  <c:v>44995</c:v>
                </c:pt>
                <c:pt idx="1680">
                  <c:v>45002</c:v>
                </c:pt>
                <c:pt idx="1681">
                  <c:v>45009</c:v>
                </c:pt>
                <c:pt idx="1682">
                  <c:v>45016</c:v>
                </c:pt>
                <c:pt idx="1683">
                  <c:v>45023</c:v>
                </c:pt>
                <c:pt idx="1684">
                  <c:v>45030</c:v>
                </c:pt>
                <c:pt idx="1685">
                  <c:v>45037</c:v>
                </c:pt>
                <c:pt idx="1686">
                  <c:v>45044</c:v>
                </c:pt>
                <c:pt idx="1687">
                  <c:v>45051</c:v>
                </c:pt>
                <c:pt idx="1688">
                  <c:v>45058</c:v>
                </c:pt>
                <c:pt idx="1689">
                  <c:v>45065</c:v>
                </c:pt>
                <c:pt idx="1690">
                  <c:v>45072</c:v>
                </c:pt>
                <c:pt idx="1691">
                  <c:v>45079</c:v>
                </c:pt>
                <c:pt idx="1692">
                  <c:v>45086</c:v>
                </c:pt>
                <c:pt idx="1693">
                  <c:v>45093</c:v>
                </c:pt>
                <c:pt idx="1694">
                  <c:v>45100</c:v>
                </c:pt>
                <c:pt idx="1695">
                  <c:v>45107</c:v>
                </c:pt>
                <c:pt idx="1696">
                  <c:v>45114</c:v>
                </c:pt>
                <c:pt idx="1697">
                  <c:v>45121</c:v>
                </c:pt>
                <c:pt idx="1698">
                  <c:v>45128</c:v>
                </c:pt>
                <c:pt idx="1699">
                  <c:v>45135</c:v>
                </c:pt>
                <c:pt idx="1700">
                  <c:v>45142</c:v>
                </c:pt>
                <c:pt idx="1701">
                  <c:v>45149</c:v>
                </c:pt>
                <c:pt idx="1702">
                  <c:v>45156</c:v>
                </c:pt>
                <c:pt idx="1703">
                  <c:v>45163</c:v>
                </c:pt>
                <c:pt idx="1704">
                  <c:v>45170</c:v>
                </c:pt>
                <c:pt idx="1705">
                  <c:v>45177</c:v>
                </c:pt>
                <c:pt idx="1706">
                  <c:v>45184</c:v>
                </c:pt>
                <c:pt idx="1707">
                  <c:v>45191</c:v>
                </c:pt>
                <c:pt idx="1708">
                  <c:v>45198</c:v>
                </c:pt>
                <c:pt idx="1709">
                  <c:v>45205</c:v>
                </c:pt>
                <c:pt idx="1710">
                  <c:v>45212</c:v>
                </c:pt>
                <c:pt idx="1711">
                  <c:v>45219</c:v>
                </c:pt>
                <c:pt idx="1712">
                  <c:v>45226</c:v>
                </c:pt>
                <c:pt idx="1713">
                  <c:v>45233</c:v>
                </c:pt>
                <c:pt idx="1714">
                  <c:v>45240</c:v>
                </c:pt>
                <c:pt idx="1715">
                  <c:v>45247</c:v>
                </c:pt>
                <c:pt idx="1716">
                  <c:v>45254</c:v>
                </c:pt>
                <c:pt idx="1717">
                  <c:v>45261</c:v>
                </c:pt>
                <c:pt idx="1718">
                  <c:v>45268</c:v>
                </c:pt>
                <c:pt idx="1719">
                  <c:v>45275</c:v>
                </c:pt>
                <c:pt idx="1720">
                  <c:v>45282</c:v>
                </c:pt>
                <c:pt idx="1721">
                  <c:v>45289</c:v>
                </c:pt>
                <c:pt idx="1722">
                  <c:v>45296</c:v>
                </c:pt>
                <c:pt idx="1723">
                  <c:v>45303</c:v>
                </c:pt>
                <c:pt idx="1724">
                  <c:v>45310</c:v>
                </c:pt>
                <c:pt idx="1725">
                  <c:v>45317</c:v>
                </c:pt>
                <c:pt idx="1726">
                  <c:v>45324</c:v>
                </c:pt>
                <c:pt idx="1727">
                  <c:v>45331</c:v>
                </c:pt>
                <c:pt idx="1728">
                  <c:v>45338</c:v>
                </c:pt>
                <c:pt idx="1729">
                  <c:v>45345</c:v>
                </c:pt>
                <c:pt idx="1730">
                  <c:v>45352</c:v>
                </c:pt>
                <c:pt idx="1731">
                  <c:v>45359</c:v>
                </c:pt>
                <c:pt idx="1732">
                  <c:v>45366</c:v>
                </c:pt>
                <c:pt idx="1733">
                  <c:v>45373</c:v>
                </c:pt>
                <c:pt idx="1734">
                  <c:v>45380</c:v>
                </c:pt>
                <c:pt idx="1735">
                  <c:v>45387</c:v>
                </c:pt>
                <c:pt idx="1736">
                  <c:v>45394</c:v>
                </c:pt>
                <c:pt idx="1737">
                  <c:v>45401</c:v>
                </c:pt>
                <c:pt idx="1738">
                  <c:v>45408</c:v>
                </c:pt>
                <c:pt idx="1739">
                  <c:v>45415</c:v>
                </c:pt>
                <c:pt idx="1740">
                  <c:v>45422</c:v>
                </c:pt>
              </c:numCache>
            </c:numRef>
          </c:cat>
          <c:val>
            <c:numRef>
              <c:f>'US Rig Count'!$C$2:$C$2050</c:f>
              <c:numCache>
                <c:formatCode>#,##0_);\(#,##0\);\–_)</c:formatCode>
                <c:ptCount val="2049"/>
                <c:pt idx="0">
                  <c:v>100</c:v>
                </c:pt>
                <c:pt idx="1">
                  <c:v>102</c:v>
                </c:pt>
                <c:pt idx="2">
                  <c:v>102</c:v>
                </c:pt>
                <c:pt idx="3">
                  <c:v>104</c:v>
                </c:pt>
                <c:pt idx="4">
                  <c:v>106</c:v>
                </c:pt>
                <c:pt idx="5">
                  <c:v>99</c:v>
                </c:pt>
                <c:pt idx="6">
                  <c:v>95</c:v>
                </c:pt>
                <c:pt idx="7">
                  <c:v>99</c:v>
                </c:pt>
                <c:pt idx="8">
                  <c:v>95</c:v>
                </c:pt>
                <c:pt idx="9">
                  <c:v>89</c:v>
                </c:pt>
                <c:pt idx="10">
                  <c:v>86</c:v>
                </c:pt>
                <c:pt idx="11">
                  <c:v>87</c:v>
                </c:pt>
                <c:pt idx="12">
                  <c:v>85</c:v>
                </c:pt>
                <c:pt idx="13">
                  <c:v>79</c:v>
                </c:pt>
                <c:pt idx="14">
                  <c:v>70</c:v>
                </c:pt>
                <c:pt idx="15">
                  <c:v>69</c:v>
                </c:pt>
                <c:pt idx="16">
                  <c:v>68</c:v>
                </c:pt>
                <c:pt idx="17">
                  <c:v>59</c:v>
                </c:pt>
                <c:pt idx="18">
                  <c:v>60</c:v>
                </c:pt>
                <c:pt idx="19">
                  <c:v>57</c:v>
                </c:pt>
                <c:pt idx="20">
                  <c:v>66</c:v>
                </c:pt>
                <c:pt idx="21">
                  <c:v>61</c:v>
                </c:pt>
                <c:pt idx="22">
                  <c:v>73</c:v>
                </c:pt>
                <c:pt idx="23">
                  <c:v>77</c:v>
                </c:pt>
                <c:pt idx="24">
                  <c:v>75</c:v>
                </c:pt>
                <c:pt idx="25">
                  <c:v>76</c:v>
                </c:pt>
                <c:pt idx="26">
                  <c:v>73</c:v>
                </c:pt>
                <c:pt idx="27">
                  <c:v>69</c:v>
                </c:pt>
                <c:pt idx="28">
                  <c:v>65</c:v>
                </c:pt>
                <c:pt idx="29">
                  <c:v>74</c:v>
                </c:pt>
                <c:pt idx="30">
                  <c:v>71</c:v>
                </c:pt>
                <c:pt idx="31">
                  <c:v>63</c:v>
                </c:pt>
                <c:pt idx="32">
                  <c:v>62</c:v>
                </c:pt>
                <c:pt idx="33">
                  <c:v>61</c:v>
                </c:pt>
                <c:pt idx="34">
                  <c:v>65</c:v>
                </c:pt>
                <c:pt idx="35">
                  <c:v>65</c:v>
                </c:pt>
                <c:pt idx="36">
                  <c:v>69</c:v>
                </c:pt>
                <c:pt idx="37">
                  <c:v>71</c:v>
                </c:pt>
                <c:pt idx="38">
                  <c:v>72</c:v>
                </c:pt>
                <c:pt idx="39">
                  <c:v>72</c:v>
                </c:pt>
                <c:pt idx="40">
                  <c:v>74</c:v>
                </c:pt>
                <c:pt idx="41">
                  <c:v>71</c:v>
                </c:pt>
                <c:pt idx="42">
                  <c:v>67</c:v>
                </c:pt>
                <c:pt idx="43">
                  <c:v>70</c:v>
                </c:pt>
                <c:pt idx="44">
                  <c:v>64</c:v>
                </c:pt>
                <c:pt idx="45">
                  <c:v>60</c:v>
                </c:pt>
                <c:pt idx="46">
                  <c:v>67</c:v>
                </c:pt>
                <c:pt idx="47">
                  <c:v>65</c:v>
                </c:pt>
                <c:pt idx="48">
                  <c:v>65</c:v>
                </c:pt>
                <c:pt idx="49">
                  <c:v>64</c:v>
                </c:pt>
                <c:pt idx="50">
                  <c:v>66</c:v>
                </c:pt>
                <c:pt idx="51">
                  <c:v>61</c:v>
                </c:pt>
                <c:pt idx="52">
                  <c:v>62</c:v>
                </c:pt>
                <c:pt idx="53">
                  <c:v>61</c:v>
                </c:pt>
                <c:pt idx="54">
                  <c:v>61</c:v>
                </c:pt>
                <c:pt idx="55">
                  <c:v>59</c:v>
                </c:pt>
                <c:pt idx="56">
                  <c:v>54</c:v>
                </c:pt>
                <c:pt idx="57">
                  <c:v>61</c:v>
                </c:pt>
                <c:pt idx="58">
                  <c:v>54</c:v>
                </c:pt>
                <c:pt idx="59">
                  <c:v>50</c:v>
                </c:pt>
                <c:pt idx="60">
                  <c:v>51</c:v>
                </c:pt>
                <c:pt idx="61">
                  <c:v>50</c:v>
                </c:pt>
                <c:pt idx="62">
                  <c:v>53</c:v>
                </c:pt>
                <c:pt idx="63">
                  <c:v>50</c:v>
                </c:pt>
                <c:pt idx="64">
                  <c:v>51</c:v>
                </c:pt>
                <c:pt idx="65">
                  <c:v>56</c:v>
                </c:pt>
                <c:pt idx="66">
                  <c:v>55</c:v>
                </c:pt>
                <c:pt idx="67">
                  <c:v>57</c:v>
                </c:pt>
                <c:pt idx="68">
                  <c:v>60</c:v>
                </c:pt>
                <c:pt idx="69">
                  <c:v>59</c:v>
                </c:pt>
                <c:pt idx="70">
                  <c:v>58</c:v>
                </c:pt>
                <c:pt idx="71">
                  <c:v>56</c:v>
                </c:pt>
                <c:pt idx="72">
                  <c:v>64</c:v>
                </c:pt>
                <c:pt idx="73">
                  <c:v>62</c:v>
                </c:pt>
                <c:pt idx="74">
                  <c:v>58</c:v>
                </c:pt>
                <c:pt idx="75">
                  <c:v>56</c:v>
                </c:pt>
                <c:pt idx="76">
                  <c:v>61</c:v>
                </c:pt>
                <c:pt idx="77">
                  <c:v>58</c:v>
                </c:pt>
                <c:pt idx="78">
                  <c:v>55</c:v>
                </c:pt>
                <c:pt idx="79">
                  <c:v>57</c:v>
                </c:pt>
                <c:pt idx="80">
                  <c:v>56</c:v>
                </c:pt>
                <c:pt idx="81">
                  <c:v>56</c:v>
                </c:pt>
                <c:pt idx="82">
                  <c:v>60</c:v>
                </c:pt>
                <c:pt idx="83">
                  <c:v>58</c:v>
                </c:pt>
                <c:pt idx="84">
                  <c:v>59</c:v>
                </c:pt>
                <c:pt idx="85">
                  <c:v>56</c:v>
                </c:pt>
                <c:pt idx="86">
                  <c:v>52</c:v>
                </c:pt>
                <c:pt idx="87">
                  <c:v>53</c:v>
                </c:pt>
                <c:pt idx="88">
                  <c:v>50</c:v>
                </c:pt>
                <c:pt idx="89">
                  <c:v>48</c:v>
                </c:pt>
                <c:pt idx="90">
                  <c:v>47</c:v>
                </c:pt>
                <c:pt idx="91">
                  <c:v>51</c:v>
                </c:pt>
                <c:pt idx="92">
                  <c:v>51</c:v>
                </c:pt>
                <c:pt idx="93">
                  <c:v>49</c:v>
                </c:pt>
                <c:pt idx="94">
                  <c:v>47</c:v>
                </c:pt>
                <c:pt idx="95">
                  <c:v>44</c:v>
                </c:pt>
                <c:pt idx="96">
                  <c:v>44</c:v>
                </c:pt>
                <c:pt idx="97">
                  <c:v>45</c:v>
                </c:pt>
                <c:pt idx="98">
                  <c:v>46</c:v>
                </c:pt>
                <c:pt idx="99">
                  <c:v>48</c:v>
                </c:pt>
                <c:pt idx="100">
                  <c:v>45</c:v>
                </c:pt>
                <c:pt idx="101">
                  <c:v>53</c:v>
                </c:pt>
                <c:pt idx="102">
                  <c:v>53</c:v>
                </c:pt>
                <c:pt idx="103">
                  <c:v>50</c:v>
                </c:pt>
                <c:pt idx="104">
                  <c:v>48</c:v>
                </c:pt>
                <c:pt idx="105">
                  <c:v>48</c:v>
                </c:pt>
                <c:pt idx="106">
                  <c:v>44</c:v>
                </c:pt>
                <c:pt idx="107">
                  <c:v>46</c:v>
                </c:pt>
                <c:pt idx="108">
                  <c:v>47</c:v>
                </c:pt>
                <c:pt idx="109">
                  <c:v>47</c:v>
                </c:pt>
                <c:pt idx="110">
                  <c:v>44</c:v>
                </c:pt>
                <c:pt idx="111">
                  <c:v>42</c:v>
                </c:pt>
                <c:pt idx="112">
                  <c:v>44</c:v>
                </c:pt>
                <c:pt idx="113">
                  <c:v>45</c:v>
                </c:pt>
                <c:pt idx="114">
                  <c:v>47</c:v>
                </c:pt>
                <c:pt idx="115">
                  <c:v>43</c:v>
                </c:pt>
                <c:pt idx="116">
                  <c:v>40</c:v>
                </c:pt>
                <c:pt idx="117">
                  <c:v>43</c:v>
                </c:pt>
                <c:pt idx="118">
                  <c:v>46</c:v>
                </c:pt>
                <c:pt idx="119">
                  <c:v>44</c:v>
                </c:pt>
                <c:pt idx="120">
                  <c:v>44</c:v>
                </c:pt>
                <c:pt idx="121">
                  <c:v>48</c:v>
                </c:pt>
                <c:pt idx="122">
                  <c:v>50</c:v>
                </c:pt>
                <c:pt idx="123">
                  <c:v>48</c:v>
                </c:pt>
                <c:pt idx="124">
                  <c:v>48</c:v>
                </c:pt>
                <c:pt idx="125">
                  <c:v>47</c:v>
                </c:pt>
                <c:pt idx="126">
                  <c:v>48</c:v>
                </c:pt>
                <c:pt idx="127">
                  <c:v>46</c:v>
                </c:pt>
                <c:pt idx="128">
                  <c:v>44</c:v>
                </c:pt>
                <c:pt idx="129">
                  <c:v>52</c:v>
                </c:pt>
                <c:pt idx="130">
                  <c:v>61</c:v>
                </c:pt>
                <c:pt idx="131">
                  <c:v>58</c:v>
                </c:pt>
                <c:pt idx="132">
                  <c:v>59</c:v>
                </c:pt>
                <c:pt idx="133">
                  <c:v>59</c:v>
                </c:pt>
                <c:pt idx="134">
                  <c:v>59</c:v>
                </c:pt>
                <c:pt idx="135">
                  <c:v>57</c:v>
                </c:pt>
                <c:pt idx="136">
                  <c:v>54</c:v>
                </c:pt>
                <c:pt idx="137">
                  <c:v>61</c:v>
                </c:pt>
                <c:pt idx="138">
                  <c:v>62</c:v>
                </c:pt>
                <c:pt idx="139">
                  <c:v>62</c:v>
                </c:pt>
                <c:pt idx="140">
                  <c:v>57</c:v>
                </c:pt>
                <c:pt idx="141">
                  <c:v>52</c:v>
                </c:pt>
                <c:pt idx="142">
                  <c:v>50</c:v>
                </c:pt>
                <c:pt idx="143">
                  <c:v>37</c:v>
                </c:pt>
                <c:pt idx="144">
                  <c:v>33</c:v>
                </c:pt>
                <c:pt idx="145">
                  <c:v>54</c:v>
                </c:pt>
                <c:pt idx="146">
                  <c:v>53</c:v>
                </c:pt>
                <c:pt idx="147">
                  <c:v>53</c:v>
                </c:pt>
                <c:pt idx="148">
                  <c:v>50</c:v>
                </c:pt>
                <c:pt idx="149">
                  <c:v>48</c:v>
                </c:pt>
                <c:pt idx="150">
                  <c:v>54</c:v>
                </c:pt>
                <c:pt idx="151">
                  <c:v>57</c:v>
                </c:pt>
                <c:pt idx="152">
                  <c:v>59</c:v>
                </c:pt>
                <c:pt idx="153">
                  <c:v>57</c:v>
                </c:pt>
                <c:pt idx="154">
                  <c:v>59</c:v>
                </c:pt>
                <c:pt idx="155">
                  <c:v>51</c:v>
                </c:pt>
                <c:pt idx="156">
                  <c:v>48</c:v>
                </c:pt>
                <c:pt idx="157">
                  <c:v>46</c:v>
                </c:pt>
                <c:pt idx="158">
                  <c:v>45</c:v>
                </c:pt>
                <c:pt idx="159">
                  <c:v>47</c:v>
                </c:pt>
                <c:pt idx="160">
                  <c:v>41</c:v>
                </c:pt>
                <c:pt idx="161">
                  <c:v>44</c:v>
                </c:pt>
                <c:pt idx="162">
                  <c:v>45</c:v>
                </c:pt>
                <c:pt idx="163">
                  <c:v>47</c:v>
                </c:pt>
                <c:pt idx="164">
                  <c:v>48</c:v>
                </c:pt>
                <c:pt idx="165">
                  <c:v>47</c:v>
                </c:pt>
                <c:pt idx="166">
                  <c:v>49</c:v>
                </c:pt>
                <c:pt idx="167">
                  <c:v>53</c:v>
                </c:pt>
                <c:pt idx="168">
                  <c:v>50</c:v>
                </c:pt>
                <c:pt idx="169">
                  <c:v>50</c:v>
                </c:pt>
                <c:pt idx="170">
                  <c:v>53</c:v>
                </c:pt>
                <c:pt idx="171">
                  <c:v>52</c:v>
                </c:pt>
                <c:pt idx="172">
                  <c:v>50</c:v>
                </c:pt>
                <c:pt idx="173">
                  <c:v>47</c:v>
                </c:pt>
                <c:pt idx="174">
                  <c:v>48</c:v>
                </c:pt>
                <c:pt idx="175">
                  <c:v>44</c:v>
                </c:pt>
                <c:pt idx="176">
                  <c:v>44</c:v>
                </c:pt>
                <c:pt idx="177">
                  <c:v>41</c:v>
                </c:pt>
                <c:pt idx="178">
                  <c:v>40</c:v>
                </c:pt>
                <c:pt idx="179">
                  <c:v>38</c:v>
                </c:pt>
                <c:pt idx="180">
                  <c:v>36</c:v>
                </c:pt>
                <c:pt idx="181">
                  <c:v>38</c:v>
                </c:pt>
                <c:pt idx="182">
                  <c:v>36</c:v>
                </c:pt>
                <c:pt idx="183">
                  <c:v>43</c:v>
                </c:pt>
                <c:pt idx="184">
                  <c:v>42</c:v>
                </c:pt>
                <c:pt idx="185">
                  <c:v>50</c:v>
                </c:pt>
                <c:pt idx="186">
                  <c:v>51</c:v>
                </c:pt>
                <c:pt idx="187">
                  <c:v>50</c:v>
                </c:pt>
                <c:pt idx="188">
                  <c:v>46</c:v>
                </c:pt>
                <c:pt idx="189">
                  <c:v>48</c:v>
                </c:pt>
                <c:pt idx="190">
                  <c:v>50</c:v>
                </c:pt>
                <c:pt idx="191">
                  <c:v>53</c:v>
                </c:pt>
                <c:pt idx="192">
                  <c:v>55</c:v>
                </c:pt>
                <c:pt idx="193">
                  <c:v>57</c:v>
                </c:pt>
                <c:pt idx="194">
                  <c:v>56</c:v>
                </c:pt>
                <c:pt idx="195">
                  <c:v>57</c:v>
                </c:pt>
                <c:pt idx="196">
                  <c:v>57</c:v>
                </c:pt>
                <c:pt idx="197">
                  <c:v>57</c:v>
                </c:pt>
                <c:pt idx="198">
                  <c:v>56</c:v>
                </c:pt>
                <c:pt idx="199">
                  <c:v>55</c:v>
                </c:pt>
                <c:pt idx="200">
                  <c:v>53</c:v>
                </c:pt>
                <c:pt idx="201">
                  <c:v>55</c:v>
                </c:pt>
                <c:pt idx="202">
                  <c:v>61</c:v>
                </c:pt>
                <c:pt idx="203">
                  <c:v>63</c:v>
                </c:pt>
                <c:pt idx="204">
                  <c:v>59</c:v>
                </c:pt>
                <c:pt idx="205">
                  <c:v>62</c:v>
                </c:pt>
                <c:pt idx="206">
                  <c:v>54</c:v>
                </c:pt>
                <c:pt idx="207">
                  <c:v>54</c:v>
                </c:pt>
                <c:pt idx="208">
                  <c:v>57</c:v>
                </c:pt>
                <c:pt idx="209">
                  <c:v>57</c:v>
                </c:pt>
                <c:pt idx="210">
                  <c:v>59</c:v>
                </c:pt>
                <c:pt idx="211">
                  <c:v>54</c:v>
                </c:pt>
                <c:pt idx="212">
                  <c:v>56</c:v>
                </c:pt>
                <c:pt idx="213">
                  <c:v>52</c:v>
                </c:pt>
                <c:pt idx="214">
                  <c:v>49</c:v>
                </c:pt>
                <c:pt idx="215">
                  <c:v>45</c:v>
                </c:pt>
                <c:pt idx="216">
                  <c:v>43</c:v>
                </c:pt>
                <c:pt idx="217">
                  <c:v>43</c:v>
                </c:pt>
                <c:pt idx="218">
                  <c:v>42</c:v>
                </c:pt>
                <c:pt idx="219">
                  <c:v>46</c:v>
                </c:pt>
                <c:pt idx="220">
                  <c:v>49</c:v>
                </c:pt>
                <c:pt idx="221">
                  <c:v>50</c:v>
                </c:pt>
                <c:pt idx="222">
                  <c:v>48</c:v>
                </c:pt>
                <c:pt idx="223">
                  <c:v>51</c:v>
                </c:pt>
                <c:pt idx="224">
                  <c:v>55</c:v>
                </c:pt>
                <c:pt idx="225">
                  <c:v>58</c:v>
                </c:pt>
                <c:pt idx="226">
                  <c:v>57</c:v>
                </c:pt>
                <c:pt idx="227">
                  <c:v>59</c:v>
                </c:pt>
                <c:pt idx="228">
                  <c:v>59</c:v>
                </c:pt>
                <c:pt idx="229">
                  <c:v>57</c:v>
                </c:pt>
                <c:pt idx="230">
                  <c:v>52</c:v>
                </c:pt>
                <c:pt idx="231">
                  <c:v>48</c:v>
                </c:pt>
                <c:pt idx="232">
                  <c:v>49</c:v>
                </c:pt>
                <c:pt idx="233">
                  <c:v>48</c:v>
                </c:pt>
                <c:pt idx="234">
                  <c:v>45</c:v>
                </c:pt>
                <c:pt idx="235">
                  <c:v>46</c:v>
                </c:pt>
                <c:pt idx="236">
                  <c:v>50</c:v>
                </c:pt>
                <c:pt idx="237">
                  <c:v>47</c:v>
                </c:pt>
                <c:pt idx="238">
                  <c:v>51</c:v>
                </c:pt>
                <c:pt idx="239">
                  <c:v>50</c:v>
                </c:pt>
                <c:pt idx="240">
                  <c:v>50</c:v>
                </c:pt>
                <c:pt idx="241">
                  <c:v>52</c:v>
                </c:pt>
                <c:pt idx="242">
                  <c:v>53</c:v>
                </c:pt>
                <c:pt idx="243">
                  <c:v>52</c:v>
                </c:pt>
                <c:pt idx="244">
                  <c:v>53</c:v>
                </c:pt>
                <c:pt idx="245">
                  <c:v>54</c:v>
                </c:pt>
                <c:pt idx="246">
                  <c:v>55</c:v>
                </c:pt>
                <c:pt idx="247">
                  <c:v>51</c:v>
                </c:pt>
                <c:pt idx="248">
                  <c:v>51</c:v>
                </c:pt>
                <c:pt idx="249">
                  <c:v>51</c:v>
                </c:pt>
                <c:pt idx="250">
                  <c:v>50</c:v>
                </c:pt>
                <c:pt idx="251">
                  <c:v>50</c:v>
                </c:pt>
                <c:pt idx="252">
                  <c:v>52</c:v>
                </c:pt>
                <c:pt idx="253">
                  <c:v>52</c:v>
                </c:pt>
                <c:pt idx="254">
                  <c:v>54</c:v>
                </c:pt>
                <c:pt idx="255">
                  <c:v>55</c:v>
                </c:pt>
                <c:pt idx="256">
                  <c:v>58</c:v>
                </c:pt>
                <c:pt idx="257">
                  <c:v>58</c:v>
                </c:pt>
                <c:pt idx="258">
                  <c:v>56</c:v>
                </c:pt>
                <c:pt idx="259">
                  <c:v>54</c:v>
                </c:pt>
                <c:pt idx="260">
                  <c:v>52</c:v>
                </c:pt>
                <c:pt idx="261">
                  <c:v>50</c:v>
                </c:pt>
                <c:pt idx="262">
                  <c:v>52</c:v>
                </c:pt>
                <c:pt idx="263">
                  <c:v>52</c:v>
                </c:pt>
                <c:pt idx="264">
                  <c:v>49</c:v>
                </c:pt>
                <c:pt idx="265">
                  <c:v>48</c:v>
                </c:pt>
                <c:pt idx="266">
                  <c:v>54</c:v>
                </c:pt>
                <c:pt idx="267">
                  <c:v>53</c:v>
                </c:pt>
                <c:pt idx="268">
                  <c:v>51</c:v>
                </c:pt>
                <c:pt idx="269">
                  <c:v>56</c:v>
                </c:pt>
                <c:pt idx="270">
                  <c:v>56</c:v>
                </c:pt>
                <c:pt idx="271">
                  <c:v>56</c:v>
                </c:pt>
                <c:pt idx="272">
                  <c:v>54</c:v>
                </c:pt>
                <c:pt idx="273">
                  <c:v>54</c:v>
                </c:pt>
                <c:pt idx="274">
                  <c:v>55</c:v>
                </c:pt>
                <c:pt idx="275">
                  <c:v>53</c:v>
                </c:pt>
                <c:pt idx="276">
                  <c:v>55</c:v>
                </c:pt>
                <c:pt idx="277">
                  <c:v>56</c:v>
                </c:pt>
                <c:pt idx="278">
                  <c:v>58</c:v>
                </c:pt>
                <c:pt idx="279">
                  <c:v>59</c:v>
                </c:pt>
                <c:pt idx="280">
                  <c:v>63</c:v>
                </c:pt>
                <c:pt idx="281">
                  <c:v>63</c:v>
                </c:pt>
                <c:pt idx="282">
                  <c:v>63</c:v>
                </c:pt>
                <c:pt idx="283">
                  <c:v>57</c:v>
                </c:pt>
                <c:pt idx="284">
                  <c:v>57</c:v>
                </c:pt>
                <c:pt idx="285">
                  <c:v>53</c:v>
                </c:pt>
                <c:pt idx="286">
                  <c:v>50</c:v>
                </c:pt>
                <c:pt idx="287">
                  <c:v>46</c:v>
                </c:pt>
                <c:pt idx="288">
                  <c:v>46</c:v>
                </c:pt>
                <c:pt idx="289">
                  <c:v>46</c:v>
                </c:pt>
                <c:pt idx="290">
                  <c:v>53</c:v>
                </c:pt>
                <c:pt idx="291">
                  <c:v>55</c:v>
                </c:pt>
                <c:pt idx="292">
                  <c:v>53</c:v>
                </c:pt>
                <c:pt idx="293">
                  <c:v>57</c:v>
                </c:pt>
                <c:pt idx="294">
                  <c:v>66</c:v>
                </c:pt>
                <c:pt idx="295">
                  <c:v>66</c:v>
                </c:pt>
                <c:pt idx="296">
                  <c:v>64</c:v>
                </c:pt>
                <c:pt idx="297">
                  <c:v>64</c:v>
                </c:pt>
                <c:pt idx="298">
                  <c:v>59</c:v>
                </c:pt>
                <c:pt idx="299">
                  <c:v>60</c:v>
                </c:pt>
                <c:pt idx="300">
                  <c:v>61</c:v>
                </c:pt>
                <c:pt idx="301">
                  <c:v>64</c:v>
                </c:pt>
                <c:pt idx="302">
                  <c:v>67</c:v>
                </c:pt>
                <c:pt idx="303">
                  <c:v>69</c:v>
                </c:pt>
                <c:pt idx="304">
                  <c:v>68</c:v>
                </c:pt>
                <c:pt idx="305">
                  <c:v>70</c:v>
                </c:pt>
                <c:pt idx="306">
                  <c:v>69</c:v>
                </c:pt>
                <c:pt idx="307">
                  <c:v>65</c:v>
                </c:pt>
                <c:pt idx="308">
                  <c:v>64</c:v>
                </c:pt>
                <c:pt idx="309">
                  <c:v>65</c:v>
                </c:pt>
                <c:pt idx="310">
                  <c:v>63</c:v>
                </c:pt>
                <c:pt idx="311">
                  <c:v>62</c:v>
                </c:pt>
                <c:pt idx="312">
                  <c:v>64</c:v>
                </c:pt>
                <c:pt idx="313">
                  <c:v>64</c:v>
                </c:pt>
                <c:pt idx="314">
                  <c:v>60</c:v>
                </c:pt>
                <c:pt idx="315">
                  <c:v>69</c:v>
                </c:pt>
                <c:pt idx="316">
                  <c:v>62</c:v>
                </c:pt>
                <c:pt idx="317">
                  <c:v>62</c:v>
                </c:pt>
                <c:pt idx="318">
                  <c:v>68</c:v>
                </c:pt>
                <c:pt idx="319">
                  <c:v>69</c:v>
                </c:pt>
                <c:pt idx="320">
                  <c:v>67</c:v>
                </c:pt>
                <c:pt idx="321">
                  <c:v>69</c:v>
                </c:pt>
                <c:pt idx="322">
                  <c:v>70</c:v>
                </c:pt>
                <c:pt idx="323">
                  <c:v>72</c:v>
                </c:pt>
                <c:pt idx="324">
                  <c:v>73</c:v>
                </c:pt>
                <c:pt idx="325">
                  <c:v>78</c:v>
                </c:pt>
                <c:pt idx="326">
                  <c:v>74</c:v>
                </c:pt>
                <c:pt idx="327">
                  <c:v>77</c:v>
                </c:pt>
                <c:pt idx="328">
                  <c:v>75</c:v>
                </c:pt>
                <c:pt idx="329">
                  <c:v>77</c:v>
                </c:pt>
                <c:pt idx="330">
                  <c:v>74</c:v>
                </c:pt>
                <c:pt idx="331">
                  <c:v>67</c:v>
                </c:pt>
                <c:pt idx="332">
                  <c:v>64</c:v>
                </c:pt>
                <c:pt idx="333">
                  <c:v>74</c:v>
                </c:pt>
                <c:pt idx="334">
                  <c:v>76</c:v>
                </c:pt>
                <c:pt idx="335">
                  <c:v>75</c:v>
                </c:pt>
                <c:pt idx="336">
                  <c:v>76</c:v>
                </c:pt>
                <c:pt idx="337">
                  <c:v>70</c:v>
                </c:pt>
                <c:pt idx="338">
                  <c:v>65</c:v>
                </c:pt>
                <c:pt idx="339">
                  <c:v>67</c:v>
                </c:pt>
                <c:pt idx="340">
                  <c:v>71</c:v>
                </c:pt>
                <c:pt idx="341">
                  <c:v>71</c:v>
                </c:pt>
                <c:pt idx="342">
                  <c:v>66</c:v>
                </c:pt>
                <c:pt idx="343">
                  <c:v>68</c:v>
                </c:pt>
                <c:pt idx="344">
                  <c:v>73</c:v>
                </c:pt>
                <c:pt idx="345">
                  <c:v>67</c:v>
                </c:pt>
                <c:pt idx="346">
                  <c:v>60</c:v>
                </c:pt>
                <c:pt idx="347">
                  <c:v>67</c:v>
                </c:pt>
                <c:pt idx="348">
                  <c:v>71</c:v>
                </c:pt>
                <c:pt idx="349">
                  <c:v>71</c:v>
                </c:pt>
                <c:pt idx="350">
                  <c:v>71</c:v>
                </c:pt>
                <c:pt idx="351">
                  <c:v>76</c:v>
                </c:pt>
                <c:pt idx="352">
                  <c:v>82</c:v>
                </c:pt>
                <c:pt idx="353">
                  <c:v>73</c:v>
                </c:pt>
                <c:pt idx="354">
                  <c:v>70</c:v>
                </c:pt>
                <c:pt idx="355">
                  <c:v>71</c:v>
                </c:pt>
                <c:pt idx="356">
                  <c:v>70</c:v>
                </c:pt>
                <c:pt idx="357">
                  <c:v>59</c:v>
                </c:pt>
                <c:pt idx="358">
                  <c:v>59</c:v>
                </c:pt>
                <c:pt idx="359">
                  <c:v>56</c:v>
                </c:pt>
                <c:pt idx="360">
                  <c:v>61</c:v>
                </c:pt>
                <c:pt idx="361">
                  <c:v>63</c:v>
                </c:pt>
                <c:pt idx="362">
                  <c:v>66</c:v>
                </c:pt>
                <c:pt idx="363">
                  <c:v>65</c:v>
                </c:pt>
                <c:pt idx="364">
                  <c:v>65</c:v>
                </c:pt>
                <c:pt idx="365">
                  <c:v>58</c:v>
                </c:pt>
                <c:pt idx="366">
                  <c:v>59</c:v>
                </c:pt>
                <c:pt idx="367">
                  <c:v>60</c:v>
                </c:pt>
                <c:pt idx="368">
                  <c:v>64</c:v>
                </c:pt>
                <c:pt idx="369">
                  <c:v>68</c:v>
                </c:pt>
                <c:pt idx="370">
                  <c:v>68</c:v>
                </c:pt>
                <c:pt idx="371">
                  <c:v>68</c:v>
                </c:pt>
                <c:pt idx="372">
                  <c:v>63</c:v>
                </c:pt>
                <c:pt idx="373">
                  <c:v>57</c:v>
                </c:pt>
                <c:pt idx="374">
                  <c:v>53</c:v>
                </c:pt>
                <c:pt idx="375">
                  <c:v>58</c:v>
                </c:pt>
                <c:pt idx="376">
                  <c:v>56</c:v>
                </c:pt>
                <c:pt idx="377">
                  <c:v>58</c:v>
                </c:pt>
                <c:pt idx="378">
                  <c:v>57</c:v>
                </c:pt>
                <c:pt idx="379">
                  <c:v>59</c:v>
                </c:pt>
                <c:pt idx="380">
                  <c:v>59</c:v>
                </c:pt>
                <c:pt idx="381">
                  <c:v>53</c:v>
                </c:pt>
                <c:pt idx="382">
                  <c:v>53</c:v>
                </c:pt>
                <c:pt idx="383">
                  <c:v>54</c:v>
                </c:pt>
                <c:pt idx="384">
                  <c:v>52</c:v>
                </c:pt>
                <c:pt idx="385">
                  <c:v>44</c:v>
                </c:pt>
                <c:pt idx="386">
                  <c:v>42</c:v>
                </c:pt>
                <c:pt idx="387">
                  <c:v>47</c:v>
                </c:pt>
                <c:pt idx="388">
                  <c:v>41</c:v>
                </c:pt>
                <c:pt idx="389">
                  <c:v>39</c:v>
                </c:pt>
                <c:pt idx="390">
                  <c:v>38</c:v>
                </c:pt>
                <c:pt idx="391">
                  <c:v>37</c:v>
                </c:pt>
                <c:pt idx="392">
                  <c:v>38</c:v>
                </c:pt>
                <c:pt idx="393">
                  <c:v>35</c:v>
                </c:pt>
                <c:pt idx="394">
                  <c:v>41</c:v>
                </c:pt>
                <c:pt idx="395">
                  <c:v>41</c:v>
                </c:pt>
                <c:pt idx="396">
                  <c:v>34</c:v>
                </c:pt>
                <c:pt idx="397">
                  <c:v>39</c:v>
                </c:pt>
                <c:pt idx="398">
                  <c:v>37</c:v>
                </c:pt>
                <c:pt idx="399">
                  <c:v>35</c:v>
                </c:pt>
                <c:pt idx="400">
                  <c:v>32</c:v>
                </c:pt>
                <c:pt idx="401">
                  <c:v>29</c:v>
                </c:pt>
                <c:pt idx="402">
                  <c:v>30</c:v>
                </c:pt>
                <c:pt idx="403">
                  <c:v>30</c:v>
                </c:pt>
                <c:pt idx="404">
                  <c:v>31</c:v>
                </c:pt>
                <c:pt idx="405">
                  <c:v>30</c:v>
                </c:pt>
                <c:pt idx="406">
                  <c:v>34</c:v>
                </c:pt>
                <c:pt idx="407">
                  <c:v>40</c:v>
                </c:pt>
                <c:pt idx="408">
                  <c:v>38</c:v>
                </c:pt>
                <c:pt idx="409">
                  <c:v>42</c:v>
                </c:pt>
                <c:pt idx="410">
                  <c:v>42</c:v>
                </c:pt>
                <c:pt idx="411">
                  <c:v>43</c:v>
                </c:pt>
                <c:pt idx="412">
                  <c:v>44</c:v>
                </c:pt>
                <c:pt idx="413">
                  <c:v>41</c:v>
                </c:pt>
                <c:pt idx="414">
                  <c:v>37</c:v>
                </c:pt>
                <c:pt idx="415">
                  <c:v>38</c:v>
                </c:pt>
                <c:pt idx="416">
                  <c:v>41</c:v>
                </c:pt>
                <c:pt idx="417">
                  <c:v>41</c:v>
                </c:pt>
                <c:pt idx="418">
                  <c:v>42</c:v>
                </c:pt>
                <c:pt idx="419">
                  <c:v>40</c:v>
                </c:pt>
                <c:pt idx="420">
                  <c:v>36</c:v>
                </c:pt>
                <c:pt idx="421">
                  <c:v>32</c:v>
                </c:pt>
                <c:pt idx="422">
                  <c:v>36</c:v>
                </c:pt>
                <c:pt idx="423">
                  <c:v>35</c:v>
                </c:pt>
                <c:pt idx="424">
                  <c:v>38</c:v>
                </c:pt>
                <c:pt idx="425">
                  <c:v>35</c:v>
                </c:pt>
                <c:pt idx="426">
                  <c:v>33</c:v>
                </c:pt>
                <c:pt idx="427">
                  <c:v>32</c:v>
                </c:pt>
                <c:pt idx="428">
                  <c:v>33</c:v>
                </c:pt>
                <c:pt idx="429">
                  <c:v>31</c:v>
                </c:pt>
                <c:pt idx="430">
                  <c:v>29</c:v>
                </c:pt>
                <c:pt idx="431">
                  <c:v>30</c:v>
                </c:pt>
                <c:pt idx="432">
                  <c:v>29</c:v>
                </c:pt>
                <c:pt idx="433">
                  <c:v>32</c:v>
                </c:pt>
                <c:pt idx="434">
                  <c:v>32</c:v>
                </c:pt>
                <c:pt idx="435">
                  <c:v>35</c:v>
                </c:pt>
                <c:pt idx="436">
                  <c:v>33</c:v>
                </c:pt>
                <c:pt idx="437">
                  <c:v>31</c:v>
                </c:pt>
                <c:pt idx="438">
                  <c:v>30</c:v>
                </c:pt>
                <c:pt idx="439">
                  <c:v>30</c:v>
                </c:pt>
                <c:pt idx="440">
                  <c:v>31</c:v>
                </c:pt>
                <c:pt idx="441">
                  <c:v>32</c:v>
                </c:pt>
                <c:pt idx="442">
                  <c:v>38</c:v>
                </c:pt>
                <c:pt idx="443">
                  <c:v>42</c:v>
                </c:pt>
                <c:pt idx="444">
                  <c:v>43</c:v>
                </c:pt>
                <c:pt idx="445">
                  <c:v>40</c:v>
                </c:pt>
                <c:pt idx="446">
                  <c:v>41</c:v>
                </c:pt>
                <c:pt idx="447">
                  <c:v>43</c:v>
                </c:pt>
                <c:pt idx="448">
                  <c:v>43</c:v>
                </c:pt>
                <c:pt idx="449">
                  <c:v>36</c:v>
                </c:pt>
                <c:pt idx="450">
                  <c:v>36</c:v>
                </c:pt>
                <c:pt idx="451">
                  <c:v>45</c:v>
                </c:pt>
                <c:pt idx="452">
                  <c:v>44</c:v>
                </c:pt>
                <c:pt idx="453">
                  <c:v>39</c:v>
                </c:pt>
                <c:pt idx="454">
                  <c:v>42</c:v>
                </c:pt>
                <c:pt idx="455">
                  <c:v>48</c:v>
                </c:pt>
                <c:pt idx="456">
                  <c:v>45</c:v>
                </c:pt>
                <c:pt idx="457">
                  <c:v>42</c:v>
                </c:pt>
                <c:pt idx="458">
                  <c:v>42</c:v>
                </c:pt>
                <c:pt idx="459">
                  <c:v>44</c:v>
                </c:pt>
                <c:pt idx="460">
                  <c:v>45</c:v>
                </c:pt>
                <c:pt idx="461">
                  <c:v>48</c:v>
                </c:pt>
                <c:pt idx="462">
                  <c:v>49</c:v>
                </c:pt>
                <c:pt idx="463">
                  <c:v>46</c:v>
                </c:pt>
                <c:pt idx="464">
                  <c:v>51</c:v>
                </c:pt>
                <c:pt idx="465">
                  <c:v>51</c:v>
                </c:pt>
                <c:pt idx="466">
                  <c:v>51</c:v>
                </c:pt>
                <c:pt idx="467">
                  <c:v>51</c:v>
                </c:pt>
                <c:pt idx="468">
                  <c:v>50</c:v>
                </c:pt>
                <c:pt idx="469">
                  <c:v>48</c:v>
                </c:pt>
                <c:pt idx="470">
                  <c:v>51</c:v>
                </c:pt>
                <c:pt idx="471">
                  <c:v>52</c:v>
                </c:pt>
                <c:pt idx="472">
                  <c:v>51</c:v>
                </c:pt>
                <c:pt idx="473">
                  <c:v>56</c:v>
                </c:pt>
                <c:pt idx="474">
                  <c:v>57</c:v>
                </c:pt>
                <c:pt idx="475">
                  <c:v>58</c:v>
                </c:pt>
                <c:pt idx="476">
                  <c:v>59</c:v>
                </c:pt>
                <c:pt idx="477">
                  <c:v>54</c:v>
                </c:pt>
                <c:pt idx="478">
                  <c:v>51</c:v>
                </c:pt>
                <c:pt idx="479">
                  <c:v>46</c:v>
                </c:pt>
                <c:pt idx="480">
                  <c:v>43</c:v>
                </c:pt>
                <c:pt idx="481">
                  <c:v>41</c:v>
                </c:pt>
                <c:pt idx="482">
                  <c:v>45</c:v>
                </c:pt>
                <c:pt idx="483">
                  <c:v>47</c:v>
                </c:pt>
                <c:pt idx="484">
                  <c:v>48</c:v>
                </c:pt>
                <c:pt idx="485">
                  <c:v>47</c:v>
                </c:pt>
                <c:pt idx="486">
                  <c:v>47</c:v>
                </c:pt>
                <c:pt idx="487">
                  <c:v>48</c:v>
                </c:pt>
                <c:pt idx="488">
                  <c:v>46</c:v>
                </c:pt>
                <c:pt idx="489">
                  <c:v>47</c:v>
                </c:pt>
                <c:pt idx="490">
                  <c:v>44</c:v>
                </c:pt>
                <c:pt idx="491">
                  <c:v>48</c:v>
                </c:pt>
                <c:pt idx="492">
                  <c:v>44</c:v>
                </c:pt>
                <c:pt idx="493">
                  <c:v>50</c:v>
                </c:pt>
                <c:pt idx="494">
                  <c:v>55</c:v>
                </c:pt>
                <c:pt idx="495">
                  <c:v>61</c:v>
                </c:pt>
                <c:pt idx="496">
                  <c:v>60</c:v>
                </c:pt>
                <c:pt idx="497">
                  <c:v>62</c:v>
                </c:pt>
                <c:pt idx="498">
                  <c:v>62</c:v>
                </c:pt>
                <c:pt idx="499">
                  <c:v>56</c:v>
                </c:pt>
                <c:pt idx="500">
                  <c:v>57</c:v>
                </c:pt>
                <c:pt idx="501">
                  <c:v>55</c:v>
                </c:pt>
                <c:pt idx="502">
                  <c:v>57</c:v>
                </c:pt>
                <c:pt idx="503">
                  <c:v>59</c:v>
                </c:pt>
                <c:pt idx="504">
                  <c:v>62</c:v>
                </c:pt>
                <c:pt idx="505">
                  <c:v>59</c:v>
                </c:pt>
                <c:pt idx="506">
                  <c:v>64</c:v>
                </c:pt>
                <c:pt idx="507">
                  <c:v>63</c:v>
                </c:pt>
                <c:pt idx="508">
                  <c:v>64</c:v>
                </c:pt>
                <c:pt idx="509">
                  <c:v>62</c:v>
                </c:pt>
                <c:pt idx="510">
                  <c:v>59</c:v>
                </c:pt>
                <c:pt idx="511">
                  <c:v>63</c:v>
                </c:pt>
                <c:pt idx="512">
                  <c:v>63</c:v>
                </c:pt>
                <c:pt idx="513">
                  <c:v>68</c:v>
                </c:pt>
                <c:pt idx="514">
                  <c:v>65</c:v>
                </c:pt>
                <c:pt idx="515">
                  <c:v>62</c:v>
                </c:pt>
                <c:pt idx="516">
                  <c:v>63</c:v>
                </c:pt>
                <c:pt idx="517">
                  <c:v>65</c:v>
                </c:pt>
                <c:pt idx="518">
                  <c:v>65</c:v>
                </c:pt>
                <c:pt idx="519">
                  <c:v>61</c:v>
                </c:pt>
                <c:pt idx="520">
                  <c:v>55</c:v>
                </c:pt>
                <c:pt idx="521">
                  <c:v>57</c:v>
                </c:pt>
                <c:pt idx="522">
                  <c:v>60</c:v>
                </c:pt>
                <c:pt idx="523">
                  <c:v>61</c:v>
                </c:pt>
                <c:pt idx="524">
                  <c:v>57</c:v>
                </c:pt>
                <c:pt idx="525">
                  <c:v>68</c:v>
                </c:pt>
                <c:pt idx="526">
                  <c:v>69</c:v>
                </c:pt>
                <c:pt idx="527">
                  <c:v>72</c:v>
                </c:pt>
                <c:pt idx="528">
                  <c:v>67</c:v>
                </c:pt>
                <c:pt idx="529">
                  <c:v>66</c:v>
                </c:pt>
                <c:pt idx="530">
                  <c:v>68</c:v>
                </c:pt>
                <c:pt idx="531">
                  <c:v>74</c:v>
                </c:pt>
                <c:pt idx="532">
                  <c:v>71</c:v>
                </c:pt>
                <c:pt idx="533">
                  <c:v>76</c:v>
                </c:pt>
                <c:pt idx="534">
                  <c:v>80</c:v>
                </c:pt>
                <c:pt idx="535">
                  <c:v>78</c:v>
                </c:pt>
                <c:pt idx="536">
                  <c:v>81</c:v>
                </c:pt>
                <c:pt idx="537">
                  <c:v>72</c:v>
                </c:pt>
                <c:pt idx="538">
                  <c:v>71</c:v>
                </c:pt>
                <c:pt idx="539">
                  <c:v>79</c:v>
                </c:pt>
                <c:pt idx="540">
                  <c:v>85</c:v>
                </c:pt>
                <c:pt idx="541">
                  <c:v>83</c:v>
                </c:pt>
                <c:pt idx="542">
                  <c:v>81</c:v>
                </c:pt>
                <c:pt idx="543">
                  <c:v>84</c:v>
                </c:pt>
                <c:pt idx="544">
                  <c:v>82</c:v>
                </c:pt>
                <c:pt idx="545">
                  <c:v>83</c:v>
                </c:pt>
                <c:pt idx="546">
                  <c:v>84</c:v>
                </c:pt>
                <c:pt idx="547">
                  <c:v>79</c:v>
                </c:pt>
                <c:pt idx="548">
                  <c:v>78</c:v>
                </c:pt>
                <c:pt idx="549">
                  <c:v>82</c:v>
                </c:pt>
                <c:pt idx="550">
                  <c:v>84</c:v>
                </c:pt>
                <c:pt idx="551">
                  <c:v>84</c:v>
                </c:pt>
                <c:pt idx="552">
                  <c:v>82</c:v>
                </c:pt>
                <c:pt idx="553">
                  <c:v>81</c:v>
                </c:pt>
                <c:pt idx="554">
                  <c:v>82</c:v>
                </c:pt>
                <c:pt idx="555">
                  <c:v>87</c:v>
                </c:pt>
                <c:pt idx="556">
                  <c:v>84</c:v>
                </c:pt>
                <c:pt idx="557">
                  <c:v>87</c:v>
                </c:pt>
                <c:pt idx="558">
                  <c:v>87</c:v>
                </c:pt>
                <c:pt idx="559">
                  <c:v>86</c:v>
                </c:pt>
                <c:pt idx="560">
                  <c:v>82</c:v>
                </c:pt>
                <c:pt idx="561">
                  <c:v>83</c:v>
                </c:pt>
                <c:pt idx="562">
                  <c:v>77</c:v>
                </c:pt>
                <c:pt idx="563">
                  <c:v>74</c:v>
                </c:pt>
                <c:pt idx="564">
                  <c:v>73</c:v>
                </c:pt>
                <c:pt idx="565">
                  <c:v>78</c:v>
                </c:pt>
                <c:pt idx="566">
                  <c:v>76</c:v>
                </c:pt>
                <c:pt idx="567">
                  <c:v>76</c:v>
                </c:pt>
                <c:pt idx="568">
                  <c:v>73</c:v>
                </c:pt>
                <c:pt idx="569">
                  <c:v>72</c:v>
                </c:pt>
                <c:pt idx="570">
                  <c:v>74</c:v>
                </c:pt>
                <c:pt idx="571">
                  <c:v>72</c:v>
                </c:pt>
                <c:pt idx="572">
                  <c:v>70</c:v>
                </c:pt>
                <c:pt idx="573">
                  <c:v>72</c:v>
                </c:pt>
                <c:pt idx="574">
                  <c:v>69</c:v>
                </c:pt>
                <c:pt idx="575">
                  <c:v>66</c:v>
                </c:pt>
                <c:pt idx="576">
                  <c:v>65</c:v>
                </c:pt>
                <c:pt idx="577">
                  <c:v>61</c:v>
                </c:pt>
                <c:pt idx="578">
                  <c:v>61</c:v>
                </c:pt>
                <c:pt idx="579">
                  <c:v>57</c:v>
                </c:pt>
                <c:pt idx="580">
                  <c:v>54</c:v>
                </c:pt>
                <c:pt idx="581">
                  <c:v>55</c:v>
                </c:pt>
                <c:pt idx="582">
                  <c:v>54</c:v>
                </c:pt>
                <c:pt idx="583">
                  <c:v>53</c:v>
                </c:pt>
                <c:pt idx="584">
                  <c:v>52</c:v>
                </c:pt>
                <c:pt idx="585">
                  <c:v>55</c:v>
                </c:pt>
                <c:pt idx="586">
                  <c:v>58</c:v>
                </c:pt>
                <c:pt idx="587">
                  <c:v>56</c:v>
                </c:pt>
                <c:pt idx="588">
                  <c:v>59</c:v>
                </c:pt>
                <c:pt idx="589">
                  <c:v>56</c:v>
                </c:pt>
                <c:pt idx="590">
                  <c:v>58</c:v>
                </c:pt>
                <c:pt idx="591">
                  <c:v>59</c:v>
                </c:pt>
                <c:pt idx="592">
                  <c:v>65</c:v>
                </c:pt>
                <c:pt idx="593">
                  <c:v>64</c:v>
                </c:pt>
                <c:pt idx="594">
                  <c:v>64</c:v>
                </c:pt>
                <c:pt idx="595">
                  <c:v>65</c:v>
                </c:pt>
                <c:pt idx="596">
                  <c:v>69</c:v>
                </c:pt>
                <c:pt idx="597">
                  <c:v>66</c:v>
                </c:pt>
                <c:pt idx="598">
                  <c:v>69</c:v>
                </c:pt>
                <c:pt idx="599">
                  <c:v>68</c:v>
                </c:pt>
                <c:pt idx="600">
                  <c:v>64</c:v>
                </c:pt>
                <c:pt idx="601">
                  <c:v>57</c:v>
                </c:pt>
                <c:pt idx="602">
                  <c:v>59</c:v>
                </c:pt>
                <c:pt idx="603">
                  <c:v>60</c:v>
                </c:pt>
                <c:pt idx="604">
                  <c:v>60</c:v>
                </c:pt>
                <c:pt idx="605">
                  <c:v>55</c:v>
                </c:pt>
                <c:pt idx="606">
                  <c:v>57</c:v>
                </c:pt>
                <c:pt idx="607">
                  <c:v>54</c:v>
                </c:pt>
                <c:pt idx="608">
                  <c:v>58</c:v>
                </c:pt>
                <c:pt idx="609">
                  <c:v>58</c:v>
                </c:pt>
                <c:pt idx="610">
                  <c:v>58</c:v>
                </c:pt>
                <c:pt idx="611">
                  <c:v>58</c:v>
                </c:pt>
                <c:pt idx="612">
                  <c:v>64</c:v>
                </c:pt>
                <c:pt idx="613">
                  <c:v>66</c:v>
                </c:pt>
                <c:pt idx="614">
                  <c:v>65</c:v>
                </c:pt>
                <c:pt idx="615">
                  <c:v>67</c:v>
                </c:pt>
                <c:pt idx="616">
                  <c:v>66</c:v>
                </c:pt>
                <c:pt idx="617">
                  <c:v>63</c:v>
                </c:pt>
                <c:pt idx="618">
                  <c:v>62</c:v>
                </c:pt>
                <c:pt idx="619">
                  <c:v>61</c:v>
                </c:pt>
                <c:pt idx="620">
                  <c:v>59</c:v>
                </c:pt>
                <c:pt idx="621">
                  <c:v>56</c:v>
                </c:pt>
                <c:pt idx="622">
                  <c:v>55</c:v>
                </c:pt>
                <c:pt idx="623">
                  <c:v>55</c:v>
                </c:pt>
                <c:pt idx="624">
                  <c:v>59</c:v>
                </c:pt>
                <c:pt idx="625">
                  <c:v>58</c:v>
                </c:pt>
                <c:pt idx="626">
                  <c:v>57</c:v>
                </c:pt>
                <c:pt idx="627">
                  <c:v>59</c:v>
                </c:pt>
                <c:pt idx="628">
                  <c:v>54</c:v>
                </c:pt>
                <c:pt idx="629">
                  <c:v>54</c:v>
                </c:pt>
                <c:pt idx="630">
                  <c:v>58</c:v>
                </c:pt>
                <c:pt idx="631">
                  <c:v>56</c:v>
                </c:pt>
                <c:pt idx="632">
                  <c:v>54</c:v>
                </c:pt>
                <c:pt idx="633">
                  <c:v>54</c:v>
                </c:pt>
                <c:pt idx="634">
                  <c:v>58</c:v>
                </c:pt>
                <c:pt idx="635">
                  <c:v>61</c:v>
                </c:pt>
                <c:pt idx="636">
                  <c:v>60</c:v>
                </c:pt>
                <c:pt idx="637">
                  <c:v>62</c:v>
                </c:pt>
                <c:pt idx="638">
                  <c:v>64</c:v>
                </c:pt>
                <c:pt idx="639">
                  <c:v>66</c:v>
                </c:pt>
                <c:pt idx="640">
                  <c:v>65</c:v>
                </c:pt>
                <c:pt idx="641">
                  <c:v>65</c:v>
                </c:pt>
                <c:pt idx="642">
                  <c:v>67</c:v>
                </c:pt>
                <c:pt idx="643">
                  <c:v>65</c:v>
                </c:pt>
                <c:pt idx="644">
                  <c:v>66</c:v>
                </c:pt>
                <c:pt idx="645">
                  <c:v>75</c:v>
                </c:pt>
                <c:pt idx="646">
                  <c:v>70</c:v>
                </c:pt>
                <c:pt idx="647">
                  <c:v>73</c:v>
                </c:pt>
                <c:pt idx="648">
                  <c:v>83</c:v>
                </c:pt>
                <c:pt idx="649">
                  <c:v>92</c:v>
                </c:pt>
                <c:pt idx="650">
                  <c:v>87</c:v>
                </c:pt>
                <c:pt idx="651">
                  <c:v>85</c:v>
                </c:pt>
                <c:pt idx="652">
                  <c:v>89</c:v>
                </c:pt>
                <c:pt idx="653">
                  <c:v>96</c:v>
                </c:pt>
                <c:pt idx="654">
                  <c:v>93</c:v>
                </c:pt>
                <c:pt idx="655">
                  <c:v>96</c:v>
                </c:pt>
                <c:pt idx="656">
                  <c:v>95</c:v>
                </c:pt>
                <c:pt idx="657">
                  <c:v>96</c:v>
                </c:pt>
                <c:pt idx="658">
                  <c:v>102</c:v>
                </c:pt>
                <c:pt idx="659">
                  <c:v>105</c:v>
                </c:pt>
                <c:pt idx="660">
                  <c:v>102</c:v>
                </c:pt>
                <c:pt idx="661">
                  <c:v>92</c:v>
                </c:pt>
                <c:pt idx="662">
                  <c:v>92</c:v>
                </c:pt>
                <c:pt idx="663">
                  <c:v>91</c:v>
                </c:pt>
                <c:pt idx="664">
                  <c:v>91</c:v>
                </c:pt>
                <c:pt idx="665">
                  <c:v>90</c:v>
                </c:pt>
                <c:pt idx="666">
                  <c:v>89</c:v>
                </c:pt>
                <c:pt idx="667">
                  <c:v>94</c:v>
                </c:pt>
                <c:pt idx="668">
                  <c:v>93</c:v>
                </c:pt>
                <c:pt idx="669">
                  <c:v>97</c:v>
                </c:pt>
                <c:pt idx="670">
                  <c:v>100</c:v>
                </c:pt>
                <c:pt idx="671">
                  <c:v>99</c:v>
                </c:pt>
                <c:pt idx="672">
                  <c:v>98</c:v>
                </c:pt>
                <c:pt idx="673">
                  <c:v>94</c:v>
                </c:pt>
                <c:pt idx="674">
                  <c:v>96</c:v>
                </c:pt>
                <c:pt idx="675">
                  <c:v>98</c:v>
                </c:pt>
                <c:pt idx="676">
                  <c:v>99</c:v>
                </c:pt>
                <c:pt idx="677">
                  <c:v>98</c:v>
                </c:pt>
                <c:pt idx="678">
                  <c:v>98</c:v>
                </c:pt>
                <c:pt idx="679">
                  <c:v>92</c:v>
                </c:pt>
                <c:pt idx="680">
                  <c:v>89</c:v>
                </c:pt>
                <c:pt idx="681">
                  <c:v>96</c:v>
                </c:pt>
                <c:pt idx="682">
                  <c:v>94</c:v>
                </c:pt>
                <c:pt idx="683">
                  <c:v>95</c:v>
                </c:pt>
                <c:pt idx="684">
                  <c:v>98</c:v>
                </c:pt>
                <c:pt idx="685">
                  <c:v>95</c:v>
                </c:pt>
                <c:pt idx="686">
                  <c:v>101</c:v>
                </c:pt>
                <c:pt idx="687">
                  <c:v>91</c:v>
                </c:pt>
                <c:pt idx="688">
                  <c:v>98</c:v>
                </c:pt>
                <c:pt idx="689">
                  <c:v>94</c:v>
                </c:pt>
                <c:pt idx="690">
                  <c:v>103</c:v>
                </c:pt>
                <c:pt idx="691">
                  <c:v>96</c:v>
                </c:pt>
                <c:pt idx="692">
                  <c:v>103</c:v>
                </c:pt>
                <c:pt idx="693">
                  <c:v>106</c:v>
                </c:pt>
                <c:pt idx="694">
                  <c:v>108</c:v>
                </c:pt>
                <c:pt idx="695">
                  <c:v>110</c:v>
                </c:pt>
                <c:pt idx="696">
                  <c:v>111</c:v>
                </c:pt>
                <c:pt idx="697">
                  <c:v>115</c:v>
                </c:pt>
                <c:pt idx="698">
                  <c:v>124</c:v>
                </c:pt>
                <c:pt idx="699">
                  <c:v>125</c:v>
                </c:pt>
                <c:pt idx="700">
                  <c:v>124</c:v>
                </c:pt>
                <c:pt idx="701">
                  <c:v>131</c:v>
                </c:pt>
                <c:pt idx="702">
                  <c:v>133</c:v>
                </c:pt>
                <c:pt idx="703">
                  <c:v>133</c:v>
                </c:pt>
                <c:pt idx="704">
                  <c:v>133</c:v>
                </c:pt>
                <c:pt idx="705">
                  <c:v>137</c:v>
                </c:pt>
                <c:pt idx="706">
                  <c:v>135</c:v>
                </c:pt>
                <c:pt idx="707">
                  <c:v>126</c:v>
                </c:pt>
                <c:pt idx="708">
                  <c:v>135</c:v>
                </c:pt>
                <c:pt idx="709">
                  <c:v>142</c:v>
                </c:pt>
                <c:pt idx="710">
                  <c:v>151</c:v>
                </c:pt>
                <c:pt idx="711">
                  <c:v>150</c:v>
                </c:pt>
                <c:pt idx="712">
                  <c:v>144</c:v>
                </c:pt>
                <c:pt idx="713">
                  <c:v>134</c:v>
                </c:pt>
                <c:pt idx="714">
                  <c:v>133</c:v>
                </c:pt>
                <c:pt idx="715">
                  <c:v>123</c:v>
                </c:pt>
                <c:pt idx="716">
                  <c:v>116</c:v>
                </c:pt>
                <c:pt idx="717">
                  <c:v>120</c:v>
                </c:pt>
                <c:pt idx="718">
                  <c:v>123</c:v>
                </c:pt>
                <c:pt idx="719">
                  <c:v>125</c:v>
                </c:pt>
                <c:pt idx="720">
                  <c:v>129</c:v>
                </c:pt>
                <c:pt idx="721">
                  <c:v>133</c:v>
                </c:pt>
                <c:pt idx="722">
                  <c:v>132</c:v>
                </c:pt>
                <c:pt idx="723">
                  <c:v>128</c:v>
                </c:pt>
                <c:pt idx="724">
                  <c:v>127</c:v>
                </c:pt>
                <c:pt idx="725">
                  <c:v>123</c:v>
                </c:pt>
                <c:pt idx="726">
                  <c:v>125</c:v>
                </c:pt>
                <c:pt idx="727">
                  <c:v>127</c:v>
                </c:pt>
                <c:pt idx="728">
                  <c:v>126</c:v>
                </c:pt>
                <c:pt idx="729">
                  <c:v>132</c:v>
                </c:pt>
                <c:pt idx="730">
                  <c:v>128</c:v>
                </c:pt>
                <c:pt idx="731">
                  <c:v>127</c:v>
                </c:pt>
                <c:pt idx="732">
                  <c:v>131</c:v>
                </c:pt>
                <c:pt idx="733">
                  <c:v>141</c:v>
                </c:pt>
                <c:pt idx="734">
                  <c:v>135</c:v>
                </c:pt>
                <c:pt idx="735">
                  <c:v>134</c:v>
                </c:pt>
                <c:pt idx="736">
                  <c:v>145</c:v>
                </c:pt>
                <c:pt idx="737">
                  <c:v>147</c:v>
                </c:pt>
                <c:pt idx="738">
                  <c:v>149</c:v>
                </c:pt>
                <c:pt idx="739">
                  <c:v>152</c:v>
                </c:pt>
                <c:pt idx="740">
                  <c:v>154</c:v>
                </c:pt>
                <c:pt idx="741">
                  <c:v>158</c:v>
                </c:pt>
                <c:pt idx="742">
                  <c:v>161</c:v>
                </c:pt>
                <c:pt idx="743">
                  <c:v>164</c:v>
                </c:pt>
                <c:pt idx="744">
                  <c:v>166</c:v>
                </c:pt>
                <c:pt idx="745">
                  <c:v>164</c:v>
                </c:pt>
                <c:pt idx="746">
                  <c:v>165</c:v>
                </c:pt>
                <c:pt idx="747">
                  <c:v>167</c:v>
                </c:pt>
                <c:pt idx="748">
                  <c:v>171</c:v>
                </c:pt>
                <c:pt idx="749">
                  <c:v>170</c:v>
                </c:pt>
                <c:pt idx="750">
                  <c:v>176</c:v>
                </c:pt>
                <c:pt idx="751">
                  <c:v>168</c:v>
                </c:pt>
                <c:pt idx="752">
                  <c:v>176</c:v>
                </c:pt>
                <c:pt idx="753">
                  <c:v>168</c:v>
                </c:pt>
                <c:pt idx="754">
                  <c:v>181</c:v>
                </c:pt>
                <c:pt idx="755">
                  <c:v>182</c:v>
                </c:pt>
                <c:pt idx="756">
                  <c:v>183</c:v>
                </c:pt>
                <c:pt idx="757">
                  <c:v>185</c:v>
                </c:pt>
                <c:pt idx="758">
                  <c:v>183</c:v>
                </c:pt>
                <c:pt idx="759">
                  <c:v>173</c:v>
                </c:pt>
                <c:pt idx="760">
                  <c:v>189</c:v>
                </c:pt>
                <c:pt idx="761">
                  <c:v>196</c:v>
                </c:pt>
                <c:pt idx="762">
                  <c:v>187</c:v>
                </c:pt>
                <c:pt idx="763">
                  <c:v>190</c:v>
                </c:pt>
                <c:pt idx="764">
                  <c:v>193</c:v>
                </c:pt>
                <c:pt idx="765">
                  <c:v>191</c:v>
                </c:pt>
                <c:pt idx="766">
                  <c:v>193</c:v>
                </c:pt>
                <c:pt idx="767">
                  <c:v>191</c:v>
                </c:pt>
                <c:pt idx="768">
                  <c:v>199</c:v>
                </c:pt>
                <c:pt idx="769">
                  <c:v>214</c:v>
                </c:pt>
                <c:pt idx="770">
                  <c:v>215</c:v>
                </c:pt>
                <c:pt idx="771">
                  <c:v>210</c:v>
                </c:pt>
                <c:pt idx="772">
                  <c:v>205</c:v>
                </c:pt>
                <c:pt idx="773">
                  <c:v>202</c:v>
                </c:pt>
                <c:pt idx="774">
                  <c:v>201</c:v>
                </c:pt>
                <c:pt idx="775">
                  <c:v>208</c:v>
                </c:pt>
                <c:pt idx="776">
                  <c:v>211</c:v>
                </c:pt>
                <c:pt idx="777">
                  <c:v>216</c:v>
                </c:pt>
                <c:pt idx="778">
                  <c:v>216</c:v>
                </c:pt>
                <c:pt idx="779">
                  <c:v>219</c:v>
                </c:pt>
                <c:pt idx="780">
                  <c:v>221</c:v>
                </c:pt>
                <c:pt idx="781">
                  <c:v>221</c:v>
                </c:pt>
                <c:pt idx="782">
                  <c:v>222</c:v>
                </c:pt>
                <c:pt idx="783">
                  <c:v>232</c:v>
                </c:pt>
                <c:pt idx="784">
                  <c:v>239</c:v>
                </c:pt>
                <c:pt idx="785">
                  <c:v>234</c:v>
                </c:pt>
                <c:pt idx="786">
                  <c:v>233</c:v>
                </c:pt>
                <c:pt idx="787">
                  <c:v>251</c:v>
                </c:pt>
                <c:pt idx="788">
                  <c:v>243</c:v>
                </c:pt>
                <c:pt idx="789">
                  <c:v>255</c:v>
                </c:pt>
                <c:pt idx="790">
                  <c:v>250</c:v>
                </c:pt>
                <c:pt idx="791">
                  <c:v>245</c:v>
                </c:pt>
                <c:pt idx="792">
                  <c:v>246</c:v>
                </c:pt>
                <c:pt idx="793">
                  <c:v>251</c:v>
                </c:pt>
                <c:pt idx="794">
                  <c:v>250</c:v>
                </c:pt>
                <c:pt idx="795">
                  <c:v>257</c:v>
                </c:pt>
                <c:pt idx="796">
                  <c:v>259</c:v>
                </c:pt>
                <c:pt idx="797">
                  <c:v>259</c:v>
                </c:pt>
                <c:pt idx="798">
                  <c:v>252</c:v>
                </c:pt>
                <c:pt idx="799">
                  <c:v>259</c:v>
                </c:pt>
                <c:pt idx="800">
                  <c:v>266</c:v>
                </c:pt>
                <c:pt idx="801">
                  <c:v>273</c:v>
                </c:pt>
                <c:pt idx="802">
                  <c:v>274</c:v>
                </c:pt>
                <c:pt idx="803">
                  <c:v>281</c:v>
                </c:pt>
                <c:pt idx="804">
                  <c:v>293</c:v>
                </c:pt>
                <c:pt idx="805">
                  <c:v>283</c:v>
                </c:pt>
                <c:pt idx="806">
                  <c:v>279</c:v>
                </c:pt>
                <c:pt idx="807">
                  <c:v>288</c:v>
                </c:pt>
                <c:pt idx="808">
                  <c:v>287</c:v>
                </c:pt>
                <c:pt idx="809">
                  <c:v>277</c:v>
                </c:pt>
                <c:pt idx="810">
                  <c:v>281</c:v>
                </c:pt>
                <c:pt idx="811">
                  <c:v>287</c:v>
                </c:pt>
                <c:pt idx="812">
                  <c:v>299</c:v>
                </c:pt>
                <c:pt idx="813">
                  <c:v>301</c:v>
                </c:pt>
                <c:pt idx="814">
                  <c:v>301</c:v>
                </c:pt>
                <c:pt idx="815">
                  <c:v>303</c:v>
                </c:pt>
                <c:pt idx="816">
                  <c:v>310</c:v>
                </c:pt>
                <c:pt idx="817">
                  <c:v>316</c:v>
                </c:pt>
                <c:pt idx="818">
                  <c:v>306</c:v>
                </c:pt>
                <c:pt idx="819">
                  <c:v>305</c:v>
                </c:pt>
                <c:pt idx="820">
                  <c:v>310</c:v>
                </c:pt>
                <c:pt idx="821">
                  <c:v>310</c:v>
                </c:pt>
                <c:pt idx="822">
                  <c:v>311</c:v>
                </c:pt>
                <c:pt idx="823">
                  <c:v>322</c:v>
                </c:pt>
                <c:pt idx="824">
                  <c:v>323</c:v>
                </c:pt>
                <c:pt idx="825">
                  <c:v>324</c:v>
                </c:pt>
                <c:pt idx="826">
                  <c:v>316</c:v>
                </c:pt>
                <c:pt idx="827">
                  <c:v>307</c:v>
                </c:pt>
                <c:pt idx="828">
                  <c:v>306</c:v>
                </c:pt>
                <c:pt idx="829">
                  <c:v>302</c:v>
                </c:pt>
                <c:pt idx="830">
                  <c:v>315</c:v>
                </c:pt>
                <c:pt idx="831">
                  <c:v>327</c:v>
                </c:pt>
                <c:pt idx="832">
                  <c:v>329</c:v>
                </c:pt>
                <c:pt idx="833">
                  <c:v>330</c:v>
                </c:pt>
                <c:pt idx="834">
                  <c:v>337</c:v>
                </c:pt>
                <c:pt idx="835">
                  <c:v>335</c:v>
                </c:pt>
                <c:pt idx="836">
                  <c:v>340</c:v>
                </c:pt>
                <c:pt idx="837">
                  <c:v>339</c:v>
                </c:pt>
                <c:pt idx="838">
                  <c:v>325</c:v>
                </c:pt>
                <c:pt idx="839">
                  <c:v>345</c:v>
                </c:pt>
                <c:pt idx="840">
                  <c:v>346</c:v>
                </c:pt>
                <c:pt idx="841">
                  <c:v>345</c:v>
                </c:pt>
                <c:pt idx="842">
                  <c:v>349</c:v>
                </c:pt>
                <c:pt idx="843">
                  <c:v>346</c:v>
                </c:pt>
                <c:pt idx="844">
                  <c:v>343</c:v>
                </c:pt>
                <c:pt idx="845">
                  <c:v>336</c:v>
                </c:pt>
                <c:pt idx="846">
                  <c:v>341</c:v>
                </c:pt>
                <c:pt idx="847">
                  <c:v>346</c:v>
                </c:pt>
                <c:pt idx="848">
                  <c:v>346</c:v>
                </c:pt>
                <c:pt idx="849">
                  <c:v>354</c:v>
                </c:pt>
                <c:pt idx="850">
                  <c:v>361</c:v>
                </c:pt>
                <c:pt idx="851">
                  <c:v>358</c:v>
                </c:pt>
                <c:pt idx="852">
                  <c:v>371</c:v>
                </c:pt>
                <c:pt idx="853">
                  <c:v>372</c:v>
                </c:pt>
                <c:pt idx="854">
                  <c:v>377</c:v>
                </c:pt>
                <c:pt idx="855">
                  <c:v>377</c:v>
                </c:pt>
                <c:pt idx="856">
                  <c:v>383</c:v>
                </c:pt>
                <c:pt idx="857">
                  <c:v>380</c:v>
                </c:pt>
                <c:pt idx="858">
                  <c:v>374</c:v>
                </c:pt>
                <c:pt idx="859">
                  <c:v>370</c:v>
                </c:pt>
                <c:pt idx="860">
                  <c:v>377</c:v>
                </c:pt>
                <c:pt idx="861">
                  <c:v>385</c:v>
                </c:pt>
                <c:pt idx="862">
                  <c:v>396</c:v>
                </c:pt>
                <c:pt idx="863">
                  <c:v>400</c:v>
                </c:pt>
                <c:pt idx="864">
                  <c:v>410</c:v>
                </c:pt>
                <c:pt idx="865">
                  <c:v>428</c:v>
                </c:pt>
                <c:pt idx="866">
                  <c:v>428</c:v>
                </c:pt>
                <c:pt idx="867">
                  <c:v>424</c:v>
                </c:pt>
                <c:pt idx="868">
                  <c:v>435</c:v>
                </c:pt>
                <c:pt idx="869">
                  <c:v>433</c:v>
                </c:pt>
                <c:pt idx="870">
                  <c:v>435</c:v>
                </c:pt>
                <c:pt idx="871">
                  <c:v>425</c:v>
                </c:pt>
                <c:pt idx="872">
                  <c:v>435</c:v>
                </c:pt>
                <c:pt idx="873">
                  <c:v>438</c:v>
                </c:pt>
                <c:pt idx="874">
                  <c:v>428</c:v>
                </c:pt>
                <c:pt idx="875">
                  <c:v>428</c:v>
                </c:pt>
                <c:pt idx="876">
                  <c:v>420</c:v>
                </c:pt>
                <c:pt idx="877">
                  <c:v>433</c:v>
                </c:pt>
                <c:pt idx="878">
                  <c:v>436</c:v>
                </c:pt>
                <c:pt idx="879">
                  <c:v>438</c:v>
                </c:pt>
                <c:pt idx="880">
                  <c:v>435</c:v>
                </c:pt>
                <c:pt idx="881">
                  <c:v>456</c:v>
                </c:pt>
                <c:pt idx="882">
                  <c:v>435</c:v>
                </c:pt>
                <c:pt idx="883">
                  <c:v>456</c:v>
                </c:pt>
                <c:pt idx="884">
                  <c:v>457</c:v>
                </c:pt>
                <c:pt idx="885">
                  <c:v>461</c:v>
                </c:pt>
                <c:pt idx="886">
                  <c:v>443</c:v>
                </c:pt>
                <c:pt idx="887">
                  <c:v>447</c:v>
                </c:pt>
                <c:pt idx="888">
                  <c:v>446</c:v>
                </c:pt>
                <c:pt idx="889">
                  <c:v>448</c:v>
                </c:pt>
                <c:pt idx="890">
                  <c:v>446</c:v>
                </c:pt>
                <c:pt idx="891">
                  <c:v>459</c:v>
                </c:pt>
                <c:pt idx="892">
                  <c:v>459</c:v>
                </c:pt>
                <c:pt idx="893">
                  <c:v>453</c:v>
                </c:pt>
                <c:pt idx="894">
                  <c:v>464</c:v>
                </c:pt>
                <c:pt idx="895">
                  <c:v>461</c:v>
                </c:pt>
                <c:pt idx="896">
                  <c:v>487</c:v>
                </c:pt>
                <c:pt idx="897">
                  <c:v>482</c:v>
                </c:pt>
                <c:pt idx="898">
                  <c:v>487</c:v>
                </c:pt>
                <c:pt idx="899">
                  <c:v>482</c:v>
                </c:pt>
                <c:pt idx="900">
                  <c:v>481</c:v>
                </c:pt>
                <c:pt idx="901">
                  <c:v>480</c:v>
                </c:pt>
                <c:pt idx="902">
                  <c:v>502</c:v>
                </c:pt>
                <c:pt idx="903">
                  <c:v>511</c:v>
                </c:pt>
                <c:pt idx="904">
                  <c:v>515</c:v>
                </c:pt>
                <c:pt idx="905">
                  <c:v>513</c:v>
                </c:pt>
                <c:pt idx="906">
                  <c:v>528</c:v>
                </c:pt>
                <c:pt idx="907">
                  <c:v>544</c:v>
                </c:pt>
                <c:pt idx="908">
                  <c:v>533</c:v>
                </c:pt>
                <c:pt idx="909">
                  <c:v>548</c:v>
                </c:pt>
                <c:pt idx="910">
                  <c:v>547</c:v>
                </c:pt>
                <c:pt idx="911">
                  <c:v>544</c:v>
                </c:pt>
                <c:pt idx="912">
                  <c:v>564</c:v>
                </c:pt>
                <c:pt idx="913">
                  <c:v>555</c:v>
                </c:pt>
                <c:pt idx="914">
                  <c:v>560</c:v>
                </c:pt>
                <c:pt idx="915">
                  <c:v>568</c:v>
                </c:pt>
                <c:pt idx="916">
                  <c:v>587</c:v>
                </c:pt>
                <c:pt idx="917">
                  <c:v>587</c:v>
                </c:pt>
                <c:pt idx="918">
                  <c:v>594</c:v>
                </c:pt>
                <c:pt idx="919">
                  <c:v>600</c:v>
                </c:pt>
                <c:pt idx="920">
                  <c:v>603</c:v>
                </c:pt>
                <c:pt idx="921">
                  <c:v>626</c:v>
                </c:pt>
                <c:pt idx="922">
                  <c:v>624</c:v>
                </c:pt>
                <c:pt idx="923">
                  <c:v>638</c:v>
                </c:pt>
                <c:pt idx="924">
                  <c:v>627</c:v>
                </c:pt>
                <c:pt idx="925">
                  <c:v>636</c:v>
                </c:pt>
                <c:pt idx="926">
                  <c:v>632</c:v>
                </c:pt>
                <c:pt idx="927">
                  <c:v>626</c:v>
                </c:pt>
                <c:pt idx="928">
                  <c:v>624</c:v>
                </c:pt>
                <c:pt idx="929">
                  <c:v>643</c:v>
                </c:pt>
                <c:pt idx="930">
                  <c:v>650</c:v>
                </c:pt>
                <c:pt idx="931">
                  <c:v>644</c:v>
                </c:pt>
                <c:pt idx="932">
                  <c:v>624</c:v>
                </c:pt>
                <c:pt idx="933">
                  <c:v>636</c:v>
                </c:pt>
                <c:pt idx="934">
                  <c:v>620</c:v>
                </c:pt>
                <c:pt idx="935">
                  <c:v>625</c:v>
                </c:pt>
                <c:pt idx="936">
                  <c:v>618</c:v>
                </c:pt>
                <c:pt idx="937">
                  <c:v>610</c:v>
                </c:pt>
                <c:pt idx="938">
                  <c:v>587</c:v>
                </c:pt>
                <c:pt idx="939">
                  <c:v>560</c:v>
                </c:pt>
                <c:pt idx="940">
                  <c:v>552</c:v>
                </c:pt>
                <c:pt idx="941">
                  <c:v>548</c:v>
                </c:pt>
                <c:pt idx="942">
                  <c:v>558</c:v>
                </c:pt>
                <c:pt idx="943">
                  <c:v>548</c:v>
                </c:pt>
                <c:pt idx="944">
                  <c:v>518</c:v>
                </c:pt>
                <c:pt idx="945">
                  <c:v>497</c:v>
                </c:pt>
                <c:pt idx="946">
                  <c:v>475</c:v>
                </c:pt>
                <c:pt idx="947">
                  <c:v>454</c:v>
                </c:pt>
                <c:pt idx="948">
                  <c:v>445</c:v>
                </c:pt>
                <c:pt idx="949">
                  <c:v>432</c:v>
                </c:pt>
                <c:pt idx="950">
                  <c:v>436</c:v>
                </c:pt>
                <c:pt idx="951">
                  <c:v>416</c:v>
                </c:pt>
                <c:pt idx="952">
                  <c:v>409</c:v>
                </c:pt>
                <c:pt idx="953">
                  <c:v>410</c:v>
                </c:pt>
                <c:pt idx="954">
                  <c:v>399</c:v>
                </c:pt>
                <c:pt idx="955">
                  <c:v>385</c:v>
                </c:pt>
                <c:pt idx="956">
                  <c:v>385</c:v>
                </c:pt>
                <c:pt idx="957">
                  <c:v>380</c:v>
                </c:pt>
                <c:pt idx="958">
                  <c:v>379</c:v>
                </c:pt>
                <c:pt idx="959">
                  <c:v>375</c:v>
                </c:pt>
                <c:pt idx="960">
                  <c:v>376</c:v>
                </c:pt>
                <c:pt idx="961">
                  <c:v>372</c:v>
                </c:pt>
                <c:pt idx="962">
                  <c:v>381</c:v>
                </c:pt>
                <c:pt idx="963">
                  <c:v>391</c:v>
                </c:pt>
                <c:pt idx="964">
                  <c:v>390</c:v>
                </c:pt>
                <c:pt idx="965">
                  <c:v>396</c:v>
                </c:pt>
                <c:pt idx="966">
                  <c:v>390</c:v>
                </c:pt>
                <c:pt idx="967">
                  <c:v>399</c:v>
                </c:pt>
                <c:pt idx="968">
                  <c:v>408</c:v>
                </c:pt>
                <c:pt idx="969">
                  <c:v>413</c:v>
                </c:pt>
                <c:pt idx="970">
                  <c:v>422</c:v>
                </c:pt>
                <c:pt idx="971">
                  <c:v>421</c:v>
                </c:pt>
                <c:pt idx="972">
                  <c:v>428</c:v>
                </c:pt>
                <c:pt idx="973">
                  <c:v>429</c:v>
                </c:pt>
                <c:pt idx="974">
                  <c:v>426</c:v>
                </c:pt>
                <c:pt idx="975">
                  <c:v>430</c:v>
                </c:pt>
                <c:pt idx="976">
                  <c:v>432</c:v>
                </c:pt>
                <c:pt idx="977">
                  <c:v>442</c:v>
                </c:pt>
                <c:pt idx="978">
                  <c:v>444</c:v>
                </c:pt>
                <c:pt idx="979">
                  <c:v>463</c:v>
                </c:pt>
                <c:pt idx="980">
                  <c:v>465</c:v>
                </c:pt>
                <c:pt idx="981">
                  <c:v>472</c:v>
                </c:pt>
                <c:pt idx="982">
                  <c:v>497</c:v>
                </c:pt>
                <c:pt idx="983">
                  <c:v>507</c:v>
                </c:pt>
                <c:pt idx="984">
                  <c:v>512</c:v>
                </c:pt>
                <c:pt idx="985">
                  <c:v>531</c:v>
                </c:pt>
                <c:pt idx="986">
                  <c:v>539</c:v>
                </c:pt>
                <c:pt idx="987">
                  <c:v>547</c:v>
                </c:pt>
                <c:pt idx="988">
                  <c:v>558</c:v>
                </c:pt>
                <c:pt idx="989">
                  <c:v>572</c:v>
                </c:pt>
                <c:pt idx="990">
                  <c:v>564</c:v>
                </c:pt>
                <c:pt idx="991">
                  <c:v>571</c:v>
                </c:pt>
                <c:pt idx="992">
                  <c:v>583</c:v>
                </c:pt>
                <c:pt idx="993">
                  <c:v>611</c:v>
                </c:pt>
                <c:pt idx="994">
                  <c:v>627</c:v>
                </c:pt>
                <c:pt idx="995">
                  <c:v>647</c:v>
                </c:pt>
                <c:pt idx="996">
                  <c:v>659</c:v>
                </c:pt>
                <c:pt idx="997">
                  <c:v>663</c:v>
                </c:pt>
                <c:pt idx="998">
                  <c:v>658</c:v>
                </c:pt>
                <c:pt idx="999">
                  <c:v>679</c:v>
                </c:pt>
                <c:pt idx="1000">
                  <c:v>695</c:v>
                </c:pt>
                <c:pt idx="1001">
                  <c:v>702</c:v>
                </c:pt>
                <c:pt idx="1002">
                  <c:v>711</c:v>
                </c:pt>
                <c:pt idx="1003">
                  <c:v>725</c:v>
                </c:pt>
                <c:pt idx="1004">
                  <c:v>735</c:v>
                </c:pt>
                <c:pt idx="1005">
                  <c:v>749</c:v>
                </c:pt>
                <c:pt idx="1006">
                  <c:v>754</c:v>
                </c:pt>
                <c:pt idx="1007">
                  <c:v>753</c:v>
                </c:pt>
                <c:pt idx="1008">
                  <c:v>765</c:v>
                </c:pt>
                <c:pt idx="1009">
                  <c:v>764</c:v>
                </c:pt>
                <c:pt idx="1010">
                  <c:v>776</c:v>
                </c:pt>
                <c:pt idx="1011">
                  <c:v>782</c:v>
                </c:pt>
                <c:pt idx="1012">
                  <c:v>795</c:v>
                </c:pt>
                <c:pt idx="1013">
                  <c:v>798</c:v>
                </c:pt>
                <c:pt idx="1014">
                  <c:v>819</c:v>
                </c:pt>
                <c:pt idx="1015">
                  <c:v>827</c:v>
                </c:pt>
                <c:pt idx="1016">
                  <c:v>833</c:v>
                </c:pt>
                <c:pt idx="1017">
                  <c:v>849</c:v>
                </c:pt>
                <c:pt idx="1018">
                  <c:v>863</c:v>
                </c:pt>
                <c:pt idx="1019">
                  <c:v>859</c:v>
                </c:pt>
                <c:pt idx="1020">
                  <c:v>858</c:v>
                </c:pt>
                <c:pt idx="1021">
                  <c:v>853</c:v>
                </c:pt>
                <c:pt idx="1022">
                  <c:v>878</c:v>
                </c:pt>
                <c:pt idx="1023">
                  <c:v>885</c:v>
                </c:pt>
                <c:pt idx="1024">
                  <c:v>895</c:v>
                </c:pt>
                <c:pt idx="1025">
                  <c:v>904</c:v>
                </c:pt>
                <c:pt idx="1026">
                  <c:v>903</c:v>
                </c:pt>
                <c:pt idx="1027">
                  <c:v>911</c:v>
                </c:pt>
                <c:pt idx="1028">
                  <c:v>912</c:v>
                </c:pt>
                <c:pt idx="1029">
                  <c:v>912</c:v>
                </c:pt>
                <c:pt idx="1030">
                  <c:v>916</c:v>
                </c:pt>
                <c:pt idx="1031">
                  <c:v>929</c:v>
                </c:pt>
                <c:pt idx="1032">
                  <c:v>926</c:v>
                </c:pt>
                <c:pt idx="1033">
                  <c:v>907</c:v>
                </c:pt>
                <c:pt idx="1034">
                  <c:v>919</c:v>
                </c:pt>
                <c:pt idx="1035">
                  <c:v>943</c:v>
                </c:pt>
                <c:pt idx="1036">
                  <c:v>940</c:v>
                </c:pt>
                <c:pt idx="1037">
                  <c:v>932</c:v>
                </c:pt>
                <c:pt idx="1038">
                  <c:v>948</c:v>
                </c:pt>
                <c:pt idx="1039">
                  <c:v>966</c:v>
                </c:pt>
                <c:pt idx="1040">
                  <c:v>966</c:v>
                </c:pt>
                <c:pt idx="1041">
                  <c:v>954</c:v>
                </c:pt>
                <c:pt idx="1042">
                  <c:v>959</c:v>
                </c:pt>
                <c:pt idx="1043">
                  <c:v>947</c:v>
                </c:pt>
                <c:pt idx="1044">
                  <c:v>966</c:v>
                </c:pt>
                <c:pt idx="1045">
                  <c:v>967</c:v>
                </c:pt>
                <c:pt idx="1046">
                  <c:v>966</c:v>
                </c:pt>
                <c:pt idx="1047">
                  <c:v>973</c:v>
                </c:pt>
                <c:pt idx="1048">
                  <c:v>981</c:v>
                </c:pt>
                <c:pt idx="1049">
                  <c:v>980</c:v>
                </c:pt>
                <c:pt idx="1050">
                  <c:v>984</c:v>
                </c:pt>
                <c:pt idx="1051">
                  <c:v>981</c:v>
                </c:pt>
                <c:pt idx="1052">
                  <c:v>970</c:v>
                </c:pt>
                <c:pt idx="1053">
                  <c:v>981</c:v>
                </c:pt>
                <c:pt idx="1054">
                  <c:v>986</c:v>
                </c:pt>
                <c:pt idx="1055">
                  <c:v>995</c:v>
                </c:pt>
                <c:pt idx="1056">
                  <c:v>1017</c:v>
                </c:pt>
                <c:pt idx="1057">
                  <c:v>1009</c:v>
                </c:pt>
                <c:pt idx="1058">
                  <c:v>1003</c:v>
                </c:pt>
                <c:pt idx="1059">
                  <c:v>1020</c:v>
                </c:pt>
                <c:pt idx="1060">
                  <c:v>1023</c:v>
                </c:pt>
                <c:pt idx="1061">
                  <c:v>1038</c:v>
                </c:pt>
                <c:pt idx="1062">
                  <c:v>1041</c:v>
                </c:pt>
                <c:pt idx="1063">
                  <c:v>1038</c:v>
                </c:pt>
                <c:pt idx="1064">
                  <c:v>1054</c:v>
                </c:pt>
                <c:pt idx="1065">
                  <c:v>1051</c:v>
                </c:pt>
                <c:pt idx="1066">
                  <c:v>1065</c:v>
                </c:pt>
                <c:pt idx="1067">
                  <c:v>1061</c:v>
                </c:pt>
                <c:pt idx="1068">
                  <c:v>1081</c:v>
                </c:pt>
                <c:pt idx="1069">
                  <c:v>1073</c:v>
                </c:pt>
                <c:pt idx="1070">
                  <c:v>1073</c:v>
                </c:pt>
                <c:pt idx="1071">
                  <c:v>1086</c:v>
                </c:pt>
                <c:pt idx="1072">
                  <c:v>1102</c:v>
                </c:pt>
                <c:pt idx="1073">
                  <c:v>1080</c:v>
                </c:pt>
                <c:pt idx="1074">
                  <c:v>1099</c:v>
                </c:pt>
                <c:pt idx="1075">
                  <c:v>1123</c:v>
                </c:pt>
                <c:pt idx="1076">
                  <c:v>1138</c:v>
                </c:pt>
                <c:pt idx="1077">
                  <c:v>1140</c:v>
                </c:pt>
                <c:pt idx="1078">
                  <c:v>1136</c:v>
                </c:pt>
                <c:pt idx="1079">
                  <c:v>1134</c:v>
                </c:pt>
                <c:pt idx="1080">
                  <c:v>1137</c:v>
                </c:pt>
                <c:pt idx="1081">
                  <c:v>1140</c:v>
                </c:pt>
                <c:pt idx="1082">
                  <c:v>1135</c:v>
                </c:pt>
                <c:pt idx="1083">
                  <c:v>1148</c:v>
                </c:pt>
                <c:pt idx="1084">
                  <c:v>1153</c:v>
                </c:pt>
                <c:pt idx="1085">
                  <c:v>1142</c:v>
                </c:pt>
                <c:pt idx="1086">
                  <c:v>1155</c:v>
                </c:pt>
                <c:pt idx="1087">
                  <c:v>1157</c:v>
                </c:pt>
                <c:pt idx="1088">
                  <c:v>1152</c:v>
                </c:pt>
                <c:pt idx="1089">
                  <c:v>1147</c:v>
                </c:pt>
                <c:pt idx="1090">
                  <c:v>1155</c:v>
                </c:pt>
                <c:pt idx="1091">
                  <c:v>1156</c:v>
                </c:pt>
                <c:pt idx="1092">
                  <c:v>1151</c:v>
                </c:pt>
                <c:pt idx="1093">
                  <c:v>1184</c:v>
                </c:pt>
                <c:pt idx="1094">
                  <c:v>1172</c:v>
                </c:pt>
                <c:pt idx="1095">
                  <c:v>1167</c:v>
                </c:pt>
                <c:pt idx="1096">
                  <c:v>1160</c:v>
                </c:pt>
                <c:pt idx="1097">
                  <c:v>1161</c:v>
                </c:pt>
                <c:pt idx="1098">
                  <c:v>1183</c:v>
                </c:pt>
                <c:pt idx="1099">
                  <c:v>1185</c:v>
                </c:pt>
                <c:pt idx="1100">
                  <c:v>1174</c:v>
                </c:pt>
                <c:pt idx="1101">
                  <c:v>1171</c:v>
                </c:pt>
                <c:pt idx="1102">
                  <c:v>1163</c:v>
                </c:pt>
                <c:pt idx="1103">
                  <c:v>1165</c:v>
                </c:pt>
                <c:pt idx="1104">
                  <c:v>1170</c:v>
                </c:pt>
                <c:pt idx="1105">
                  <c:v>1164</c:v>
                </c:pt>
                <c:pt idx="1106">
                  <c:v>1180</c:v>
                </c:pt>
                <c:pt idx="1107">
                  <c:v>1174</c:v>
                </c:pt>
                <c:pt idx="1108">
                  <c:v>1180</c:v>
                </c:pt>
                <c:pt idx="1109">
                  <c:v>1165</c:v>
                </c:pt>
                <c:pt idx="1110">
                  <c:v>1145</c:v>
                </c:pt>
                <c:pt idx="1111">
                  <c:v>1155</c:v>
                </c:pt>
                <c:pt idx="1112">
                  <c:v>1139</c:v>
                </c:pt>
                <c:pt idx="1113">
                  <c:v>1158</c:v>
                </c:pt>
                <c:pt idx="1114">
                  <c:v>1187</c:v>
                </c:pt>
                <c:pt idx="1115">
                  <c:v>1193</c:v>
                </c:pt>
                <c:pt idx="1116">
                  <c:v>1191</c:v>
                </c:pt>
                <c:pt idx="1117">
                  <c:v>1183</c:v>
                </c:pt>
                <c:pt idx="1118">
                  <c:v>1177</c:v>
                </c:pt>
                <c:pt idx="1119">
                  <c:v>1162</c:v>
                </c:pt>
                <c:pt idx="1120">
                  <c:v>1165</c:v>
                </c:pt>
                <c:pt idx="1121">
                  <c:v>1171</c:v>
                </c:pt>
                <c:pt idx="1122">
                  <c:v>1174</c:v>
                </c:pt>
                <c:pt idx="1123">
                  <c:v>1166</c:v>
                </c:pt>
                <c:pt idx="1124">
                  <c:v>1164</c:v>
                </c:pt>
                <c:pt idx="1125">
                  <c:v>1151</c:v>
                </c:pt>
                <c:pt idx="1126">
                  <c:v>1155</c:v>
                </c:pt>
                <c:pt idx="1127">
                  <c:v>1161</c:v>
                </c:pt>
                <c:pt idx="1128">
                  <c:v>1153</c:v>
                </c:pt>
                <c:pt idx="1129">
                  <c:v>1159</c:v>
                </c:pt>
                <c:pt idx="1130">
                  <c:v>1149</c:v>
                </c:pt>
                <c:pt idx="1131">
                  <c:v>1135</c:v>
                </c:pt>
                <c:pt idx="1132">
                  <c:v>1133</c:v>
                </c:pt>
                <c:pt idx="1133">
                  <c:v>1149</c:v>
                </c:pt>
                <c:pt idx="1134">
                  <c:v>1142</c:v>
                </c:pt>
                <c:pt idx="1135">
                  <c:v>1132</c:v>
                </c:pt>
                <c:pt idx="1136">
                  <c:v>1112</c:v>
                </c:pt>
                <c:pt idx="1137">
                  <c:v>1114</c:v>
                </c:pt>
                <c:pt idx="1138">
                  <c:v>1105</c:v>
                </c:pt>
                <c:pt idx="1139">
                  <c:v>1105</c:v>
                </c:pt>
                <c:pt idx="1140">
                  <c:v>1104</c:v>
                </c:pt>
                <c:pt idx="1141">
                  <c:v>1105</c:v>
                </c:pt>
                <c:pt idx="1142">
                  <c:v>1114</c:v>
                </c:pt>
                <c:pt idx="1143">
                  <c:v>1110</c:v>
                </c:pt>
                <c:pt idx="1144">
                  <c:v>1103</c:v>
                </c:pt>
                <c:pt idx="1145">
                  <c:v>1105</c:v>
                </c:pt>
                <c:pt idx="1146">
                  <c:v>1105</c:v>
                </c:pt>
                <c:pt idx="1147">
                  <c:v>1111</c:v>
                </c:pt>
                <c:pt idx="1148">
                  <c:v>1112</c:v>
                </c:pt>
                <c:pt idx="1149">
                  <c:v>1119</c:v>
                </c:pt>
                <c:pt idx="1150">
                  <c:v>1127</c:v>
                </c:pt>
                <c:pt idx="1151">
                  <c:v>1127</c:v>
                </c:pt>
                <c:pt idx="1152">
                  <c:v>1136</c:v>
                </c:pt>
                <c:pt idx="1153">
                  <c:v>1143</c:v>
                </c:pt>
                <c:pt idx="1154">
                  <c:v>1139</c:v>
                </c:pt>
                <c:pt idx="1155">
                  <c:v>1140</c:v>
                </c:pt>
                <c:pt idx="1156">
                  <c:v>1141</c:v>
                </c:pt>
                <c:pt idx="1157">
                  <c:v>1130</c:v>
                </c:pt>
                <c:pt idx="1158">
                  <c:v>1131</c:v>
                </c:pt>
                <c:pt idx="1159">
                  <c:v>1100</c:v>
                </c:pt>
                <c:pt idx="1160">
                  <c:v>1099</c:v>
                </c:pt>
                <c:pt idx="1161">
                  <c:v>1084</c:v>
                </c:pt>
                <c:pt idx="1162">
                  <c:v>1102</c:v>
                </c:pt>
                <c:pt idx="1163">
                  <c:v>1097</c:v>
                </c:pt>
                <c:pt idx="1164">
                  <c:v>1084</c:v>
                </c:pt>
                <c:pt idx="1165">
                  <c:v>1092</c:v>
                </c:pt>
                <c:pt idx="1166">
                  <c:v>1099</c:v>
                </c:pt>
                <c:pt idx="1167">
                  <c:v>1096</c:v>
                </c:pt>
                <c:pt idx="1168">
                  <c:v>1087</c:v>
                </c:pt>
                <c:pt idx="1169">
                  <c:v>1089</c:v>
                </c:pt>
                <c:pt idx="1170">
                  <c:v>1088</c:v>
                </c:pt>
                <c:pt idx="1171">
                  <c:v>1086</c:v>
                </c:pt>
                <c:pt idx="1172">
                  <c:v>1079</c:v>
                </c:pt>
                <c:pt idx="1173">
                  <c:v>1067</c:v>
                </c:pt>
                <c:pt idx="1174">
                  <c:v>1068</c:v>
                </c:pt>
                <c:pt idx="1175">
                  <c:v>1058</c:v>
                </c:pt>
                <c:pt idx="1176">
                  <c:v>1058</c:v>
                </c:pt>
                <c:pt idx="1177">
                  <c:v>1067</c:v>
                </c:pt>
                <c:pt idx="1178">
                  <c:v>1073</c:v>
                </c:pt>
                <c:pt idx="1179">
                  <c:v>1065</c:v>
                </c:pt>
                <c:pt idx="1180">
                  <c:v>1077</c:v>
                </c:pt>
                <c:pt idx="1181">
                  <c:v>1075</c:v>
                </c:pt>
                <c:pt idx="1182">
                  <c:v>1078</c:v>
                </c:pt>
                <c:pt idx="1183">
                  <c:v>1075</c:v>
                </c:pt>
                <c:pt idx="1184">
                  <c:v>1076</c:v>
                </c:pt>
                <c:pt idx="1185">
                  <c:v>1091</c:v>
                </c:pt>
                <c:pt idx="1186">
                  <c:v>1085</c:v>
                </c:pt>
                <c:pt idx="1187">
                  <c:v>1099</c:v>
                </c:pt>
                <c:pt idx="1188">
                  <c:v>1106</c:v>
                </c:pt>
                <c:pt idx="1189">
                  <c:v>1099</c:v>
                </c:pt>
                <c:pt idx="1190">
                  <c:v>1098</c:v>
                </c:pt>
                <c:pt idx="1191">
                  <c:v>1104</c:v>
                </c:pt>
                <c:pt idx="1192">
                  <c:v>1114</c:v>
                </c:pt>
                <c:pt idx="1193">
                  <c:v>1114</c:v>
                </c:pt>
                <c:pt idx="1194">
                  <c:v>1127</c:v>
                </c:pt>
                <c:pt idx="1195">
                  <c:v>1127</c:v>
                </c:pt>
                <c:pt idx="1196">
                  <c:v>1137</c:v>
                </c:pt>
                <c:pt idx="1197">
                  <c:v>1145</c:v>
                </c:pt>
                <c:pt idx="1198">
                  <c:v>1140</c:v>
                </c:pt>
                <c:pt idx="1199">
                  <c:v>1146</c:v>
                </c:pt>
                <c:pt idx="1200">
                  <c:v>1148</c:v>
                </c:pt>
                <c:pt idx="1201">
                  <c:v>1158</c:v>
                </c:pt>
                <c:pt idx="1202">
                  <c:v>1173</c:v>
                </c:pt>
                <c:pt idx="1203">
                  <c:v>1170</c:v>
                </c:pt>
                <c:pt idx="1204">
                  <c:v>1173</c:v>
                </c:pt>
                <c:pt idx="1205">
                  <c:v>1176</c:v>
                </c:pt>
                <c:pt idx="1206">
                  <c:v>1183</c:v>
                </c:pt>
                <c:pt idx="1207">
                  <c:v>1182</c:v>
                </c:pt>
                <c:pt idx="1208">
                  <c:v>1181</c:v>
                </c:pt>
                <c:pt idx="1209">
                  <c:v>1202</c:v>
                </c:pt>
                <c:pt idx="1210">
                  <c:v>1212</c:v>
                </c:pt>
                <c:pt idx="1211">
                  <c:v>1206</c:v>
                </c:pt>
                <c:pt idx="1212">
                  <c:v>1211</c:v>
                </c:pt>
                <c:pt idx="1213">
                  <c:v>1224</c:v>
                </c:pt>
                <c:pt idx="1214">
                  <c:v>1224</c:v>
                </c:pt>
                <c:pt idx="1215">
                  <c:v>1224</c:v>
                </c:pt>
                <c:pt idx="1216">
                  <c:v>1245</c:v>
                </c:pt>
                <c:pt idx="1217">
                  <c:v>1247</c:v>
                </c:pt>
                <c:pt idx="1218">
                  <c:v>1243</c:v>
                </c:pt>
                <c:pt idx="1219">
                  <c:v>1248</c:v>
                </c:pt>
                <c:pt idx="1220">
                  <c:v>1243</c:v>
                </c:pt>
                <c:pt idx="1221">
                  <c:v>1251</c:v>
                </c:pt>
                <c:pt idx="1222">
                  <c:v>1250</c:v>
                </c:pt>
                <c:pt idx="1223">
                  <c:v>1248</c:v>
                </c:pt>
                <c:pt idx="1224">
                  <c:v>1250</c:v>
                </c:pt>
                <c:pt idx="1225">
                  <c:v>1263</c:v>
                </c:pt>
                <c:pt idx="1226">
                  <c:v>1268</c:v>
                </c:pt>
                <c:pt idx="1227">
                  <c:v>1276</c:v>
                </c:pt>
                <c:pt idx="1228">
                  <c:v>1288</c:v>
                </c:pt>
                <c:pt idx="1229">
                  <c:v>1293</c:v>
                </c:pt>
                <c:pt idx="1230">
                  <c:v>1298</c:v>
                </c:pt>
                <c:pt idx="1231">
                  <c:v>1317</c:v>
                </c:pt>
                <c:pt idx="1232">
                  <c:v>1329</c:v>
                </c:pt>
                <c:pt idx="1233">
                  <c:v>1321</c:v>
                </c:pt>
                <c:pt idx="1234">
                  <c:v>1330</c:v>
                </c:pt>
                <c:pt idx="1235">
                  <c:v>1333</c:v>
                </c:pt>
                <c:pt idx="1236">
                  <c:v>1342</c:v>
                </c:pt>
                <c:pt idx="1237">
                  <c:v>1341</c:v>
                </c:pt>
                <c:pt idx="1238">
                  <c:v>1347</c:v>
                </c:pt>
                <c:pt idx="1239">
                  <c:v>1341</c:v>
                </c:pt>
                <c:pt idx="1240">
                  <c:v>1353</c:v>
                </c:pt>
                <c:pt idx="1241">
                  <c:v>1353</c:v>
                </c:pt>
                <c:pt idx="1242">
                  <c:v>1355</c:v>
                </c:pt>
                <c:pt idx="1243">
                  <c:v>1353</c:v>
                </c:pt>
                <c:pt idx="1244">
                  <c:v>1362</c:v>
                </c:pt>
                <c:pt idx="1245">
                  <c:v>1369</c:v>
                </c:pt>
                <c:pt idx="1246">
                  <c:v>1372</c:v>
                </c:pt>
                <c:pt idx="1247">
                  <c:v>1371</c:v>
                </c:pt>
                <c:pt idx="1248">
                  <c:v>1368</c:v>
                </c:pt>
                <c:pt idx="1249">
                  <c:v>1367</c:v>
                </c:pt>
                <c:pt idx="1250">
                  <c:v>1356</c:v>
                </c:pt>
                <c:pt idx="1251">
                  <c:v>1350</c:v>
                </c:pt>
                <c:pt idx="1252">
                  <c:v>1336</c:v>
                </c:pt>
                <c:pt idx="1253">
                  <c:v>1301</c:v>
                </c:pt>
                <c:pt idx="1254">
                  <c:v>1253</c:v>
                </c:pt>
                <c:pt idx="1255">
                  <c:v>1229</c:v>
                </c:pt>
                <c:pt idx="1256">
                  <c:v>1168</c:v>
                </c:pt>
                <c:pt idx="1257">
                  <c:v>1088</c:v>
                </c:pt>
                <c:pt idx="1258">
                  <c:v>1025</c:v>
                </c:pt>
                <c:pt idx="1259">
                  <c:v>979</c:v>
                </c:pt>
                <c:pt idx="1260">
                  <c:v>946</c:v>
                </c:pt>
                <c:pt idx="1261">
                  <c:v>895</c:v>
                </c:pt>
                <c:pt idx="1262">
                  <c:v>849</c:v>
                </c:pt>
                <c:pt idx="1263">
                  <c:v>829</c:v>
                </c:pt>
                <c:pt idx="1264">
                  <c:v>812</c:v>
                </c:pt>
                <c:pt idx="1265">
                  <c:v>799</c:v>
                </c:pt>
                <c:pt idx="1266">
                  <c:v>770</c:v>
                </c:pt>
                <c:pt idx="1267">
                  <c:v>741</c:v>
                </c:pt>
                <c:pt idx="1268">
                  <c:v>720</c:v>
                </c:pt>
                <c:pt idx="1269">
                  <c:v>699</c:v>
                </c:pt>
                <c:pt idx="1270">
                  <c:v>692</c:v>
                </c:pt>
                <c:pt idx="1271">
                  <c:v>685</c:v>
                </c:pt>
                <c:pt idx="1272">
                  <c:v>683</c:v>
                </c:pt>
                <c:pt idx="1273">
                  <c:v>674</c:v>
                </c:pt>
                <c:pt idx="1274">
                  <c:v>673</c:v>
                </c:pt>
                <c:pt idx="1275">
                  <c:v>663</c:v>
                </c:pt>
                <c:pt idx="1276">
                  <c:v>662</c:v>
                </c:pt>
                <c:pt idx="1277">
                  <c:v>654</c:v>
                </c:pt>
                <c:pt idx="1278">
                  <c:v>657</c:v>
                </c:pt>
                <c:pt idx="1279">
                  <c:v>654</c:v>
                </c:pt>
                <c:pt idx="1280">
                  <c:v>650</c:v>
                </c:pt>
                <c:pt idx="1281">
                  <c:v>662</c:v>
                </c:pt>
                <c:pt idx="1282">
                  <c:v>664</c:v>
                </c:pt>
                <c:pt idx="1283">
                  <c:v>672</c:v>
                </c:pt>
                <c:pt idx="1284">
                  <c:v>676</c:v>
                </c:pt>
                <c:pt idx="1285">
                  <c:v>677</c:v>
                </c:pt>
                <c:pt idx="1286">
                  <c:v>672</c:v>
                </c:pt>
                <c:pt idx="1287">
                  <c:v>659</c:v>
                </c:pt>
                <c:pt idx="1288">
                  <c:v>648</c:v>
                </c:pt>
                <c:pt idx="1289">
                  <c:v>640</c:v>
                </c:pt>
                <c:pt idx="1290">
                  <c:v>629</c:v>
                </c:pt>
                <c:pt idx="1291">
                  <c:v>609</c:v>
                </c:pt>
                <c:pt idx="1292">
                  <c:v>598</c:v>
                </c:pt>
                <c:pt idx="1293">
                  <c:v>591</c:v>
                </c:pt>
                <c:pt idx="1294">
                  <c:v>591</c:v>
                </c:pt>
                <c:pt idx="1295">
                  <c:v>577</c:v>
                </c:pt>
                <c:pt idx="1296">
                  <c:v>585</c:v>
                </c:pt>
                <c:pt idx="1297">
                  <c:v>587</c:v>
                </c:pt>
                <c:pt idx="1298">
                  <c:v>581</c:v>
                </c:pt>
                <c:pt idx="1299">
                  <c:v>569</c:v>
                </c:pt>
                <c:pt idx="1300">
                  <c:v>569</c:v>
                </c:pt>
                <c:pt idx="1301">
                  <c:v>554</c:v>
                </c:pt>
                <c:pt idx="1302">
                  <c:v>559</c:v>
                </c:pt>
                <c:pt idx="1303">
                  <c:v>554</c:v>
                </c:pt>
                <c:pt idx="1304">
                  <c:v>549</c:v>
                </c:pt>
                <c:pt idx="1305">
                  <c:v>519</c:v>
                </c:pt>
                <c:pt idx="1306">
                  <c:v>511</c:v>
                </c:pt>
                <c:pt idx="1307">
                  <c:v>500</c:v>
                </c:pt>
                <c:pt idx="1308">
                  <c:v>487</c:v>
                </c:pt>
                <c:pt idx="1309">
                  <c:v>458</c:v>
                </c:pt>
                <c:pt idx="1310">
                  <c:v>433</c:v>
                </c:pt>
                <c:pt idx="1311">
                  <c:v>416</c:v>
                </c:pt>
                <c:pt idx="1312">
                  <c:v>397</c:v>
                </c:pt>
                <c:pt idx="1313">
                  <c:v>389</c:v>
                </c:pt>
                <c:pt idx="1314">
                  <c:v>375</c:v>
                </c:pt>
                <c:pt idx="1315">
                  <c:v>369</c:v>
                </c:pt>
                <c:pt idx="1316">
                  <c:v>359</c:v>
                </c:pt>
                <c:pt idx="1317">
                  <c:v>346</c:v>
                </c:pt>
                <c:pt idx="1318">
                  <c:v>341</c:v>
                </c:pt>
                <c:pt idx="1319">
                  <c:v>335</c:v>
                </c:pt>
                <c:pt idx="1320">
                  <c:v>332</c:v>
                </c:pt>
                <c:pt idx="1321">
                  <c:v>324</c:v>
                </c:pt>
                <c:pt idx="1322">
                  <c:v>318</c:v>
                </c:pt>
                <c:pt idx="1323">
                  <c:v>315</c:v>
                </c:pt>
                <c:pt idx="1324">
                  <c:v>314</c:v>
                </c:pt>
                <c:pt idx="1325">
                  <c:v>314</c:v>
                </c:pt>
                <c:pt idx="1326">
                  <c:v>319</c:v>
                </c:pt>
                <c:pt idx="1327">
                  <c:v>323</c:v>
                </c:pt>
                <c:pt idx="1328">
                  <c:v>326</c:v>
                </c:pt>
                <c:pt idx="1329">
                  <c:v>325</c:v>
                </c:pt>
                <c:pt idx="1330">
                  <c:v>332</c:v>
                </c:pt>
                <c:pt idx="1331">
                  <c:v>343</c:v>
                </c:pt>
                <c:pt idx="1332">
                  <c:v>344</c:v>
                </c:pt>
                <c:pt idx="1333">
                  <c:v>357</c:v>
                </c:pt>
                <c:pt idx="1334">
                  <c:v>354</c:v>
                </c:pt>
                <c:pt idx="1335">
                  <c:v>362</c:v>
                </c:pt>
                <c:pt idx="1336">
                  <c:v>375</c:v>
                </c:pt>
                <c:pt idx="1337">
                  <c:v>382</c:v>
                </c:pt>
                <c:pt idx="1338">
                  <c:v>379</c:v>
                </c:pt>
                <c:pt idx="1339">
                  <c:v>395</c:v>
                </c:pt>
                <c:pt idx="1340">
                  <c:v>396</c:v>
                </c:pt>
                <c:pt idx="1341">
                  <c:v>394</c:v>
                </c:pt>
                <c:pt idx="1342">
                  <c:v>402</c:v>
                </c:pt>
                <c:pt idx="1343">
                  <c:v>407</c:v>
                </c:pt>
                <c:pt idx="1344">
                  <c:v>413</c:v>
                </c:pt>
                <c:pt idx="1345">
                  <c:v>431</c:v>
                </c:pt>
                <c:pt idx="1346">
                  <c:v>445</c:v>
                </c:pt>
                <c:pt idx="1347">
                  <c:v>450</c:v>
                </c:pt>
                <c:pt idx="1348">
                  <c:v>459</c:v>
                </c:pt>
                <c:pt idx="1349">
                  <c:v>457</c:v>
                </c:pt>
                <c:pt idx="1350">
                  <c:v>470</c:v>
                </c:pt>
                <c:pt idx="1351">
                  <c:v>475</c:v>
                </c:pt>
                <c:pt idx="1352">
                  <c:v>485</c:v>
                </c:pt>
                <c:pt idx="1353">
                  <c:v>503</c:v>
                </c:pt>
                <c:pt idx="1354">
                  <c:v>512</c:v>
                </c:pt>
                <c:pt idx="1355">
                  <c:v>526</c:v>
                </c:pt>
                <c:pt idx="1356">
                  <c:v>532</c:v>
                </c:pt>
                <c:pt idx="1357">
                  <c:v>534</c:v>
                </c:pt>
                <c:pt idx="1358">
                  <c:v>537</c:v>
                </c:pt>
                <c:pt idx="1359">
                  <c:v>559</c:v>
                </c:pt>
                <c:pt idx="1360">
                  <c:v>579</c:v>
                </c:pt>
                <c:pt idx="1361">
                  <c:v>596</c:v>
                </c:pt>
                <c:pt idx="1362">
                  <c:v>607</c:v>
                </c:pt>
                <c:pt idx="1363">
                  <c:v>614</c:v>
                </c:pt>
                <c:pt idx="1364">
                  <c:v>624</c:v>
                </c:pt>
                <c:pt idx="1365">
                  <c:v>633</c:v>
                </c:pt>
                <c:pt idx="1366">
                  <c:v>639</c:v>
                </c:pt>
                <c:pt idx="1367">
                  <c:v>658</c:v>
                </c:pt>
                <c:pt idx="1368">
                  <c:v>673</c:v>
                </c:pt>
                <c:pt idx="1369">
                  <c:v>685</c:v>
                </c:pt>
                <c:pt idx="1370">
                  <c:v>695</c:v>
                </c:pt>
                <c:pt idx="1371">
                  <c:v>706</c:v>
                </c:pt>
                <c:pt idx="1372">
                  <c:v>718</c:v>
                </c:pt>
                <c:pt idx="1373">
                  <c:v>730</c:v>
                </c:pt>
                <c:pt idx="1374">
                  <c:v>734</c:v>
                </c:pt>
                <c:pt idx="1375">
                  <c:v>742</c:v>
                </c:pt>
                <c:pt idx="1376">
                  <c:v>759</c:v>
                </c:pt>
                <c:pt idx="1377">
                  <c:v>766</c:v>
                </c:pt>
                <c:pt idx="1378">
                  <c:v>771</c:v>
                </c:pt>
                <c:pt idx="1379">
                  <c:v>780</c:v>
                </c:pt>
                <c:pt idx="1380">
                  <c:v>782</c:v>
                </c:pt>
                <c:pt idx="1381">
                  <c:v>792</c:v>
                </c:pt>
                <c:pt idx="1382">
                  <c:v>792</c:v>
                </c:pt>
                <c:pt idx="1383">
                  <c:v>804</c:v>
                </c:pt>
                <c:pt idx="1384">
                  <c:v>804</c:v>
                </c:pt>
                <c:pt idx="1385">
                  <c:v>803</c:v>
                </c:pt>
                <c:pt idx="1386">
                  <c:v>810</c:v>
                </c:pt>
                <c:pt idx="1387">
                  <c:v>807</c:v>
                </c:pt>
                <c:pt idx="1388">
                  <c:v>801</c:v>
                </c:pt>
                <c:pt idx="1389">
                  <c:v>799</c:v>
                </c:pt>
                <c:pt idx="1390">
                  <c:v>796</c:v>
                </c:pt>
                <c:pt idx="1391">
                  <c:v>794</c:v>
                </c:pt>
                <c:pt idx="1392">
                  <c:v>793</c:v>
                </c:pt>
                <c:pt idx="1393">
                  <c:v>795</c:v>
                </c:pt>
                <c:pt idx="1394">
                  <c:v>790</c:v>
                </c:pt>
                <c:pt idx="1395">
                  <c:v>794</c:v>
                </c:pt>
                <c:pt idx="1396">
                  <c:v>792</c:v>
                </c:pt>
                <c:pt idx="1397">
                  <c:v>786</c:v>
                </c:pt>
                <c:pt idx="1398">
                  <c:v>771</c:v>
                </c:pt>
                <c:pt idx="1399">
                  <c:v>769</c:v>
                </c:pt>
                <c:pt idx="1400">
                  <c:v>764</c:v>
                </c:pt>
                <c:pt idx="1401">
                  <c:v>776</c:v>
                </c:pt>
                <c:pt idx="1402">
                  <c:v>776</c:v>
                </c:pt>
                <c:pt idx="1403">
                  <c:v>786</c:v>
                </c:pt>
                <c:pt idx="1404">
                  <c:v>792</c:v>
                </c:pt>
                <c:pt idx="1405">
                  <c:v>796</c:v>
                </c:pt>
                <c:pt idx="1406">
                  <c:v>801</c:v>
                </c:pt>
                <c:pt idx="1407">
                  <c:v>801</c:v>
                </c:pt>
                <c:pt idx="1408">
                  <c:v>796</c:v>
                </c:pt>
                <c:pt idx="1409">
                  <c:v>798</c:v>
                </c:pt>
                <c:pt idx="1410">
                  <c:v>805</c:v>
                </c:pt>
                <c:pt idx="1411">
                  <c:v>802</c:v>
                </c:pt>
                <c:pt idx="1412">
                  <c:v>808</c:v>
                </c:pt>
                <c:pt idx="1413">
                  <c:v>808</c:v>
                </c:pt>
                <c:pt idx="1414">
                  <c:v>832</c:v>
                </c:pt>
                <c:pt idx="1415">
                  <c:v>839</c:v>
                </c:pt>
                <c:pt idx="1416">
                  <c:v>842</c:v>
                </c:pt>
                <c:pt idx="1417">
                  <c:v>847</c:v>
                </c:pt>
                <c:pt idx="1418">
                  <c:v>848</c:v>
                </c:pt>
                <c:pt idx="1419">
                  <c:v>865</c:v>
                </c:pt>
                <c:pt idx="1420">
                  <c:v>870</c:v>
                </c:pt>
                <c:pt idx="1421">
                  <c:v>870</c:v>
                </c:pt>
                <c:pt idx="1422">
                  <c:v>884</c:v>
                </c:pt>
                <c:pt idx="1423">
                  <c:v>883</c:v>
                </c:pt>
                <c:pt idx="1424">
                  <c:v>889</c:v>
                </c:pt>
                <c:pt idx="1425">
                  <c:v>901</c:v>
                </c:pt>
                <c:pt idx="1426">
                  <c:v>913</c:v>
                </c:pt>
                <c:pt idx="1427">
                  <c:v>918</c:v>
                </c:pt>
                <c:pt idx="1428">
                  <c:v>919</c:v>
                </c:pt>
                <c:pt idx="1429">
                  <c:v>926</c:v>
                </c:pt>
                <c:pt idx="1430">
                  <c:v>929</c:v>
                </c:pt>
                <c:pt idx="1431">
                  <c:v>934</c:v>
                </c:pt>
                <c:pt idx="1432">
                  <c:v>932</c:v>
                </c:pt>
                <c:pt idx="1433">
                  <c:v>930</c:v>
                </c:pt>
                <c:pt idx="1434">
                  <c:v>926</c:v>
                </c:pt>
                <c:pt idx="1435">
                  <c:v>930</c:v>
                </c:pt>
                <c:pt idx="1436">
                  <c:v>930</c:v>
                </c:pt>
                <c:pt idx="1437">
                  <c:v>922</c:v>
                </c:pt>
                <c:pt idx="1438">
                  <c:v>922</c:v>
                </c:pt>
                <c:pt idx="1439">
                  <c:v>912</c:v>
                </c:pt>
                <c:pt idx="1440">
                  <c:v>924</c:v>
                </c:pt>
                <c:pt idx="1441">
                  <c:v>922</c:v>
                </c:pt>
                <c:pt idx="1442">
                  <c:v>919</c:v>
                </c:pt>
                <c:pt idx="1443">
                  <c:v>917</c:v>
                </c:pt>
                <c:pt idx="1444">
                  <c:v>918</c:v>
                </c:pt>
                <c:pt idx="1445">
                  <c:v>921</c:v>
                </c:pt>
                <c:pt idx="1446">
                  <c:v>919</c:v>
                </c:pt>
                <c:pt idx="1447">
                  <c:v>922</c:v>
                </c:pt>
                <c:pt idx="1448">
                  <c:v>919</c:v>
                </c:pt>
                <c:pt idx="1449">
                  <c:v>927</c:v>
                </c:pt>
                <c:pt idx="1450">
                  <c:v>926</c:v>
                </c:pt>
                <c:pt idx="1451">
                  <c:v>927</c:v>
                </c:pt>
                <c:pt idx="1452">
                  <c:v>929</c:v>
                </c:pt>
                <c:pt idx="1453">
                  <c:v>935</c:v>
                </c:pt>
                <c:pt idx="1454">
                  <c:v>939</c:v>
                </c:pt>
                <c:pt idx="1455">
                  <c:v>929</c:v>
                </c:pt>
                <c:pt idx="1456">
                  <c:v>934</c:v>
                </c:pt>
                <c:pt idx="1457">
                  <c:v>933</c:v>
                </c:pt>
                <c:pt idx="1458">
                  <c:v>927</c:v>
                </c:pt>
                <c:pt idx="1459">
                  <c:v>940</c:v>
                </c:pt>
                <c:pt idx="1460">
                  <c:v>945</c:v>
                </c:pt>
                <c:pt idx="1461">
                  <c:v>945</c:v>
                </c:pt>
                <c:pt idx="1462">
                  <c:v>948</c:v>
                </c:pt>
                <c:pt idx="1463">
                  <c:v>929</c:v>
                </c:pt>
                <c:pt idx="1464">
                  <c:v>932</c:v>
                </c:pt>
                <c:pt idx="1465">
                  <c:v>925</c:v>
                </c:pt>
                <c:pt idx="1466">
                  <c:v>923</c:v>
                </c:pt>
                <c:pt idx="1467">
                  <c:v>915</c:v>
                </c:pt>
                <c:pt idx="1468">
                  <c:v>916</c:v>
                </c:pt>
                <c:pt idx="1469">
                  <c:v>911</c:v>
                </c:pt>
                <c:pt idx="1470">
                  <c:v>904</c:v>
                </c:pt>
                <c:pt idx="1471">
                  <c:v>907</c:v>
                </c:pt>
                <c:pt idx="1472">
                  <c:v>900</c:v>
                </c:pt>
                <c:pt idx="1473">
                  <c:v>891</c:v>
                </c:pt>
                <c:pt idx="1474">
                  <c:v>901</c:v>
                </c:pt>
                <c:pt idx="1475">
                  <c:v>889</c:v>
                </c:pt>
                <c:pt idx="1476">
                  <c:v>886</c:v>
                </c:pt>
                <c:pt idx="1477">
                  <c:v>873</c:v>
                </c:pt>
                <c:pt idx="1478">
                  <c:v>873</c:v>
                </c:pt>
                <c:pt idx="1479">
                  <c:v>872</c:v>
                </c:pt>
                <c:pt idx="1480">
                  <c:v>866</c:v>
                </c:pt>
                <c:pt idx="1481">
                  <c:v>863</c:v>
                </c:pt>
                <c:pt idx="1482">
                  <c:v>862</c:v>
                </c:pt>
                <c:pt idx="1483">
                  <c:v>855</c:v>
                </c:pt>
                <c:pt idx="1484">
                  <c:v>852</c:v>
                </c:pt>
                <c:pt idx="1485">
                  <c:v>846</c:v>
                </c:pt>
                <c:pt idx="1486">
                  <c:v>840</c:v>
                </c:pt>
                <c:pt idx="1487">
                  <c:v>839</c:v>
                </c:pt>
                <c:pt idx="1488">
                  <c:v>831</c:v>
                </c:pt>
                <c:pt idx="1489">
                  <c:v>829</c:v>
                </c:pt>
                <c:pt idx="1490">
                  <c:v>823</c:v>
                </c:pt>
                <c:pt idx="1491">
                  <c:v>819</c:v>
                </c:pt>
                <c:pt idx="1492">
                  <c:v>817</c:v>
                </c:pt>
                <c:pt idx="1493">
                  <c:v>815</c:v>
                </c:pt>
                <c:pt idx="1494">
                  <c:v>797</c:v>
                </c:pt>
                <c:pt idx="1495">
                  <c:v>784</c:v>
                </c:pt>
                <c:pt idx="1496">
                  <c:v>783</c:v>
                </c:pt>
                <c:pt idx="1497">
                  <c:v>776</c:v>
                </c:pt>
                <c:pt idx="1498">
                  <c:v>756</c:v>
                </c:pt>
                <c:pt idx="1499">
                  <c:v>752</c:v>
                </c:pt>
                <c:pt idx="1500">
                  <c:v>749</c:v>
                </c:pt>
                <c:pt idx="1501">
                  <c:v>750</c:v>
                </c:pt>
                <c:pt idx="1502">
                  <c:v>745</c:v>
                </c:pt>
                <c:pt idx="1503">
                  <c:v>728</c:v>
                </c:pt>
                <c:pt idx="1504">
                  <c:v>717</c:v>
                </c:pt>
                <c:pt idx="1505">
                  <c:v>710</c:v>
                </c:pt>
                <c:pt idx="1506">
                  <c:v>702</c:v>
                </c:pt>
                <c:pt idx="1507">
                  <c:v>699</c:v>
                </c:pt>
                <c:pt idx="1508">
                  <c:v>701</c:v>
                </c:pt>
                <c:pt idx="1509">
                  <c:v>695</c:v>
                </c:pt>
                <c:pt idx="1510">
                  <c:v>693</c:v>
                </c:pt>
                <c:pt idx="1511">
                  <c:v>706</c:v>
                </c:pt>
                <c:pt idx="1512">
                  <c:v>703</c:v>
                </c:pt>
                <c:pt idx="1513">
                  <c:v>701</c:v>
                </c:pt>
                <c:pt idx="1514">
                  <c:v>698</c:v>
                </c:pt>
                <c:pt idx="1515">
                  <c:v>709</c:v>
                </c:pt>
                <c:pt idx="1516">
                  <c:v>710</c:v>
                </c:pt>
                <c:pt idx="1517">
                  <c:v>711</c:v>
                </c:pt>
                <c:pt idx="1518">
                  <c:v>711</c:v>
                </c:pt>
                <c:pt idx="1519">
                  <c:v>713</c:v>
                </c:pt>
                <c:pt idx="1520">
                  <c:v>714</c:v>
                </c:pt>
                <c:pt idx="1521">
                  <c:v>708</c:v>
                </c:pt>
                <c:pt idx="1522">
                  <c:v>708</c:v>
                </c:pt>
                <c:pt idx="1523">
                  <c:v>713</c:v>
                </c:pt>
                <c:pt idx="1524">
                  <c:v>696</c:v>
                </c:pt>
                <c:pt idx="1525">
                  <c:v>653</c:v>
                </c:pt>
                <c:pt idx="1526">
                  <c:v>593</c:v>
                </c:pt>
                <c:pt idx="1527">
                  <c:v>545</c:v>
                </c:pt>
                <c:pt idx="1528">
                  <c:v>483</c:v>
                </c:pt>
                <c:pt idx="1529">
                  <c:v>426</c:v>
                </c:pt>
                <c:pt idx="1530">
                  <c:v>374</c:v>
                </c:pt>
                <c:pt idx="1531">
                  <c:v>338</c:v>
                </c:pt>
                <c:pt idx="1532">
                  <c:v>307</c:v>
                </c:pt>
                <c:pt idx="1533">
                  <c:v>285</c:v>
                </c:pt>
                <c:pt idx="1534">
                  <c:v>271</c:v>
                </c:pt>
                <c:pt idx="1535">
                  <c:v>253</c:v>
                </c:pt>
                <c:pt idx="1536">
                  <c:v>246</c:v>
                </c:pt>
                <c:pt idx="1537">
                  <c:v>234</c:v>
                </c:pt>
                <c:pt idx="1538">
                  <c:v>230</c:v>
                </c:pt>
                <c:pt idx="1539">
                  <c:v>226</c:v>
                </c:pt>
                <c:pt idx="1540">
                  <c:v>220</c:v>
                </c:pt>
                <c:pt idx="1541">
                  <c:v>215</c:v>
                </c:pt>
                <c:pt idx="1542">
                  <c:v>215</c:v>
                </c:pt>
                <c:pt idx="1543">
                  <c:v>216</c:v>
                </c:pt>
                <c:pt idx="1544">
                  <c:v>211</c:v>
                </c:pt>
                <c:pt idx="1545">
                  <c:v>207</c:v>
                </c:pt>
                <c:pt idx="1546">
                  <c:v>221</c:v>
                </c:pt>
                <c:pt idx="1547">
                  <c:v>221</c:v>
                </c:pt>
                <c:pt idx="1548">
                  <c:v>220</c:v>
                </c:pt>
                <c:pt idx="1549">
                  <c:v>214</c:v>
                </c:pt>
                <c:pt idx="1550">
                  <c:v>215</c:v>
                </c:pt>
                <c:pt idx="1551">
                  <c:v>224</c:v>
                </c:pt>
                <c:pt idx="1552">
                  <c:v>229</c:v>
                </c:pt>
                <c:pt idx="1553">
                  <c:v>233</c:v>
                </c:pt>
                <c:pt idx="1554">
                  <c:v>240</c:v>
                </c:pt>
                <c:pt idx="1555">
                  <c:v>245</c:v>
                </c:pt>
                <c:pt idx="1556">
                  <c:v>254</c:v>
                </c:pt>
                <c:pt idx="1557">
                  <c:v>259</c:v>
                </c:pt>
                <c:pt idx="1558">
                  <c:v>267</c:v>
                </c:pt>
                <c:pt idx="1559">
                  <c:v>272</c:v>
                </c:pt>
                <c:pt idx="1560">
                  <c:v>283</c:v>
                </c:pt>
                <c:pt idx="1561">
                  <c:v>289</c:v>
                </c:pt>
                <c:pt idx="1562">
                  <c:v>306</c:v>
                </c:pt>
                <c:pt idx="1563">
                  <c:v>308</c:v>
                </c:pt>
                <c:pt idx="1564">
                  <c:v>309</c:v>
                </c:pt>
                <c:pt idx="1565">
                  <c:v>313</c:v>
                </c:pt>
                <c:pt idx="1566">
                  <c:v>320</c:v>
                </c:pt>
                <c:pt idx="1567">
                  <c:v>332</c:v>
                </c:pt>
                <c:pt idx="1568">
                  <c:v>338</c:v>
                </c:pt>
                <c:pt idx="1569">
                  <c:v>344</c:v>
                </c:pt>
                <c:pt idx="1570">
                  <c:v>354</c:v>
                </c:pt>
                <c:pt idx="1571">
                  <c:v>356</c:v>
                </c:pt>
                <c:pt idx="1572">
                  <c:v>357</c:v>
                </c:pt>
                <c:pt idx="1573">
                  <c:v>359</c:v>
                </c:pt>
                <c:pt idx="1574">
                  <c:v>362</c:v>
                </c:pt>
                <c:pt idx="1575">
                  <c:v>362</c:v>
                </c:pt>
                <c:pt idx="1576">
                  <c:v>372</c:v>
                </c:pt>
                <c:pt idx="1577">
                  <c:v>380</c:v>
                </c:pt>
                <c:pt idx="1578">
                  <c:v>391</c:v>
                </c:pt>
                <c:pt idx="1579">
                  <c:v>394</c:v>
                </c:pt>
                <c:pt idx="1580">
                  <c:v>398</c:v>
                </c:pt>
                <c:pt idx="1581">
                  <c:v>397</c:v>
                </c:pt>
                <c:pt idx="1582">
                  <c:v>398</c:v>
                </c:pt>
                <c:pt idx="1583">
                  <c:v>408</c:v>
                </c:pt>
                <c:pt idx="1584">
                  <c:v>410</c:v>
                </c:pt>
                <c:pt idx="1585">
                  <c:v>412</c:v>
                </c:pt>
                <c:pt idx="1586">
                  <c:v>415</c:v>
                </c:pt>
                <c:pt idx="1587">
                  <c:v>415</c:v>
                </c:pt>
                <c:pt idx="1588">
                  <c:v>420</c:v>
                </c:pt>
                <c:pt idx="1589">
                  <c:v>425</c:v>
                </c:pt>
                <c:pt idx="1590">
                  <c:v>421</c:v>
                </c:pt>
                <c:pt idx="1591">
                  <c:v>429</c:v>
                </c:pt>
                <c:pt idx="1592">
                  <c:v>433</c:v>
                </c:pt>
                <c:pt idx="1593">
                  <c:v>434</c:v>
                </c:pt>
                <c:pt idx="1594">
                  <c:v>439</c:v>
                </c:pt>
                <c:pt idx="1595">
                  <c:v>442</c:v>
                </c:pt>
                <c:pt idx="1596">
                  <c:v>449</c:v>
                </c:pt>
                <c:pt idx="1597">
                  <c:v>456</c:v>
                </c:pt>
                <c:pt idx="1598">
                  <c:v>454</c:v>
                </c:pt>
                <c:pt idx="1599">
                  <c:v>459</c:v>
                </c:pt>
                <c:pt idx="1600">
                  <c:v>463</c:v>
                </c:pt>
                <c:pt idx="1601">
                  <c:v>461</c:v>
                </c:pt>
                <c:pt idx="1602">
                  <c:v>466</c:v>
                </c:pt>
                <c:pt idx="1603">
                  <c:v>471</c:v>
                </c:pt>
                <c:pt idx="1604">
                  <c:v>474</c:v>
                </c:pt>
                <c:pt idx="1605">
                  <c:v>483</c:v>
                </c:pt>
                <c:pt idx="1606">
                  <c:v>481</c:v>
                </c:pt>
                <c:pt idx="1607">
                  <c:v>482</c:v>
                </c:pt>
                <c:pt idx="1608">
                  <c:v>483</c:v>
                </c:pt>
                <c:pt idx="1609">
                  <c:v>492</c:v>
                </c:pt>
                <c:pt idx="1610">
                  <c:v>499</c:v>
                </c:pt>
                <c:pt idx="1611">
                  <c:v>506</c:v>
                </c:pt>
                <c:pt idx="1612">
                  <c:v>513</c:v>
                </c:pt>
                <c:pt idx="1613">
                  <c:v>513</c:v>
                </c:pt>
                <c:pt idx="1614">
                  <c:v>521</c:v>
                </c:pt>
                <c:pt idx="1615">
                  <c:v>521</c:v>
                </c:pt>
                <c:pt idx="1616">
                  <c:v>528</c:v>
                </c:pt>
                <c:pt idx="1617">
                  <c:v>530</c:v>
                </c:pt>
                <c:pt idx="1618">
                  <c:v>532</c:v>
                </c:pt>
                <c:pt idx="1619">
                  <c:v>541</c:v>
                </c:pt>
                <c:pt idx="1620">
                  <c:v>544</c:v>
                </c:pt>
                <c:pt idx="1621">
                  <c:v>553</c:v>
                </c:pt>
                <c:pt idx="1622">
                  <c:v>555</c:v>
                </c:pt>
                <c:pt idx="1623">
                  <c:v>574</c:v>
                </c:pt>
                <c:pt idx="1624">
                  <c:v>589</c:v>
                </c:pt>
                <c:pt idx="1625">
                  <c:v>593</c:v>
                </c:pt>
                <c:pt idx="1626">
                  <c:v>595</c:v>
                </c:pt>
                <c:pt idx="1627">
                  <c:v>607</c:v>
                </c:pt>
                <c:pt idx="1628">
                  <c:v>606</c:v>
                </c:pt>
                <c:pt idx="1629">
                  <c:v>610</c:v>
                </c:pt>
                <c:pt idx="1630">
                  <c:v>613</c:v>
                </c:pt>
                <c:pt idx="1631">
                  <c:v>631</c:v>
                </c:pt>
                <c:pt idx="1632">
                  <c:v>636</c:v>
                </c:pt>
                <c:pt idx="1633">
                  <c:v>639</c:v>
                </c:pt>
                <c:pt idx="1634">
                  <c:v>643</c:v>
                </c:pt>
                <c:pt idx="1635">
                  <c:v>646</c:v>
                </c:pt>
                <c:pt idx="1636">
                  <c:v>651</c:v>
                </c:pt>
                <c:pt idx="1637">
                  <c:v>664</c:v>
                </c:pt>
                <c:pt idx="1638">
                  <c:v>666</c:v>
                </c:pt>
                <c:pt idx="1639">
                  <c:v>666</c:v>
                </c:pt>
                <c:pt idx="1640">
                  <c:v>668</c:v>
                </c:pt>
                <c:pt idx="1641">
                  <c:v>674</c:v>
                </c:pt>
                <c:pt idx="1642">
                  <c:v>685</c:v>
                </c:pt>
                <c:pt idx="1643">
                  <c:v>682</c:v>
                </c:pt>
                <c:pt idx="1644">
                  <c:v>682</c:v>
                </c:pt>
                <c:pt idx="1645">
                  <c:v>686</c:v>
                </c:pt>
                <c:pt idx="1646">
                  <c:v>687</c:v>
                </c:pt>
                <c:pt idx="1647">
                  <c:v>697</c:v>
                </c:pt>
                <c:pt idx="1648">
                  <c:v>698</c:v>
                </c:pt>
                <c:pt idx="1649">
                  <c:v>693</c:v>
                </c:pt>
                <c:pt idx="1650">
                  <c:v>694</c:v>
                </c:pt>
                <c:pt idx="1651">
                  <c:v>694</c:v>
                </c:pt>
                <c:pt idx="1652">
                  <c:v>695</c:v>
                </c:pt>
                <c:pt idx="1653">
                  <c:v>692</c:v>
                </c:pt>
                <c:pt idx="1654">
                  <c:v>695</c:v>
                </c:pt>
                <c:pt idx="1655">
                  <c:v>693</c:v>
                </c:pt>
                <c:pt idx="1656">
                  <c:v>696</c:v>
                </c:pt>
                <c:pt idx="1657">
                  <c:v>698</c:v>
                </c:pt>
                <c:pt idx="1658">
                  <c:v>705</c:v>
                </c:pt>
                <c:pt idx="1659">
                  <c:v>708</c:v>
                </c:pt>
                <c:pt idx="1660">
                  <c:v>703</c:v>
                </c:pt>
                <c:pt idx="1661">
                  <c:v>705</c:v>
                </c:pt>
                <c:pt idx="1662">
                  <c:v>711</c:v>
                </c:pt>
                <c:pt idx="1663">
                  <c:v>714</c:v>
                </c:pt>
                <c:pt idx="1664">
                  <c:v>714</c:v>
                </c:pt>
                <c:pt idx="1665">
                  <c:v>711</c:v>
                </c:pt>
                <c:pt idx="1666">
                  <c:v>708</c:v>
                </c:pt>
                <c:pt idx="1667">
                  <c:v>707</c:v>
                </c:pt>
                <c:pt idx="1668">
                  <c:v>710</c:v>
                </c:pt>
                <c:pt idx="1669">
                  <c:v>706</c:v>
                </c:pt>
                <c:pt idx="1670">
                  <c:v>700</c:v>
                </c:pt>
                <c:pt idx="1671">
                  <c:v>700</c:v>
                </c:pt>
                <c:pt idx="1672">
                  <c:v>700</c:v>
                </c:pt>
                <c:pt idx="1673">
                  <c:v>705</c:v>
                </c:pt>
                <c:pt idx="1674">
                  <c:v>700</c:v>
                </c:pt>
                <c:pt idx="1675">
                  <c:v>700</c:v>
                </c:pt>
                <c:pt idx="1676">
                  <c:v>700</c:v>
                </c:pt>
                <c:pt idx="1677">
                  <c:v>693</c:v>
                </c:pt>
                <c:pt idx="1678">
                  <c:v>690</c:v>
                </c:pt>
                <c:pt idx="1679">
                  <c:v>692</c:v>
                </c:pt>
                <c:pt idx="1680">
                  <c:v>692</c:v>
                </c:pt>
                <c:pt idx="1681">
                  <c:v>692</c:v>
                </c:pt>
                <c:pt idx="1682">
                  <c:v>691</c:v>
                </c:pt>
                <c:pt idx="1683">
                  <c:v>686</c:v>
                </c:pt>
                <c:pt idx="1684">
                  <c:v>683</c:v>
                </c:pt>
                <c:pt idx="1685">
                  <c:v>687</c:v>
                </c:pt>
                <c:pt idx="1686">
                  <c:v>685</c:v>
                </c:pt>
                <c:pt idx="1687">
                  <c:v>676</c:v>
                </c:pt>
                <c:pt idx="1688">
                  <c:v>660</c:v>
                </c:pt>
                <c:pt idx="1689">
                  <c:v>650</c:v>
                </c:pt>
                <c:pt idx="1690">
                  <c:v>642</c:v>
                </c:pt>
                <c:pt idx="1691">
                  <c:v>628</c:v>
                </c:pt>
                <c:pt idx="1692">
                  <c:v>625</c:v>
                </c:pt>
                <c:pt idx="1693">
                  <c:v>615</c:v>
                </c:pt>
                <c:pt idx="1694">
                  <c:v>613</c:v>
                </c:pt>
                <c:pt idx="1695">
                  <c:v>606</c:v>
                </c:pt>
                <c:pt idx="1696">
                  <c:v>611</c:v>
                </c:pt>
                <c:pt idx="1697">
                  <c:v>606</c:v>
                </c:pt>
                <c:pt idx="1698">
                  <c:v>600</c:v>
                </c:pt>
                <c:pt idx="1699">
                  <c:v>592</c:v>
                </c:pt>
                <c:pt idx="1700">
                  <c:v>585</c:v>
                </c:pt>
                <c:pt idx="1701">
                  <c:v>579</c:v>
                </c:pt>
                <c:pt idx="1702">
                  <c:v>572</c:v>
                </c:pt>
                <c:pt idx="1703">
                  <c:v>567</c:v>
                </c:pt>
                <c:pt idx="1704">
                  <c:v>566</c:v>
                </c:pt>
                <c:pt idx="1705">
                  <c:v>562</c:v>
                </c:pt>
                <c:pt idx="1706">
                  <c:v>567</c:v>
                </c:pt>
                <c:pt idx="1707">
                  <c:v>558</c:v>
                </c:pt>
                <c:pt idx="1708">
                  <c:v>553</c:v>
                </c:pt>
                <c:pt idx="1709">
                  <c:v>553</c:v>
                </c:pt>
                <c:pt idx="1710">
                  <c:v>554</c:v>
                </c:pt>
                <c:pt idx="1711">
                  <c:v>557</c:v>
                </c:pt>
                <c:pt idx="1712">
                  <c:v>558</c:v>
                </c:pt>
                <c:pt idx="1713">
                  <c:v>549</c:v>
                </c:pt>
                <c:pt idx="1714">
                  <c:v>551</c:v>
                </c:pt>
                <c:pt idx="1715">
                  <c:v>553</c:v>
                </c:pt>
                <c:pt idx="1716">
                  <c:v>554</c:v>
                </c:pt>
                <c:pt idx="1717">
                  <c:v>559</c:v>
                </c:pt>
                <c:pt idx="1718">
                  <c:v>559</c:v>
                </c:pt>
                <c:pt idx="1719">
                  <c:v>560</c:v>
                </c:pt>
                <c:pt idx="1720">
                  <c:v>563</c:v>
                </c:pt>
                <c:pt idx="1721">
                  <c:v>565</c:v>
                </c:pt>
                <c:pt idx="1722">
                  <c:v>564</c:v>
                </c:pt>
                <c:pt idx="1723">
                  <c:v>561</c:v>
                </c:pt>
                <c:pt idx="1724">
                  <c:v>560</c:v>
                </c:pt>
                <c:pt idx="1725">
                  <c:v>559</c:v>
                </c:pt>
                <c:pt idx="1726">
                  <c:v>558</c:v>
                </c:pt>
                <c:pt idx="1727">
                  <c:v>560</c:v>
                </c:pt>
                <c:pt idx="1728">
                  <c:v>560</c:v>
                </c:pt>
                <c:pt idx="1729">
                  <c:v>560</c:v>
                </c:pt>
                <c:pt idx="1730">
                  <c:v>561</c:v>
                </c:pt>
                <c:pt idx="1731">
                  <c:v>557</c:v>
                </c:pt>
                <c:pt idx="1732">
                  <c:v>562</c:v>
                </c:pt>
                <c:pt idx="1733">
                  <c:v>556</c:v>
                </c:pt>
                <c:pt idx="1734">
                  <c:v>558</c:v>
                </c:pt>
                <c:pt idx="1735">
                  <c:v>557</c:v>
                </c:pt>
                <c:pt idx="1736">
                  <c:v>554</c:v>
                </c:pt>
                <c:pt idx="1737">
                  <c:v>555</c:v>
                </c:pt>
                <c:pt idx="1738">
                  <c:v>552</c:v>
                </c:pt>
                <c:pt idx="1739">
                  <c:v>552</c:v>
                </c:pt>
                <c:pt idx="1740">
                  <c:v>548</c:v>
                </c:pt>
              </c:numCache>
            </c:numRef>
          </c:val>
          <c:smooth val="0"/>
          <c:extLst>
            <c:ext xmlns:c16="http://schemas.microsoft.com/office/drawing/2014/chart" uri="{C3380CC4-5D6E-409C-BE32-E72D297353CC}">
              <c16:uniqueId val="{00000000-4551-4811-A327-833015F8DD0E}"/>
            </c:ext>
          </c:extLst>
        </c:ser>
        <c:dLbls>
          <c:showLegendKey val="0"/>
          <c:showVal val="0"/>
          <c:showCatName val="0"/>
          <c:showSerName val="0"/>
          <c:showPercent val="0"/>
          <c:showBubbleSize val="0"/>
        </c:dLbls>
        <c:smooth val="0"/>
        <c:axId val="71011135"/>
        <c:axId val="71014743"/>
      </c:lineChart>
      <c:dateAx>
        <c:axId val="71011135"/>
        <c:scaling>
          <c:orientation val="minMax"/>
          <c:min val="44562"/>
        </c:scaling>
        <c:delete val="0"/>
        <c:axPos val="b"/>
        <c:numFmt formatCode="[$-409]mmm\-yy;@" sourceLinked="0"/>
        <c:majorTickMark val="out"/>
        <c:minorTickMark val="none"/>
        <c:tickLblPos val="nextTo"/>
        <c:spPr>
          <a:noFill/>
          <a:ln w="6350" cap="flat" cmpd="sng" algn="ctr">
            <a:solidFill>
              <a:schemeClr val="accent4"/>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1014743"/>
        <c:crosses val="autoZero"/>
        <c:auto val="1"/>
        <c:lblOffset val="100"/>
        <c:baseTimeUnit val="days"/>
        <c:majorUnit val="6"/>
        <c:majorTimeUnit val="months"/>
      </c:dateAx>
      <c:valAx>
        <c:axId val="71014743"/>
        <c:scaling>
          <c:orientation val="minMax"/>
          <c:max val="750"/>
          <c:min val="350"/>
        </c:scaling>
        <c:delete val="0"/>
        <c:axPos val="l"/>
        <c:majorGridlines>
          <c:spPr>
            <a:ln w="3175" cap="flat" cmpd="sng" algn="ctr">
              <a:solidFill>
                <a:schemeClr val="accent4">
                  <a:lumMod val="20000"/>
                  <a:lumOff val="80000"/>
                </a:schemeClr>
              </a:solidFill>
              <a:round/>
            </a:ln>
            <a:effectLst/>
          </c:spPr>
        </c:majorGridlines>
        <c:numFmt formatCode="#,##0_);\(#,##0\);\–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1011135"/>
        <c:crosses val="autoZero"/>
        <c:crossBetween val="between"/>
        <c:majorUnit val="100"/>
      </c:valAx>
      <c:spPr>
        <a:noFill/>
        <a:ln>
          <a:noFill/>
        </a:ln>
        <a:effectLst/>
      </c:spPr>
    </c:plotArea>
    <c:plotVisOnly val="1"/>
    <c:dispBlanksAs val="gap"/>
    <c:showDLblsOverMax val="0"/>
    <c:extLst/>
  </c:chart>
  <c:spPr>
    <a:solidFill>
      <a:schemeClr val="bg1"/>
    </a:solidFill>
    <a:ln w="9525" cap="flat" cmpd="sng" algn="ctr">
      <a:noFill/>
      <a:round/>
    </a:ln>
    <a:effectLst/>
  </c:spPr>
  <c:txPr>
    <a:bodyPr/>
    <a:lstStyle/>
    <a:p>
      <a:pPr>
        <a:defRPr/>
      </a:pPr>
      <a:endParaRPr lang="fr-FR"/>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2694610778443111E-2"/>
          <c:y val="2.2050716648291068E-2"/>
          <c:w val="0.89461077844311376"/>
          <c:h val="0.88390245596367711"/>
        </c:manualLayout>
      </c:layout>
      <c:barChart>
        <c:barDir val="col"/>
        <c:grouping val="clustered"/>
        <c:varyColors val="0"/>
        <c:ser>
          <c:idx val="0"/>
          <c:order val="0"/>
          <c:tx>
            <c:strRef>
              <c:f>Quarterly!$C$1</c:f>
              <c:strCache>
                <c:ptCount val="1"/>
                <c:pt idx="0">
                  <c:v>US SMLS</c:v>
                </c:pt>
              </c:strCache>
            </c:strRef>
          </c:tx>
          <c:spPr>
            <a:solidFill>
              <a:schemeClr val="accent1"/>
            </a:solidFill>
            <a:ln>
              <a:noFill/>
            </a:ln>
            <a:effectLst/>
          </c:spPr>
          <c:invertIfNegative val="0"/>
          <c:dPt>
            <c:idx val="5"/>
            <c:invertIfNegative val="0"/>
            <c:bubble3D val="0"/>
            <c:spPr>
              <a:pattFill prst="dkDnDiag">
                <a:fgClr>
                  <a:srgbClr val="27338B"/>
                </a:fgClr>
                <a:bgClr>
                  <a:srgbClr val="FFFFFF"/>
                </a:bgClr>
              </a:pattFill>
              <a:ln>
                <a:noFill/>
              </a:ln>
              <a:effectLst/>
            </c:spPr>
            <c:extLst>
              <c:ext xmlns:c16="http://schemas.microsoft.com/office/drawing/2014/chart" uri="{C3380CC4-5D6E-409C-BE32-E72D297353CC}">
                <c16:uniqueId val="{00000001-B1E5-4DC8-9DD3-8F9791037B7C}"/>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2"/>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uarterly!$B$2:$B$7</c:f>
              <c:strCache>
                <c:ptCount val="6"/>
                <c:pt idx="0">
                  <c:v>Q1 23</c:v>
                </c:pt>
                <c:pt idx="1">
                  <c:v>Q2 23</c:v>
                </c:pt>
                <c:pt idx="2">
                  <c:v>Q3 23</c:v>
                </c:pt>
                <c:pt idx="3">
                  <c:v>Q4 23</c:v>
                </c:pt>
                <c:pt idx="4">
                  <c:v>Q1 24</c:v>
                </c:pt>
                <c:pt idx="5">
                  <c:v>Apr-24</c:v>
                </c:pt>
              </c:strCache>
            </c:strRef>
          </c:cat>
          <c:val>
            <c:numRef>
              <c:f>Quarterly!$C$2:$C$7</c:f>
              <c:numCache>
                <c:formatCode>#,##0_);\(#,##0\);\–_)</c:formatCode>
                <c:ptCount val="6"/>
                <c:pt idx="0">
                  <c:v>4062.3846144533331</c:v>
                </c:pt>
                <c:pt idx="1">
                  <c:v>3538.4193050999997</c:v>
                </c:pt>
                <c:pt idx="2">
                  <c:v>2991.6728953399997</c:v>
                </c:pt>
                <c:pt idx="3">
                  <c:v>2566.5481667833333</c:v>
                </c:pt>
                <c:pt idx="4">
                  <c:v>2381.7273038066664</c:v>
                </c:pt>
                <c:pt idx="5">
                  <c:v>2235.4873366799998</c:v>
                </c:pt>
              </c:numCache>
            </c:numRef>
          </c:val>
          <c:extLst>
            <c:ext xmlns:c16="http://schemas.microsoft.com/office/drawing/2014/chart" uri="{C3380CC4-5D6E-409C-BE32-E72D297353CC}">
              <c16:uniqueId val="{00000002-B1E5-4DC8-9DD3-8F9791037B7C}"/>
            </c:ext>
          </c:extLst>
        </c:ser>
        <c:dLbls>
          <c:showLegendKey val="0"/>
          <c:showVal val="0"/>
          <c:showCatName val="0"/>
          <c:showSerName val="0"/>
          <c:showPercent val="0"/>
          <c:showBubbleSize val="0"/>
        </c:dLbls>
        <c:gapWidth val="159"/>
        <c:overlap val="-27"/>
        <c:axId val="721451240"/>
        <c:axId val="721448944"/>
      </c:barChart>
      <c:catAx>
        <c:axId val="721451240"/>
        <c:scaling>
          <c:orientation val="minMax"/>
        </c:scaling>
        <c:delete val="0"/>
        <c:axPos val="b"/>
        <c:numFmt formatCode="[$-409]mmm\-yy;@" sourceLinked="0"/>
        <c:majorTickMark val="none"/>
        <c:minorTickMark val="none"/>
        <c:tickLblPos val="nextTo"/>
        <c:spPr>
          <a:noFill/>
          <a:ln w="6350" cap="flat" cmpd="sng" algn="ctr">
            <a:solidFill>
              <a:schemeClr val="accent4"/>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21448944"/>
        <c:crosses val="autoZero"/>
        <c:auto val="1"/>
        <c:lblAlgn val="ctr"/>
        <c:lblOffset val="100"/>
        <c:tickLblSkip val="1"/>
        <c:noMultiLvlLbl val="0"/>
      </c:catAx>
      <c:valAx>
        <c:axId val="721448944"/>
        <c:scaling>
          <c:orientation val="minMax"/>
        </c:scaling>
        <c:delete val="1"/>
        <c:axPos val="l"/>
        <c:numFmt formatCode="#,##0_);\(#,##0\);\–_)" sourceLinked="1"/>
        <c:majorTickMark val="none"/>
        <c:minorTickMark val="none"/>
        <c:tickLblPos val="nextTo"/>
        <c:crossAx val="721451240"/>
        <c:crosses val="autoZero"/>
        <c:crossBetween val="between"/>
      </c:valAx>
      <c:spPr>
        <a:noFill/>
        <a:ln>
          <a:noFill/>
        </a:ln>
        <a:effectLst/>
      </c:spPr>
    </c:plotArea>
    <c:plotVisOnly val="1"/>
    <c:dispBlanksAs val="gap"/>
    <c:showDLblsOverMax val="0"/>
    <c:extLst/>
  </c:chart>
  <c:spPr>
    <a:solidFill>
      <a:schemeClr val="bg1"/>
    </a:solidFill>
    <a:ln w="9525" cap="flat" cmpd="sng" algn="ctr">
      <a:noFill/>
      <a:round/>
    </a:ln>
    <a:effectLst/>
  </c:spPr>
  <c:txPr>
    <a:bodyPr/>
    <a:lstStyle/>
    <a:p>
      <a:pPr>
        <a:defRPr/>
      </a:pPr>
      <a:endParaRPr lang="fr-FR"/>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456038112570021"/>
          <c:y val="4.8511576626240352E-2"/>
          <c:w val="0.79643448097993819"/>
          <c:h val="0.8545534729878721"/>
        </c:manualLayout>
      </c:layout>
      <c:lineChart>
        <c:grouping val="standard"/>
        <c:varyColors val="0"/>
        <c:ser>
          <c:idx val="0"/>
          <c:order val="0"/>
          <c:spPr>
            <a:ln w="28575" cap="rnd">
              <a:solidFill>
                <a:schemeClr val="accent1"/>
              </a:solidFill>
              <a:round/>
            </a:ln>
            <a:effectLst/>
          </c:spPr>
          <c:marker>
            <c:symbol val="none"/>
          </c:marker>
          <c:cat>
            <c:numRef>
              <c:f>'[Tubes Market Data.xlsx]OSR Details'!$A$6:$A$235</c:f>
              <c:numCache>
                <c:formatCode>[$-409]mmm\-yy;@</c:formatCode>
                <c:ptCount val="160"/>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pt idx="12">
                  <c:v>40909</c:v>
                </c:pt>
                <c:pt idx="13">
                  <c:v>40940</c:v>
                </c:pt>
                <c:pt idx="14">
                  <c:v>40969</c:v>
                </c:pt>
                <c:pt idx="15">
                  <c:v>41000</c:v>
                </c:pt>
                <c:pt idx="16">
                  <c:v>41030</c:v>
                </c:pt>
                <c:pt idx="17">
                  <c:v>41061</c:v>
                </c:pt>
                <c:pt idx="18">
                  <c:v>41091</c:v>
                </c:pt>
                <c:pt idx="19">
                  <c:v>41122</c:v>
                </c:pt>
                <c:pt idx="20">
                  <c:v>41153</c:v>
                </c:pt>
                <c:pt idx="21">
                  <c:v>41183</c:v>
                </c:pt>
                <c:pt idx="22">
                  <c:v>41214</c:v>
                </c:pt>
                <c:pt idx="23">
                  <c:v>41244</c:v>
                </c:pt>
                <c:pt idx="24">
                  <c:v>41275</c:v>
                </c:pt>
                <c:pt idx="25">
                  <c:v>41306</c:v>
                </c:pt>
                <c:pt idx="26">
                  <c:v>41334</c:v>
                </c:pt>
                <c:pt idx="27">
                  <c:v>41365</c:v>
                </c:pt>
                <c:pt idx="28">
                  <c:v>41395</c:v>
                </c:pt>
                <c:pt idx="29">
                  <c:v>41426</c:v>
                </c:pt>
                <c:pt idx="30">
                  <c:v>41456</c:v>
                </c:pt>
                <c:pt idx="31">
                  <c:v>41487</c:v>
                </c:pt>
                <c:pt idx="32">
                  <c:v>41518</c:v>
                </c:pt>
                <c:pt idx="33">
                  <c:v>41548</c:v>
                </c:pt>
                <c:pt idx="34">
                  <c:v>41579</c:v>
                </c:pt>
                <c:pt idx="35">
                  <c:v>41609</c:v>
                </c:pt>
                <c:pt idx="36">
                  <c:v>41640</c:v>
                </c:pt>
                <c:pt idx="37">
                  <c:v>41671</c:v>
                </c:pt>
                <c:pt idx="38">
                  <c:v>41699</c:v>
                </c:pt>
                <c:pt idx="39">
                  <c:v>41730</c:v>
                </c:pt>
                <c:pt idx="40">
                  <c:v>41760</c:v>
                </c:pt>
                <c:pt idx="41">
                  <c:v>41791</c:v>
                </c:pt>
                <c:pt idx="42">
                  <c:v>41821</c:v>
                </c:pt>
                <c:pt idx="43">
                  <c:v>41852</c:v>
                </c:pt>
                <c:pt idx="44">
                  <c:v>41883</c:v>
                </c:pt>
                <c:pt idx="45">
                  <c:v>41913</c:v>
                </c:pt>
                <c:pt idx="46">
                  <c:v>41944</c:v>
                </c:pt>
                <c:pt idx="47">
                  <c:v>41974</c:v>
                </c:pt>
                <c:pt idx="48">
                  <c:v>42005</c:v>
                </c:pt>
                <c:pt idx="49">
                  <c:v>42036</c:v>
                </c:pt>
                <c:pt idx="50">
                  <c:v>42064</c:v>
                </c:pt>
                <c:pt idx="51">
                  <c:v>42095</c:v>
                </c:pt>
                <c:pt idx="52">
                  <c:v>42125</c:v>
                </c:pt>
                <c:pt idx="53">
                  <c:v>42156</c:v>
                </c:pt>
                <c:pt idx="54">
                  <c:v>42186</c:v>
                </c:pt>
                <c:pt idx="55">
                  <c:v>42217</c:v>
                </c:pt>
                <c:pt idx="56">
                  <c:v>42248</c:v>
                </c:pt>
                <c:pt idx="57">
                  <c:v>42278</c:v>
                </c:pt>
                <c:pt idx="58">
                  <c:v>42309</c:v>
                </c:pt>
                <c:pt idx="59">
                  <c:v>42339</c:v>
                </c:pt>
                <c:pt idx="60">
                  <c:v>42370</c:v>
                </c:pt>
                <c:pt idx="61">
                  <c:v>42401</c:v>
                </c:pt>
                <c:pt idx="62">
                  <c:v>42430</c:v>
                </c:pt>
                <c:pt idx="63">
                  <c:v>42461</c:v>
                </c:pt>
                <c:pt idx="64">
                  <c:v>42491</c:v>
                </c:pt>
                <c:pt idx="65">
                  <c:v>42522</c:v>
                </c:pt>
                <c:pt idx="66">
                  <c:v>42552</c:v>
                </c:pt>
                <c:pt idx="67">
                  <c:v>42583</c:v>
                </c:pt>
                <c:pt idx="68">
                  <c:v>42614</c:v>
                </c:pt>
                <c:pt idx="69">
                  <c:v>42644</c:v>
                </c:pt>
                <c:pt idx="70">
                  <c:v>42675</c:v>
                </c:pt>
                <c:pt idx="71">
                  <c:v>42705</c:v>
                </c:pt>
                <c:pt idx="72">
                  <c:v>42736</c:v>
                </c:pt>
                <c:pt idx="73">
                  <c:v>42767</c:v>
                </c:pt>
                <c:pt idx="74">
                  <c:v>42795</c:v>
                </c:pt>
                <c:pt idx="75">
                  <c:v>42826</c:v>
                </c:pt>
                <c:pt idx="76">
                  <c:v>42856</c:v>
                </c:pt>
                <c:pt idx="77">
                  <c:v>42887</c:v>
                </c:pt>
                <c:pt idx="78">
                  <c:v>42917</c:v>
                </c:pt>
                <c:pt idx="79">
                  <c:v>42948</c:v>
                </c:pt>
                <c:pt idx="80">
                  <c:v>42979</c:v>
                </c:pt>
                <c:pt idx="81">
                  <c:v>43009</c:v>
                </c:pt>
                <c:pt idx="82">
                  <c:v>43040</c:v>
                </c:pt>
                <c:pt idx="83">
                  <c:v>43070</c:v>
                </c:pt>
                <c:pt idx="84">
                  <c:v>43101</c:v>
                </c:pt>
                <c:pt idx="85">
                  <c:v>43132</c:v>
                </c:pt>
                <c:pt idx="86">
                  <c:v>43160</c:v>
                </c:pt>
                <c:pt idx="87">
                  <c:v>43191</c:v>
                </c:pt>
                <c:pt idx="88">
                  <c:v>43221</c:v>
                </c:pt>
                <c:pt idx="89">
                  <c:v>43252</c:v>
                </c:pt>
                <c:pt idx="90">
                  <c:v>43282</c:v>
                </c:pt>
                <c:pt idx="91">
                  <c:v>43313</c:v>
                </c:pt>
                <c:pt idx="92">
                  <c:v>43344</c:v>
                </c:pt>
                <c:pt idx="93">
                  <c:v>43374</c:v>
                </c:pt>
                <c:pt idx="94">
                  <c:v>43405</c:v>
                </c:pt>
                <c:pt idx="95">
                  <c:v>43435</c:v>
                </c:pt>
                <c:pt idx="96">
                  <c:v>43466</c:v>
                </c:pt>
                <c:pt idx="97">
                  <c:v>43497</c:v>
                </c:pt>
                <c:pt idx="98">
                  <c:v>43525</c:v>
                </c:pt>
                <c:pt idx="99">
                  <c:v>43556</c:v>
                </c:pt>
                <c:pt idx="100">
                  <c:v>43586</c:v>
                </c:pt>
                <c:pt idx="101">
                  <c:v>43617</c:v>
                </c:pt>
                <c:pt idx="102">
                  <c:v>43647</c:v>
                </c:pt>
                <c:pt idx="103">
                  <c:v>43678</c:v>
                </c:pt>
                <c:pt idx="104">
                  <c:v>43709</c:v>
                </c:pt>
                <c:pt idx="105">
                  <c:v>43739</c:v>
                </c:pt>
                <c:pt idx="106">
                  <c:v>43770</c:v>
                </c:pt>
                <c:pt idx="107">
                  <c:v>43800</c:v>
                </c:pt>
                <c:pt idx="108">
                  <c:v>43831</c:v>
                </c:pt>
                <c:pt idx="109">
                  <c:v>43862</c:v>
                </c:pt>
                <c:pt idx="110">
                  <c:v>43891</c:v>
                </c:pt>
                <c:pt idx="111">
                  <c:v>43922</c:v>
                </c:pt>
                <c:pt idx="112">
                  <c:v>43952</c:v>
                </c:pt>
                <c:pt idx="113">
                  <c:v>43983</c:v>
                </c:pt>
                <c:pt idx="114">
                  <c:v>44013</c:v>
                </c:pt>
                <c:pt idx="115">
                  <c:v>44044</c:v>
                </c:pt>
                <c:pt idx="116">
                  <c:v>44075</c:v>
                </c:pt>
                <c:pt idx="117">
                  <c:v>44105</c:v>
                </c:pt>
                <c:pt idx="118">
                  <c:v>44136</c:v>
                </c:pt>
                <c:pt idx="119">
                  <c:v>44166</c:v>
                </c:pt>
                <c:pt idx="120">
                  <c:v>44197</c:v>
                </c:pt>
                <c:pt idx="121">
                  <c:v>44228</c:v>
                </c:pt>
                <c:pt idx="122">
                  <c:v>44256</c:v>
                </c:pt>
                <c:pt idx="123">
                  <c:v>44287</c:v>
                </c:pt>
                <c:pt idx="124">
                  <c:v>44317</c:v>
                </c:pt>
                <c:pt idx="125">
                  <c:v>44348</c:v>
                </c:pt>
                <c:pt idx="126">
                  <c:v>44378</c:v>
                </c:pt>
                <c:pt idx="127">
                  <c:v>44409</c:v>
                </c:pt>
                <c:pt idx="128">
                  <c:v>44440</c:v>
                </c:pt>
                <c:pt idx="129">
                  <c:v>44470</c:v>
                </c:pt>
                <c:pt idx="130">
                  <c:v>44501</c:v>
                </c:pt>
                <c:pt idx="131">
                  <c:v>44531</c:v>
                </c:pt>
                <c:pt idx="132">
                  <c:v>44562</c:v>
                </c:pt>
                <c:pt idx="133">
                  <c:v>44593</c:v>
                </c:pt>
                <c:pt idx="134">
                  <c:v>44621</c:v>
                </c:pt>
                <c:pt idx="135">
                  <c:v>44652</c:v>
                </c:pt>
                <c:pt idx="136">
                  <c:v>44682</c:v>
                </c:pt>
                <c:pt idx="137">
                  <c:v>44713</c:v>
                </c:pt>
                <c:pt idx="138">
                  <c:v>44743</c:v>
                </c:pt>
                <c:pt idx="139">
                  <c:v>44774</c:v>
                </c:pt>
                <c:pt idx="140">
                  <c:v>44805</c:v>
                </c:pt>
                <c:pt idx="141">
                  <c:v>44835</c:v>
                </c:pt>
                <c:pt idx="142">
                  <c:v>44866</c:v>
                </c:pt>
                <c:pt idx="143">
                  <c:v>44896</c:v>
                </c:pt>
                <c:pt idx="144">
                  <c:v>44927</c:v>
                </c:pt>
                <c:pt idx="145">
                  <c:v>44958</c:v>
                </c:pt>
                <c:pt idx="146">
                  <c:v>44986</c:v>
                </c:pt>
                <c:pt idx="147">
                  <c:v>45017</c:v>
                </c:pt>
                <c:pt idx="148">
                  <c:v>45047</c:v>
                </c:pt>
                <c:pt idx="149">
                  <c:v>45078</c:v>
                </c:pt>
                <c:pt idx="150">
                  <c:v>45108</c:v>
                </c:pt>
                <c:pt idx="151">
                  <c:v>45139</c:v>
                </c:pt>
                <c:pt idx="152">
                  <c:v>45170</c:v>
                </c:pt>
                <c:pt idx="153">
                  <c:v>45200</c:v>
                </c:pt>
                <c:pt idx="154">
                  <c:v>45231</c:v>
                </c:pt>
                <c:pt idx="155">
                  <c:v>45261</c:v>
                </c:pt>
                <c:pt idx="156">
                  <c:v>45292</c:v>
                </c:pt>
                <c:pt idx="157">
                  <c:v>45323</c:v>
                </c:pt>
                <c:pt idx="158">
                  <c:v>45352</c:v>
                </c:pt>
              </c:numCache>
            </c:numRef>
          </c:cat>
          <c:val>
            <c:numRef>
              <c:f>'[Tubes Market Data.xlsx]OSR Details'!$X$6:$X$235</c:f>
              <c:numCache>
                <c:formatCode>#,##0.0_);\(#,##0.0\);\–_)</c:formatCode>
                <c:ptCount val="160"/>
                <c:pt idx="0">
                  <c:v>5.7094328652481448</c:v>
                </c:pt>
                <c:pt idx="1">
                  <c:v>5.7638563358426866</c:v>
                </c:pt>
                <c:pt idx="2">
                  <c:v>5.4869632078913453</c:v>
                </c:pt>
                <c:pt idx="3">
                  <c:v>5.3765362951616513</c:v>
                </c:pt>
                <c:pt idx="4">
                  <c:v>4.9475189490061657</c:v>
                </c:pt>
                <c:pt idx="5">
                  <c:v>4.7133948999487476</c:v>
                </c:pt>
                <c:pt idx="6">
                  <c:v>4.4821499764188015</c:v>
                </c:pt>
                <c:pt idx="7">
                  <c:v>4.3309904157243464</c:v>
                </c:pt>
                <c:pt idx="8">
                  <c:v>4.3668881816472007</c:v>
                </c:pt>
                <c:pt idx="9">
                  <c:v>4.2331333900480139</c:v>
                </c:pt>
                <c:pt idx="10">
                  <c:v>4.4236061542601108</c:v>
                </c:pt>
                <c:pt idx="11">
                  <c:v>4.6379608153110539</c:v>
                </c:pt>
                <c:pt idx="12">
                  <c:v>4.6979776605562868</c:v>
                </c:pt>
                <c:pt idx="13">
                  <c:v>4.7117059318736159</c:v>
                </c:pt>
                <c:pt idx="14">
                  <c:v>4.3937054424100808</c:v>
                </c:pt>
                <c:pt idx="15">
                  <c:v>4.54088796492747</c:v>
                </c:pt>
                <c:pt idx="16">
                  <c:v>4.2612576566937737</c:v>
                </c:pt>
                <c:pt idx="17">
                  <c:v>4.3402439456855246</c:v>
                </c:pt>
                <c:pt idx="18">
                  <c:v>4.4421383854539185</c:v>
                </c:pt>
                <c:pt idx="19">
                  <c:v>4.9132071561148534</c:v>
                </c:pt>
                <c:pt idx="20">
                  <c:v>5.1776897232809596</c:v>
                </c:pt>
                <c:pt idx="21">
                  <c:v>5.7047604327874781</c:v>
                </c:pt>
                <c:pt idx="22">
                  <c:v>5.6273324066684971</c:v>
                </c:pt>
                <c:pt idx="23">
                  <c:v>5.7544617403001439</c:v>
                </c:pt>
                <c:pt idx="24">
                  <c:v>5.3329769919621448</c:v>
                </c:pt>
                <c:pt idx="25">
                  <c:v>5.4626657631987996</c:v>
                </c:pt>
                <c:pt idx="26">
                  <c:v>5.3353172599054615</c:v>
                </c:pt>
                <c:pt idx="27">
                  <c:v>5.2818680317645157</c:v>
                </c:pt>
                <c:pt idx="28">
                  <c:v>4.9101941183308142</c:v>
                </c:pt>
                <c:pt idx="29">
                  <c:v>4.6340829293707246</c:v>
                </c:pt>
                <c:pt idx="30">
                  <c:v>4.7585188942604644</c:v>
                </c:pt>
                <c:pt idx="31">
                  <c:v>4.5574061210313417</c:v>
                </c:pt>
                <c:pt idx="32">
                  <c:v>4.8825765690130156</c:v>
                </c:pt>
                <c:pt idx="33">
                  <c:v>6.0348426944605285</c:v>
                </c:pt>
                <c:pt idx="34">
                  <c:v>6.867659253593331</c:v>
                </c:pt>
                <c:pt idx="35">
                  <c:v>7.5658381278183784</c:v>
                </c:pt>
                <c:pt idx="36">
                  <c:v>6.1064758287683718</c:v>
                </c:pt>
                <c:pt idx="37">
                  <c:v>5.6104796628368758</c:v>
                </c:pt>
                <c:pt idx="38">
                  <c:v>5.144501226980486</c:v>
                </c:pt>
                <c:pt idx="39">
                  <c:v>5.1946591443150814</c:v>
                </c:pt>
                <c:pt idx="40">
                  <c:v>4.7319086139825348</c:v>
                </c:pt>
                <c:pt idx="41">
                  <c:v>4.4020537055224986</c:v>
                </c:pt>
                <c:pt idx="42">
                  <c:v>4.0817173672429927</c:v>
                </c:pt>
                <c:pt idx="43">
                  <c:v>4.178417780203648</c:v>
                </c:pt>
                <c:pt idx="44">
                  <c:v>4.142501739698762</c:v>
                </c:pt>
                <c:pt idx="45">
                  <c:v>4.6685376940982568</c:v>
                </c:pt>
                <c:pt idx="46">
                  <c:v>4.6946744399137419</c:v>
                </c:pt>
                <c:pt idx="47">
                  <c:v>4.6322514450314491</c:v>
                </c:pt>
                <c:pt idx="48">
                  <c:v>4.3304815768476645</c:v>
                </c:pt>
                <c:pt idx="49">
                  <c:v>4.8193440316844507</c:v>
                </c:pt>
                <c:pt idx="50">
                  <c:v>5.9427202226548639</c:v>
                </c:pt>
                <c:pt idx="51">
                  <c:v>7.5274142748929904</c:v>
                </c:pt>
                <c:pt idx="52">
                  <c:v>8.4095262234547477</c:v>
                </c:pt>
                <c:pt idx="53">
                  <c:v>8.5765551976513184</c:v>
                </c:pt>
                <c:pt idx="54">
                  <c:v>8.8806322599266281</c:v>
                </c:pt>
                <c:pt idx="55">
                  <c:v>8.8247902638104883</c:v>
                </c:pt>
                <c:pt idx="56">
                  <c:v>8.5897955789736731</c:v>
                </c:pt>
                <c:pt idx="57">
                  <c:v>9.0822249105400132</c:v>
                </c:pt>
                <c:pt idx="58">
                  <c:v>9.0769385189731846</c:v>
                </c:pt>
                <c:pt idx="59">
                  <c:v>9.4474533063680095</c:v>
                </c:pt>
                <c:pt idx="60">
                  <c:v>10.103267999644888</c:v>
                </c:pt>
                <c:pt idx="61">
                  <c:v>11.199456539887137</c:v>
                </c:pt>
                <c:pt idx="62">
                  <c:v>12.445267851238889</c:v>
                </c:pt>
                <c:pt idx="63">
                  <c:v>12.438181238474119</c:v>
                </c:pt>
                <c:pt idx="64">
                  <c:v>12.495629847868532</c:v>
                </c:pt>
                <c:pt idx="65">
                  <c:v>11.609935088519894</c:v>
                </c:pt>
                <c:pt idx="66">
                  <c:v>10.553833872848632</c:v>
                </c:pt>
                <c:pt idx="67">
                  <c:v>9.8976484708690684</c:v>
                </c:pt>
                <c:pt idx="68">
                  <c:v>9.357536980286147</c:v>
                </c:pt>
                <c:pt idx="69">
                  <c:v>10.412633066286212</c:v>
                </c:pt>
                <c:pt idx="70">
                  <c:v>10.459556142749776</c:v>
                </c:pt>
                <c:pt idx="71">
                  <c:v>9.6094285154464174</c:v>
                </c:pt>
                <c:pt idx="72">
                  <c:v>8.7503843600095159</c:v>
                </c:pt>
                <c:pt idx="73">
                  <c:v>8.1088183102003928</c:v>
                </c:pt>
                <c:pt idx="74">
                  <c:v>7.4362398194641655</c:v>
                </c:pt>
                <c:pt idx="75">
                  <c:v>6.6842990757071101</c:v>
                </c:pt>
                <c:pt idx="76">
                  <c:v>6.3659938687881663</c:v>
                </c:pt>
                <c:pt idx="77">
                  <c:v>6.1278068216192105</c:v>
                </c:pt>
                <c:pt idx="78">
                  <c:v>6.0139709511695738</c:v>
                </c:pt>
                <c:pt idx="79">
                  <c:v>6.1646589128512792</c:v>
                </c:pt>
                <c:pt idx="80">
                  <c:v>6.4104637992730762</c:v>
                </c:pt>
                <c:pt idx="81">
                  <c:v>6.9678694961421535</c:v>
                </c:pt>
                <c:pt idx="82">
                  <c:v>6.655111864276563</c:v>
                </c:pt>
                <c:pt idx="83">
                  <c:v>6.845422070564017</c:v>
                </c:pt>
                <c:pt idx="84">
                  <c:v>6.4097883067705963</c:v>
                </c:pt>
                <c:pt idx="85">
                  <c:v>6.6741163411590607</c:v>
                </c:pt>
                <c:pt idx="86">
                  <c:v>6.2398440052105801</c:v>
                </c:pt>
                <c:pt idx="87">
                  <c:v>6.4892532519540485</c:v>
                </c:pt>
                <c:pt idx="88">
                  <c:v>6.4070234266519135</c:v>
                </c:pt>
                <c:pt idx="89">
                  <c:v>7.2873631435354129</c:v>
                </c:pt>
                <c:pt idx="90">
                  <c:v>7.1492037619025277</c:v>
                </c:pt>
                <c:pt idx="91">
                  <c:v>6.749638590671716</c:v>
                </c:pt>
                <c:pt idx="92">
                  <c:v>6.3231556844820362</c:v>
                </c:pt>
                <c:pt idx="93">
                  <c:v>5.6119049561124692</c:v>
                </c:pt>
                <c:pt idx="94">
                  <c:v>5.4170253491016878</c:v>
                </c:pt>
                <c:pt idx="95">
                  <c:v>4.9651070298343862</c:v>
                </c:pt>
                <c:pt idx="96">
                  <c:v>5.220602647114017</c:v>
                </c:pt>
                <c:pt idx="97">
                  <c:v>5.6780841713516503</c:v>
                </c:pt>
                <c:pt idx="98">
                  <c:v>6.0152336398827293</c:v>
                </c:pt>
                <c:pt idx="99">
                  <c:v>6.2194378005739157</c:v>
                </c:pt>
                <c:pt idx="100">
                  <c:v>5.954968565719577</c:v>
                </c:pt>
                <c:pt idx="101">
                  <c:v>6.0674783729757351</c:v>
                </c:pt>
                <c:pt idx="102">
                  <c:v>5.6938287272105885</c:v>
                </c:pt>
                <c:pt idx="103">
                  <c:v>5.4096277608085757</c:v>
                </c:pt>
                <c:pt idx="104">
                  <c:v>5.1817862296526105</c:v>
                </c:pt>
                <c:pt idx="105">
                  <c:v>5.4936762999991657</c:v>
                </c:pt>
                <c:pt idx="106">
                  <c:v>5.7701532837338023</c:v>
                </c:pt>
                <c:pt idx="107">
                  <c:v>5.8653211384190911</c:v>
                </c:pt>
                <c:pt idx="108">
                  <c:v>5.6977781275825423</c:v>
                </c:pt>
                <c:pt idx="109">
                  <c:v>5.5585215215381734</c:v>
                </c:pt>
                <c:pt idx="110">
                  <c:v>5.0146671714387558</c:v>
                </c:pt>
                <c:pt idx="111">
                  <c:v>5.8165658591937417</c:v>
                </c:pt>
                <c:pt idx="112">
                  <c:v>6.6816210429026981</c:v>
                </c:pt>
                <c:pt idx="113">
                  <c:v>10.212514519468714</c:v>
                </c:pt>
                <c:pt idx="114">
                  <c:v>11.713109208995647</c:v>
                </c:pt>
                <c:pt idx="115">
                  <c:v>14.46498495163703</c:v>
                </c:pt>
                <c:pt idx="116">
                  <c:v>14.802565368184711</c:v>
                </c:pt>
                <c:pt idx="117">
                  <c:v>12.959090280111484</c:v>
                </c:pt>
                <c:pt idx="118">
                  <c:v>10.760772407550581</c:v>
                </c:pt>
                <c:pt idx="119">
                  <c:v>8.1616628364063875</c:v>
                </c:pt>
                <c:pt idx="120">
                  <c:v>7.5900175362658109</c:v>
                </c:pt>
                <c:pt idx="121">
                  <c:v>7.1628504413355119</c:v>
                </c:pt>
                <c:pt idx="122">
                  <c:v>6.7003879930022689</c:v>
                </c:pt>
                <c:pt idx="123">
                  <c:v>6.4727792241698161</c:v>
                </c:pt>
                <c:pt idx="124">
                  <c:v>6.1991174531886086</c:v>
                </c:pt>
                <c:pt idx="125">
                  <c:v>5.916550901723193</c:v>
                </c:pt>
                <c:pt idx="126">
                  <c:v>5.4956797058953724</c:v>
                </c:pt>
                <c:pt idx="127">
                  <c:v>5.4947818755203564</c:v>
                </c:pt>
                <c:pt idx="128">
                  <c:v>5.1386614464149503</c:v>
                </c:pt>
                <c:pt idx="129">
                  <c:v>5.5894290501002182</c:v>
                </c:pt>
                <c:pt idx="130">
                  <c:v>4.7979302029422835</c:v>
                </c:pt>
                <c:pt idx="131">
                  <c:v>4.5080527265926991</c:v>
                </c:pt>
                <c:pt idx="132">
                  <c:v>4.4891522453300787</c:v>
                </c:pt>
                <c:pt idx="133">
                  <c:v>5.0055806683047779</c:v>
                </c:pt>
                <c:pt idx="134">
                  <c:v>5.4658253080641197</c:v>
                </c:pt>
                <c:pt idx="135">
                  <c:v>4.9865279975856556</c:v>
                </c:pt>
                <c:pt idx="136">
                  <c:v>4.5214545178438295</c:v>
                </c:pt>
                <c:pt idx="137">
                  <c:v>4.2794639553012974</c:v>
                </c:pt>
                <c:pt idx="138">
                  <c:v>4.1669977032082857</c:v>
                </c:pt>
                <c:pt idx="139">
                  <c:v>4.2322922686499664</c:v>
                </c:pt>
                <c:pt idx="140">
                  <c:v>4.3955459815213995</c:v>
                </c:pt>
                <c:pt idx="141">
                  <c:v>4.8095384947496651</c:v>
                </c:pt>
                <c:pt idx="142">
                  <c:v>4.8605299955046837</c:v>
                </c:pt>
                <c:pt idx="143">
                  <c:v>4.5930199257602959</c:v>
                </c:pt>
                <c:pt idx="144">
                  <c:v>4.6102547370996847</c:v>
                </c:pt>
                <c:pt idx="145">
                  <c:v>5.0628086049608383</c:v>
                </c:pt>
                <c:pt idx="146">
                  <c:v>5.4428437525903819</c:v>
                </c:pt>
                <c:pt idx="147">
                  <c:v>4.9483479618614759</c:v>
                </c:pt>
                <c:pt idx="148">
                  <c:v>4.7396155075416457</c:v>
                </c:pt>
                <c:pt idx="149">
                  <c:v>5.0143728077991918</c:v>
                </c:pt>
                <c:pt idx="150">
                  <c:v>5.5888267711483612</c:v>
                </c:pt>
                <c:pt idx="151">
                  <c:v>5.8367976315302537</c:v>
                </c:pt>
                <c:pt idx="152">
                  <c:v>6.2875341739164554</c:v>
                </c:pt>
                <c:pt idx="153">
                  <c:v>6.257671914158708</c:v>
                </c:pt>
                <c:pt idx="154">
                  <c:v>6.3266566736986425</c:v>
                </c:pt>
                <c:pt idx="155">
                  <c:v>5.7232553520612557</c:v>
                </c:pt>
                <c:pt idx="156">
                  <c:v>5.6160435972269926</c:v>
                </c:pt>
                <c:pt idx="157">
                  <c:v>5.2312196283181374</c:v>
                </c:pt>
                <c:pt idx="158">
                  <c:v>5.1783163358388649</c:v>
                </c:pt>
              </c:numCache>
            </c:numRef>
          </c:val>
          <c:smooth val="0"/>
          <c:extLst>
            <c:ext xmlns:c16="http://schemas.microsoft.com/office/drawing/2014/chart" uri="{C3380CC4-5D6E-409C-BE32-E72D297353CC}">
              <c16:uniqueId val="{00000000-D233-4DE8-8FCE-55BF34BFEF87}"/>
            </c:ext>
          </c:extLst>
        </c:ser>
        <c:dLbls>
          <c:showLegendKey val="0"/>
          <c:showVal val="0"/>
          <c:showCatName val="0"/>
          <c:showSerName val="0"/>
          <c:showPercent val="0"/>
          <c:showBubbleSize val="0"/>
        </c:dLbls>
        <c:smooth val="0"/>
        <c:axId val="71011135"/>
        <c:axId val="71014743"/>
      </c:lineChart>
      <c:dateAx>
        <c:axId val="71011135"/>
        <c:scaling>
          <c:orientation val="minMax"/>
          <c:min val="43160"/>
        </c:scaling>
        <c:delete val="0"/>
        <c:axPos val="b"/>
        <c:numFmt formatCode="[$-409]mmm\-yy;@" sourceLinked="1"/>
        <c:majorTickMark val="out"/>
        <c:minorTickMark val="none"/>
        <c:tickLblPos val="nextTo"/>
        <c:spPr>
          <a:noFill/>
          <a:ln w="6350" cap="flat" cmpd="sng" algn="ctr">
            <a:solidFill>
              <a:schemeClr val="accent4"/>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crossAx val="71014743"/>
        <c:crosses val="autoZero"/>
        <c:auto val="1"/>
        <c:lblOffset val="100"/>
        <c:baseTimeUnit val="months"/>
        <c:majorUnit val="24"/>
        <c:majorTimeUnit val="months"/>
      </c:dateAx>
      <c:valAx>
        <c:axId val="71014743"/>
        <c:scaling>
          <c:orientation val="minMax"/>
          <c:max val="8"/>
          <c:min val="3"/>
        </c:scaling>
        <c:delete val="0"/>
        <c:axPos val="l"/>
        <c:majorGridlines>
          <c:spPr>
            <a:ln w="3175" cap="flat" cmpd="sng" algn="ctr">
              <a:solidFill>
                <a:schemeClr val="accent4">
                  <a:lumMod val="20000"/>
                  <a:lumOff val="80000"/>
                </a:schemeClr>
              </a:solidFill>
              <a:round/>
            </a:ln>
            <a:effectLst/>
          </c:spPr>
        </c:majorGridlines>
        <c:numFmt formatCode="#,##0.0_);\(#,##0.0\);\–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crossAx val="71011135"/>
        <c:crosses val="autoZero"/>
        <c:crossBetween val="between"/>
        <c:majorUnit val="1"/>
      </c:valAx>
      <c:spPr>
        <a:noFill/>
        <a:ln>
          <a:noFill/>
        </a:ln>
        <a:effectLst/>
      </c:spPr>
    </c:plotArea>
    <c:plotVisOnly val="1"/>
    <c:dispBlanksAs val="gap"/>
    <c:showDLblsOverMax val="0"/>
    <c:extLst/>
  </c:chart>
  <c:spPr>
    <a:solidFill>
      <a:schemeClr val="bg1"/>
    </a:solidFill>
    <a:ln w="9525" cap="flat" cmpd="sng" algn="ctr">
      <a:noFill/>
      <a:round/>
    </a:ln>
    <a:effectLst/>
  </c:spPr>
  <c:txPr>
    <a:bodyPr/>
    <a:lstStyle/>
    <a:p>
      <a:pPr>
        <a:defRPr>
          <a:latin typeface="Arial" panose="020B0604020202020204" pitchFamily="34" charset="0"/>
          <a:cs typeface="Arial" panose="020B0604020202020204" pitchFamily="34" charset="0"/>
        </a:defRPr>
      </a:pPr>
      <a:endParaRPr lang="fr-FR"/>
    </a:p>
  </c:txPr>
  <c:externalData r:id="rId4">
    <c:autoUpdate val="0"/>
  </c:externalData>
  <c:userShapes r:id="rId5"/>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v>Onshore (L Axis)</c:v>
          </c:tx>
          <c:spPr>
            <a:ln w="25400" cap="rnd">
              <a:solidFill>
                <a:schemeClr val="accent1"/>
              </a:solidFill>
              <a:round/>
            </a:ln>
            <a:effectLst/>
          </c:spPr>
          <c:marker>
            <c:symbol val="none"/>
          </c:marker>
          <c:cat>
            <c:numRef>
              <c:f>'Int''l Rig Count'!$A$3:$A$650</c:f>
              <c:numCache>
                <c:formatCode>[$-409]mmm\-yy;@</c:formatCode>
                <c:ptCount val="648"/>
                <c:pt idx="0">
                  <c:v>29952</c:v>
                </c:pt>
                <c:pt idx="1">
                  <c:v>29983</c:v>
                </c:pt>
                <c:pt idx="2">
                  <c:v>30011</c:v>
                </c:pt>
                <c:pt idx="3">
                  <c:v>30042</c:v>
                </c:pt>
                <c:pt idx="4">
                  <c:v>30072</c:v>
                </c:pt>
                <c:pt idx="5">
                  <c:v>30103</c:v>
                </c:pt>
                <c:pt idx="6">
                  <c:v>30133</c:v>
                </c:pt>
                <c:pt idx="7">
                  <c:v>30164</c:v>
                </c:pt>
                <c:pt idx="8">
                  <c:v>30195</c:v>
                </c:pt>
                <c:pt idx="9">
                  <c:v>30225</c:v>
                </c:pt>
                <c:pt idx="10">
                  <c:v>30256</c:v>
                </c:pt>
                <c:pt idx="11">
                  <c:v>30286</c:v>
                </c:pt>
                <c:pt idx="12">
                  <c:v>30317</c:v>
                </c:pt>
                <c:pt idx="13">
                  <c:v>30348</c:v>
                </c:pt>
                <c:pt idx="14">
                  <c:v>30376</c:v>
                </c:pt>
                <c:pt idx="15">
                  <c:v>30407</c:v>
                </c:pt>
                <c:pt idx="16">
                  <c:v>30437</c:v>
                </c:pt>
                <c:pt idx="17">
                  <c:v>30468</c:v>
                </c:pt>
                <c:pt idx="18">
                  <c:v>30498</c:v>
                </c:pt>
                <c:pt idx="19">
                  <c:v>30529</c:v>
                </c:pt>
                <c:pt idx="20">
                  <c:v>30560</c:v>
                </c:pt>
                <c:pt idx="21">
                  <c:v>30590</c:v>
                </c:pt>
                <c:pt idx="22">
                  <c:v>30621</c:v>
                </c:pt>
                <c:pt idx="23">
                  <c:v>30651</c:v>
                </c:pt>
                <c:pt idx="24">
                  <c:v>30682</c:v>
                </c:pt>
                <c:pt idx="25">
                  <c:v>30713</c:v>
                </c:pt>
                <c:pt idx="26">
                  <c:v>30742</c:v>
                </c:pt>
                <c:pt idx="27">
                  <c:v>30773</c:v>
                </c:pt>
                <c:pt idx="28">
                  <c:v>30803</c:v>
                </c:pt>
                <c:pt idx="29">
                  <c:v>30834</c:v>
                </c:pt>
                <c:pt idx="30">
                  <c:v>30864</c:v>
                </c:pt>
                <c:pt idx="31">
                  <c:v>30895</c:v>
                </c:pt>
                <c:pt idx="32">
                  <c:v>30926</c:v>
                </c:pt>
                <c:pt idx="33">
                  <c:v>30956</c:v>
                </c:pt>
                <c:pt idx="34">
                  <c:v>30987</c:v>
                </c:pt>
                <c:pt idx="35">
                  <c:v>31017</c:v>
                </c:pt>
                <c:pt idx="36">
                  <c:v>31048</c:v>
                </c:pt>
                <c:pt idx="37">
                  <c:v>31079</c:v>
                </c:pt>
                <c:pt idx="38">
                  <c:v>31107</c:v>
                </c:pt>
                <c:pt idx="39">
                  <c:v>31138</c:v>
                </c:pt>
                <c:pt idx="40">
                  <c:v>31168</c:v>
                </c:pt>
                <c:pt idx="41">
                  <c:v>31199</c:v>
                </c:pt>
                <c:pt idx="42">
                  <c:v>31229</c:v>
                </c:pt>
                <c:pt idx="43">
                  <c:v>31260</c:v>
                </c:pt>
                <c:pt idx="44">
                  <c:v>31291</c:v>
                </c:pt>
                <c:pt idx="45">
                  <c:v>31321</c:v>
                </c:pt>
                <c:pt idx="46">
                  <c:v>31352</c:v>
                </c:pt>
                <c:pt idx="47">
                  <c:v>31382</c:v>
                </c:pt>
                <c:pt idx="48">
                  <c:v>31413</c:v>
                </c:pt>
                <c:pt idx="49">
                  <c:v>31444</c:v>
                </c:pt>
                <c:pt idx="50">
                  <c:v>31472</c:v>
                </c:pt>
                <c:pt idx="51">
                  <c:v>31503</c:v>
                </c:pt>
                <c:pt idx="52">
                  <c:v>31533</c:v>
                </c:pt>
                <c:pt idx="53">
                  <c:v>31564</c:v>
                </c:pt>
                <c:pt idx="54">
                  <c:v>31594</c:v>
                </c:pt>
                <c:pt idx="55">
                  <c:v>31625</c:v>
                </c:pt>
                <c:pt idx="56">
                  <c:v>31656</c:v>
                </c:pt>
                <c:pt idx="57">
                  <c:v>31686</c:v>
                </c:pt>
                <c:pt idx="58">
                  <c:v>31717</c:v>
                </c:pt>
                <c:pt idx="59">
                  <c:v>31747</c:v>
                </c:pt>
                <c:pt idx="60">
                  <c:v>31778</c:v>
                </c:pt>
                <c:pt idx="61">
                  <c:v>31809</c:v>
                </c:pt>
                <c:pt idx="62">
                  <c:v>31837</c:v>
                </c:pt>
                <c:pt idx="63">
                  <c:v>31868</c:v>
                </c:pt>
                <c:pt idx="64">
                  <c:v>31898</c:v>
                </c:pt>
                <c:pt idx="65">
                  <c:v>31929</c:v>
                </c:pt>
                <c:pt idx="66">
                  <c:v>31959</c:v>
                </c:pt>
                <c:pt idx="67">
                  <c:v>31990</c:v>
                </c:pt>
                <c:pt idx="68">
                  <c:v>32021</c:v>
                </c:pt>
                <c:pt idx="69">
                  <c:v>32051</c:v>
                </c:pt>
                <c:pt idx="70">
                  <c:v>32082</c:v>
                </c:pt>
                <c:pt idx="71">
                  <c:v>32112</c:v>
                </c:pt>
                <c:pt idx="72">
                  <c:v>32143</c:v>
                </c:pt>
                <c:pt idx="73">
                  <c:v>32174</c:v>
                </c:pt>
                <c:pt idx="74">
                  <c:v>32203</c:v>
                </c:pt>
                <c:pt idx="75">
                  <c:v>32234</c:v>
                </c:pt>
                <c:pt idx="76">
                  <c:v>32264</c:v>
                </c:pt>
                <c:pt idx="77">
                  <c:v>32295</c:v>
                </c:pt>
                <c:pt idx="78">
                  <c:v>32325</c:v>
                </c:pt>
                <c:pt idx="79">
                  <c:v>32356</c:v>
                </c:pt>
                <c:pt idx="80">
                  <c:v>32387</c:v>
                </c:pt>
                <c:pt idx="81">
                  <c:v>32417</c:v>
                </c:pt>
                <c:pt idx="82">
                  <c:v>32448</c:v>
                </c:pt>
                <c:pt idx="83">
                  <c:v>32478</c:v>
                </c:pt>
                <c:pt idx="84">
                  <c:v>32509</c:v>
                </c:pt>
                <c:pt idx="85">
                  <c:v>32540</c:v>
                </c:pt>
                <c:pt idx="86">
                  <c:v>32568</c:v>
                </c:pt>
                <c:pt idx="87">
                  <c:v>32599</c:v>
                </c:pt>
                <c:pt idx="88">
                  <c:v>32629</c:v>
                </c:pt>
                <c:pt idx="89">
                  <c:v>32660</c:v>
                </c:pt>
                <c:pt idx="90">
                  <c:v>32690</c:v>
                </c:pt>
                <c:pt idx="91">
                  <c:v>32721</c:v>
                </c:pt>
                <c:pt idx="92">
                  <c:v>32752</c:v>
                </c:pt>
                <c:pt idx="93">
                  <c:v>32782</c:v>
                </c:pt>
                <c:pt idx="94">
                  <c:v>32813</c:v>
                </c:pt>
                <c:pt idx="95">
                  <c:v>32843</c:v>
                </c:pt>
                <c:pt idx="96">
                  <c:v>32874</c:v>
                </c:pt>
                <c:pt idx="97">
                  <c:v>32905</c:v>
                </c:pt>
                <c:pt idx="98">
                  <c:v>32933</c:v>
                </c:pt>
                <c:pt idx="99">
                  <c:v>32964</c:v>
                </c:pt>
                <c:pt idx="100">
                  <c:v>32994</c:v>
                </c:pt>
                <c:pt idx="101">
                  <c:v>33025</c:v>
                </c:pt>
                <c:pt idx="102">
                  <c:v>33055</c:v>
                </c:pt>
                <c:pt idx="103">
                  <c:v>33086</c:v>
                </c:pt>
                <c:pt idx="104">
                  <c:v>33117</c:v>
                </c:pt>
                <c:pt idx="105">
                  <c:v>33147</c:v>
                </c:pt>
                <c:pt idx="106">
                  <c:v>33178</c:v>
                </c:pt>
                <c:pt idx="107">
                  <c:v>33208</c:v>
                </c:pt>
                <c:pt idx="108">
                  <c:v>33239</c:v>
                </c:pt>
                <c:pt idx="109">
                  <c:v>33270</c:v>
                </c:pt>
                <c:pt idx="110">
                  <c:v>33298</c:v>
                </c:pt>
                <c:pt idx="111">
                  <c:v>33329</c:v>
                </c:pt>
                <c:pt idx="112">
                  <c:v>33359</c:v>
                </c:pt>
                <c:pt idx="113">
                  <c:v>33390</c:v>
                </c:pt>
                <c:pt idx="114">
                  <c:v>33420</c:v>
                </c:pt>
                <c:pt idx="115">
                  <c:v>33451</c:v>
                </c:pt>
                <c:pt idx="116">
                  <c:v>33482</c:v>
                </c:pt>
                <c:pt idx="117">
                  <c:v>33512</c:v>
                </c:pt>
                <c:pt idx="118">
                  <c:v>33543</c:v>
                </c:pt>
                <c:pt idx="119">
                  <c:v>33573</c:v>
                </c:pt>
                <c:pt idx="120">
                  <c:v>33604</c:v>
                </c:pt>
                <c:pt idx="121">
                  <c:v>33635</c:v>
                </c:pt>
                <c:pt idx="122">
                  <c:v>33664</c:v>
                </c:pt>
                <c:pt idx="123">
                  <c:v>33695</c:v>
                </c:pt>
                <c:pt idx="124">
                  <c:v>33725</c:v>
                </c:pt>
                <c:pt idx="125">
                  <c:v>33756</c:v>
                </c:pt>
                <c:pt idx="126">
                  <c:v>33786</c:v>
                </c:pt>
                <c:pt idx="127">
                  <c:v>33817</c:v>
                </c:pt>
                <c:pt idx="128">
                  <c:v>33848</c:v>
                </c:pt>
                <c:pt idx="129">
                  <c:v>33878</c:v>
                </c:pt>
                <c:pt idx="130">
                  <c:v>33909</c:v>
                </c:pt>
                <c:pt idx="131">
                  <c:v>33939</c:v>
                </c:pt>
                <c:pt idx="132">
                  <c:v>33970</c:v>
                </c:pt>
                <c:pt idx="133">
                  <c:v>34001</c:v>
                </c:pt>
                <c:pt idx="134">
                  <c:v>34029</c:v>
                </c:pt>
                <c:pt idx="135">
                  <c:v>34060</c:v>
                </c:pt>
                <c:pt idx="136">
                  <c:v>34090</c:v>
                </c:pt>
                <c:pt idx="137">
                  <c:v>34121</c:v>
                </c:pt>
                <c:pt idx="138">
                  <c:v>34151</c:v>
                </c:pt>
                <c:pt idx="139">
                  <c:v>34182</c:v>
                </c:pt>
                <c:pt idx="140">
                  <c:v>34213</c:v>
                </c:pt>
                <c:pt idx="141">
                  <c:v>34243</c:v>
                </c:pt>
                <c:pt idx="142">
                  <c:v>34274</c:v>
                </c:pt>
                <c:pt idx="143">
                  <c:v>34304</c:v>
                </c:pt>
                <c:pt idx="144">
                  <c:v>34335</c:v>
                </c:pt>
                <c:pt idx="145">
                  <c:v>34366</c:v>
                </c:pt>
                <c:pt idx="146">
                  <c:v>34394</c:v>
                </c:pt>
                <c:pt idx="147">
                  <c:v>34425</c:v>
                </c:pt>
                <c:pt idx="148">
                  <c:v>34455</c:v>
                </c:pt>
                <c:pt idx="149">
                  <c:v>34486</c:v>
                </c:pt>
                <c:pt idx="150">
                  <c:v>34516</c:v>
                </c:pt>
                <c:pt idx="151">
                  <c:v>34547</c:v>
                </c:pt>
                <c:pt idx="152">
                  <c:v>34578</c:v>
                </c:pt>
                <c:pt idx="153">
                  <c:v>34608</c:v>
                </c:pt>
                <c:pt idx="154">
                  <c:v>34639</c:v>
                </c:pt>
                <c:pt idx="155">
                  <c:v>34669</c:v>
                </c:pt>
                <c:pt idx="156">
                  <c:v>34700</c:v>
                </c:pt>
                <c:pt idx="157">
                  <c:v>34731</c:v>
                </c:pt>
                <c:pt idx="158">
                  <c:v>34759</c:v>
                </c:pt>
                <c:pt idx="159">
                  <c:v>34790</c:v>
                </c:pt>
                <c:pt idx="160">
                  <c:v>34820</c:v>
                </c:pt>
                <c:pt idx="161">
                  <c:v>34851</c:v>
                </c:pt>
                <c:pt idx="162">
                  <c:v>34881</c:v>
                </c:pt>
                <c:pt idx="163">
                  <c:v>34912</c:v>
                </c:pt>
                <c:pt idx="164">
                  <c:v>34943</c:v>
                </c:pt>
                <c:pt idx="165">
                  <c:v>34973</c:v>
                </c:pt>
                <c:pt idx="166">
                  <c:v>35004</c:v>
                </c:pt>
                <c:pt idx="167">
                  <c:v>35034</c:v>
                </c:pt>
                <c:pt idx="168">
                  <c:v>35065</c:v>
                </c:pt>
                <c:pt idx="169">
                  <c:v>35096</c:v>
                </c:pt>
                <c:pt idx="170">
                  <c:v>35125</c:v>
                </c:pt>
                <c:pt idx="171">
                  <c:v>35156</c:v>
                </c:pt>
                <c:pt idx="172">
                  <c:v>35186</c:v>
                </c:pt>
                <c:pt idx="173">
                  <c:v>35217</c:v>
                </c:pt>
                <c:pt idx="174">
                  <c:v>35247</c:v>
                </c:pt>
                <c:pt idx="175">
                  <c:v>35278</c:v>
                </c:pt>
                <c:pt idx="176">
                  <c:v>35309</c:v>
                </c:pt>
                <c:pt idx="177">
                  <c:v>35339</c:v>
                </c:pt>
                <c:pt idx="178">
                  <c:v>35370</c:v>
                </c:pt>
                <c:pt idx="179">
                  <c:v>35400</c:v>
                </c:pt>
                <c:pt idx="180">
                  <c:v>35431</c:v>
                </c:pt>
                <c:pt idx="181">
                  <c:v>35462</c:v>
                </c:pt>
                <c:pt idx="182">
                  <c:v>35490</c:v>
                </c:pt>
                <c:pt idx="183">
                  <c:v>35521</c:v>
                </c:pt>
                <c:pt idx="184">
                  <c:v>35551</c:v>
                </c:pt>
                <c:pt idx="185">
                  <c:v>35582</c:v>
                </c:pt>
                <c:pt idx="186">
                  <c:v>35612</c:v>
                </c:pt>
                <c:pt idx="187">
                  <c:v>35643</c:v>
                </c:pt>
                <c:pt idx="188">
                  <c:v>35674</c:v>
                </c:pt>
                <c:pt idx="189">
                  <c:v>35704</c:v>
                </c:pt>
                <c:pt idx="190">
                  <c:v>35735</c:v>
                </c:pt>
                <c:pt idx="191">
                  <c:v>35765</c:v>
                </c:pt>
                <c:pt idx="192">
                  <c:v>35796</c:v>
                </c:pt>
                <c:pt idx="193">
                  <c:v>35827</c:v>
                </c:pt>
                <c:pt idx="194">
                  <c:v>35855</c:v>
                </c:pt>
                <c:pt idx="195">
                  <c:v>35886</c:v>
                </c:pt>
                <c:pt idx="196">
                  <c:v>35916</c:v>
                </c:pt>
                <c:pt idx="197">
                  <c:v>35947</c:v>
                </c:pt>
                <c:pt idx="198">
                  <c:v>35977</c:v>
                </c:pt>
                <c:pt idx="199">
                  <c:v>36008</c:v>
                </c:pt>
                <c:pt idx="200">
                  <c:v>36039</c:v>
                </c:pt>
                <c:pt idx="201">
                  <c:v>36069</c:v>
                </c:pt>
                <c:pt idx="202">
                  <c:v>36100</c:v>
                </c:pt>
                <c:pt idx="203">
                  <c:v>36130</c:v>
                </c:pt>
                <c:pt idx="204">
                  <c:v>36161</c:v>
                </c:pt>
                <c:pt idx="205">
                  <c:v>36192</c:v>
                </c:pt>
                <c:pt idx="206">
                  <c:v>36220</c:v>
                </c:pt>
                <c:pt idx="207">
                  <c:v>36251</c:v>
                </c:pt>
                <c:pt idx="208">
                  <c:v>36281</c:v>
                </c:pt>
                <c:pt idx="209">
                  <c:v>36312</c:v>
                </c:pt>
                <c:pt idx="210">
                  <c:v>36342</c:v>
                </c:pt>
                <c:pt idx="211">
                  <c:v>36373</c:v>
                </c:pt>
                <c:pt idx="212">
                  <c:v>36404</c:v>
                </c:pt>
                <c:pt idx="213">
                  <c:v>36434</c:v>
                </c:pt>
                <c:pt idx="214">
                  <c:v>36465</c:v>
                </c:pt>
                <c:pt idx="215">
                  <c:v>36495</c:v>
                </c:pt>
                <c:pt idx="216">
                  <c:v>36526</c:v>
                </c:pt>
                <c:pt idx="217">
                  <c:v>36557</c:v>
                </c:pt>
                <c:pt idx="218">
                  <c:v>36586</c:v>
                </c:pt>
                <c:pt idx="219">
                  <c:v>36617</c:v>
                </c:pt>
                <c:pt idx="220">
                  <c:v>36647</c:v>
                </c:pt>
                <c:pt idx="221">
                  <c:v>36678</c:v>
                </c:pt>
                <c:pt idx="222">
                  <c:v>36708</c:v>
                </c:pt>
                <c:pt idx="223">
                  <c:v>36739</c:v>
                </c:pt>
                <c:pt idx="224">
                  <c:v>36770</c:v>
                </c:pt>
                <c:pt idx="225">
                  <c:v>36800</c:v>
                </c:pt>
                <c:pt idx="226">
                  <c:v>36831</c:v>
                </c:pt>
                <c:pt idx="227">
                  <c:v>36861</c:v>
                </c:pt>
                <c:pt idx="228">
                  <c:v>36892</c:v>
                </c:pt>
                <c:pt idx="229">
                  <c:v>36923</c:v>
                </c:pt>
                <c:pt idx="230">
                  <c:v>36951</c:v>
                </c:pt>
                <c:pt idx="231">
                  <c:v>36982</c:v>
                </c:pt>
                <c:pt idx="232">
                  <c:v>37012</c:v>
                </c:pt>
                <c:pt idx="233">
                  <c:v>37043</c:v>
                </c:pt>
                <c:pt idx="234">
                  <c:v>37073</c:v>
                </c:pt>
                <c:pt idx="235">
                  <c:v>37104</c:v>
                </c:pt>
                <c:pt idx="236">
                  <c:v>37135</c:v>
                </c:pt>
                <c:pt idx="237">
                  <c:v>37165</c:v>
                </c:pt>
                <c:pt idx="238">
                  <c:v>37196</c:v>
                </c:pt>
                <c:pt idx="239">
                  <c:v>37226</c:v>
                </c:pt>
                <c:pt idx="240">
                  <c:v>37258</c:v>
                </c:pt>
                <c:pt idx="241">
                  <c:v>37289</c:v>
                </c:pt>
                <c:pt idx="242">
                  <c:v>37317</c:v>
                </c:pt>
                <c:pt idx="243">
                  <c:v>37348</c:v>
                </c:pt>
                <c:pt idx="244">
                  <c:v>37378</c:v>
                </c:pt>
                <c:pt idx="245">
                  <c:v>37409</c:v>
                </c:pt>
                <c:pt idx="246">
                  <c:v>37439</c:v>
                </c:pt>
                <c:pt idx="247">
                  <c:v>37470</c:v>
                </c:pt>
                <c:pt idx="248">
                  <c:v>37501</c:v>
                </c:pt>
                <c:pt idx="249">
                  <c:v>37531</c:v>
                </c:pt>
                <c:pt idx="250">
                  <c:v>37562</c:v>
                </c:pt>
                <c:pt idx="251">
                  <c:v>37591</c:v>
                </c:pt>
                <c:pt idx="252">
                  <c:v>37624</c:v>
                </c:pt>
                <c:pt idx="253">
                  <c:v>37655</c:v>
                </c:pt>
                <c:pt idx="254">
                  <c:v>37683</c:v>
                </c:pt>
                <c:pt idx="255">
                  <c:v>37714</c:v>
                </c:pt>
                <c:pt idx="256">
                  <c:v>37744</c:v>
                </c:pt>
                <c:pt idx="257">
                  <c:v>37775</c:v>
                </c:pt>
                <c:pt idx="258">
                  <c:v>37805</c:v>
                </c:pt>
                <c:pt idx="259">
                  <c:v>37836</c:v>
                </c:pt>
                <c:pt idx="260">
                  <c:v>37867</c:v>
                </c:pt>
                <c:pt idx="261">
                  <c:v>37897</c:v>
                </c:pt>
                <c:pt idx="262">
                  <c:v>37928</c:v>
                </c:pt>
                <c:pt idx="263">
                  <c:v>37956</c:v>
                </c:pt>
                <c:pt idx="264">
                  <c:v>37990</c:v>
                </c:pt>
                <c:pt idx="265">
                  <c:v>38021</c:v>
                </c:pt>
                <c:pt idx="266">
                  <c:v>38050</c:v>
                </c:pt>
                <c:pt idx="267">
                  <c:v>38081</c:v>
                </c:pt>
                <c:pt idx="268">
                  <c:v>38111</c:v>
                </c:pt>
                <c:pt idx="269">
                  <c:v>38142</c:v>
                </c:pt>
                <c:pt idx="270">
                  <c:v>38172</c:v>
                </c:pt>
                <c:pt idx="271">
                  <c:v>38203</c:v>
                </c:pt>
                <c:pt idx="272">
                  <c:v>38234</c:v>
                </c:pt>
                <c:pt idx="273">
                  <c:v>38264</c:v>
                </c:pt>
                <c:pt idx="274">
                  <c:v>38295</c:v>
                </c:pt>
                <c:pt idx="275">
                  <c:v>38322</c:v>
                </c:pt>
                <c:pt idx="276">
                  <c:v>38357</c:v>
                </c:pt>
                <c:pt idx="277">
                  <c:v>38388</c:v>
                </c:pt>
                <c:pt idx="278">
                  <c:v>38416</c:v>
                </c:pt>
                <c:pt idx="279">
                  <c:v>38443</c:v>
                </c:pt>
                <c:pt idx="280">
                  <c:v>38477</c:v>
                </c:pt>
                <c:pt idx="281">
                  <c:v>38508</c:v>
                </c:pt>
                <c:pt idx="282">
                  <c:v>38538</c:v>
                </c:pt>
                <c:pt idx="283">
                  <c:v>38569</c:v>
                </c:pt>
                <c:pt idx="284">
                  <c:v>38600</c:v>
                </c:pt>
                <c:pt idx="285">
                  <c:v>38630</c:v>
                </c:pt>
                <c:pt idx="286">
                  <c:v>38661</c:v>
                </c:pt>
                <c:pt idx="287">
                  <c:v>38687</c:v>
                </c:pt>
                <c:pt idx="288">
                  <c:v>38723</c:v>
                </c:pt>
                <c:pt idx="289">
                  <c:v>38754</c:v>
                </c:pt>
                <c:pt idx="290">
                  <c:v>38782</c:v>
                </c:pt>
                <c:pt idx="291">
                  <c:v>38813</c:v>
                </c:pt>
                <c:pt idx="292">
                  <c:v>38843</c:v>
                </c:pt>
                <c:pt idx="293">
                  <c:v>38874</c:v>
                </c:pt>
                <c:pt idx="294">
                  <c:v>38904</c:v>
                </c:pt>
                <c:pt idx="295">
                  <c:v>38935</c:v>
                </c:pt>
                <c:pt idx="296">
                  <c:v>38966</c:v>
                </c:pt>
                <c:pt idx="297">
                  <c:v>38996</c:v>
                </c:pt>
                <c:pt idx="298">
                  <c:v>39027</c:v>
                </c:pt>
                <c:pt idx="299">
                  <c:v>39057</c:v>
                </c:pt>
                <c:pt idx="300">
                  <c:v>39088</c:v>
                </c:pt>
                <c:pt idx="301">
                  <c:v>39119</c:v>
                </c:pt>
                <c:pt idx="302">
                  <c:v>39147</c:v>
                </c:pt>
                <c:pt idx="303">
                  <c:v>39178</c:v>
                </c:pt>
                <c:pt idx="304">
                  <c:v>39208</c:v>
                </c:pt>
                <c:pt idx="305">
                  <c:v>39239</c:v>
                </c:pt>
                <c:pt idx="306">
                  <c:v>39269</c:v>
                </c:pt>
                <c:pt idx="307">
                  <c:v>39301</c:v>
                </c:pt>
                <c:pt idx="308">
                  <c:v>39333</c:v>
                </c:pt>
                <c:pt idx="309">
                  <c:v>39365</c:v>
                </c:pt>
                <c:pt idx="310">
                  <c:v>39393</c:v>
                </c:pt>
                <c:pt idx="311">
                  <c:v>39417</c:v>
                </c:pt>
                <c:pt idx="312">
                  <c:v>39448</c:v>
                </c:pt>
                <c:pt idx="313">
                  <c:v>39485</c:v>
                </c:pt>
                <c:pt idx="314">
                  <c:v>39514</c:v>
                </c:pt>
                <c:pt idx="315">
                  <c:v>39545</c:v>
                </c:pt>
                <c:pt idx="316">
                  <c:v>39575</c:v>
                </c:pt>
                <c:pt idx="317">
                  <c:v>39607</c:v>
                </c:pt>
                <c:pt idx="318">
                  <c:v>39639</c:v>
                </c:pt>
                <c:pt idx="319">
                  <c:v>39671</c:v>
                </c:pt>
                <c:pt idx="320">
                  <c:v>39703</c:v>
                </c:pt>
                <c:pt idx="321">
                  <c:v>39735</c:v>
                </c:pt>
                <c:pt idx="322">
                  <c:v>39767</c:v>
                </c:pt>
                <c:pt idx="323">
                  <c:v>39799</c:v>
                </c:pt>
                <c:pt idx="324">
                  <c:v>39831</c:v>
                </c:pt>
                <c:pt idx="325">
                  <c:v>39853</c:v>
                </c:pt>
                <c:pt idx="326">
                  <c:v>39875</c:v>
                </c:pt>
                <c:pt idx="327">
                  <c:v>39904</c:v>
                </c:pt>
                <c:pt idx="328">
                  <c:v>39949</c:v>
                </c:pt>
                <c:pt idx="329">
                  <c:v>39986</c:v>
                </c:pt>
                <c:pt idx="330">
                  <c:v>40003</c:v>
                </c:pt>
                <c:pt idx="331">
                  <c:v>40034</c:v>
                </c:pt>
                <c:pt idx="332">
                  <c:v>40065</c:v>
                </c:pt>
                <c:pt idx="333">
                  <c:v>40095</c:v>
                </c:pt>
                <c:pt idx="334">
                  <c:v>40126</c:v>
                </c:pt>
                <c:pt idx="335">
                  <c:v>40156</c:v>
                </c:pt>
                <c:pt idx="336">
                  <c:v>40187</c:v>
                </c:pt>
                <c:pt idx="337">
                  <c:v>40218</c:v>
                </c:pt>
                <c:pt idx="338">
                  <c:v>40247</c:v>
                </c:pt>
                <c:pt idx="339">
                  <c:v>40278</c:v>
                </c:pt>
                <c:pt idx="340">
                  <c:v>40308</c:v>
                </c:pt>
                <c:pt idx="341">
                  <c:v>40339</c:v>
                </c:pt>
                <c:pt idx="342">
                  <c:v>40369</c:v>
                </c:pt>
                <c:pt idx="343">
                  <c:v>40400</c:v>
                </c:pt>
                <c:pt idx="344">
                  <c:v>40431</c:v>
                </c:pt>
                <c:pt idx="345">
                  <c:v>40461</c:v>
                </c:pt>
                <c:pt idx="346">
                  <c:v>40492</c:v>
                </c:pt>
                <c:pt idx="347">
                  <c:v>40522</c:v>
                </c:pt>
                <c:pt idx="348">
                  <c:v>40554</c:v>
                </c:pt>
                <c:pt idx="349">
                  <c:v>40585</c:v>
                </c:pt>
                <c:pt idx="350">
                  <c:v>40613</c:v>
                </c:pt>
                <c:pt idx="351">
                  <c:v>40644</c:v>
                </c:pt>
                <c:pt idx="352">
                  <c:v>40670</c:v>
                </c:pt>
                <c:pt idx="353">
                  <c:v>40696</c:v>
                </c:pt>
                <c:pt idx="354">
                  <c:v>40735</c:v>
                </c:pt>
                <c:pt idx="355">
                  <c:v>40766</c:v>
                </c:pt>
                <c:pt idx="356">
                  <c:v>40797</c:v>
                </c:pt>
                <c:pt idx="357">
                  <c:v>40827</c:v>
                </c:pt>
                <c:pt idx="358">
                  <c:v>40858</c:v>
                </c:pt>
                <c:pt idx="359">
                  <c:v>40888</c:v>
                </c:pt>
                <c:pt idx="360">
                  <c:v>40920</c:v>
                </c:pt>
                <c:pt idx="361">
                  <c:v>40952</c:v>
                </c:pt>
                <c:pt idx="362">
                  <c:v>40984</c:v>
                </c:pt>
                <c:pt idx="363">
                  <c:v>41016</c:v>
                </c:pt>
                <c:pt idx="364">
                  <c:v>41047</c:v>
                </c:pt>
                <c:pt idx="365">
                  <c:v>41078</c:v>
                </c:pt>
                <c:pt idx="366">
                  <c:v>41109</c:v>
                </c:pt>
                <c:pt idx="367">
                  <c:v>41141</c:v>
                </c:pt>
                <c:pt idx="368">
                  <c:v>41172</c:v>
                </c:pt>
                <c:pt idx="369">
                  <c:v>41199</c:v>
                </c:pt>
                <c:pt idx="370">
                  <c:v>41230</c:v>
                </c:pt>
                <c:pt idx="371">
                  <c:v>41260</c:v>
                </c:pt>
                <c:pt idx="372">
                  <c:v>41292</c:v>
                </c:pt>
                <c:pt idx="373">
                  <c:v>41323</c:v>
                </c:pt>
                <c:pt idx="374">
                  <c:v>41351</c:v>
                </c:pt>
                <c:pt idx="375">
                  <c:v>41381</c:v>
                </c:pt>
                <c:pt idx="376">
                  <c:v>41412</c:v>
                </c:pt>
                <c:pt idx="377">
                  <c:v>41443</c:v>
                </c:pt>
                <c:pt idx="378">
                  <c:v>41473</c:v>
                </c:pt>
                <c:pt idx="379">
                  <c:v>41504</c:v>
                </c:pt>
                <c:pt idx="380">
                  <c:v>41535</c:v>
                </c:pt>
                <c:pt idx="381">
                  <c:v>41565</c:v>
                </c:pt>
                <c:pt idx="382">
                  <c:v>41596</c:v>
                </c:pt>
                <c:pt idx="383">
                  <c:v>41621</c:v>
                </c:pt>
                <c:pt idx="384">
                  <c:v>41646</c:v>
                </c:pt>
                <c:pt idx="385">
                  <c:v>41698</c:v>
                </c:pt>
                <c:pt idx="386">
                  <c:v>41726</c:v>
                </c:pt>
                <c:pt idx="387">
                  <c:v>41754</c:v>
                </c:pt>
                <c:pt idx="388">
                  <c:v>41789</c:v>
                </c:pt>
                <c:pt idx="389">
                  <c:v>41820</c:v>
                </c:pt>
                <c:pt idx="390">
                  <c:v>41850</c:v>
                </c:pt>
                <c:pt idx="391">
                  <c:v>41879</c:v>
                </c:pt>
                <c:pt idx="392">
                  <c:v>41908</c:v>
                </c:pt>
                <c:pt idx="393">
                  <c:v>41943</c:v>
                </c:pt>
                <c:pt idx="394">
                  <c:v>41973</c:v>
                </c:pt>
                <c:pt idx="395">
                  <c:v>42003</c:v>
                </c:pt>
                <c:pt idx="396">
                  <c:v>42005</c:v>
                </c:pt>
                <c:pt idx="397">
                  <c:v>42036</c:v>
                </c:pt>
                <c:pt idx="398">
                  <c:v>42064</c:v>
                </c:pt>
                <c:pt idx="399">
                  <c:v>42095</c:v>
                </c:pt>
                <c:pt idx="400">
                  <c:v>42125</c:v>
                </c:pt>
                <c:pt idx="401">
                  <c:v>42156</c:v>
                </c:pt>
                <c:pt idx="402">
                  <c:v>42186</c:v>
                </c:pt>
                <c:pt idx="403">
                  <c:v>42217</c:v>
                </c:pt>
                <c:pt idx="404">
                  <c:v>42248</c:v>
                </c:pt>
                <c:pt idx="405">
                  <c:v>42278</c:v>
                </c:pt>
                <c:pt idx="406">
                  <c:v>42309</c:v>
                </c:pt>
                <c:pt idx="407">
                  <c:v>42339</c:v>
                </c:pt>
                <c:pt idx="408">
                  <c:v>42370</c:v>
                </c:pt>
                <c:pt idx="409">
                  <c:v>42401</c:v>
                </c:pt>
                <c:pt idx="410">
                  <c:v>42430</c:v>
                </c:pt>
                <c:pt idx="411">
                  <c:v>42461</c:v>
                </c:pt>
                <c:pt idx="412">
                  <c:v>42491</c:v>
                </c:pt>
                <c:pt idx="413">
                  <c:v>42522</c:v>
                </c:pt>
                <c:pt idx="414">
                  <c:v>42552</c:v>
                </c:pt>
                <c:pt idx="415">
                  <c:v>42583</c:v>
                </c:pt>
                <c:pt idx="416">
                  <c:v>42614</c:v>
                </c:pt>
                <c:pt idx="417">
                  <c:v>42644</c:v>
                </c:pt>
                <c:pt idx="418">
                  <c:v>42675</c:v>
                </c:pt>
                <c:pt idx="419">
                  <c:v>42705</c:v>
                </c:pt>
                <c:pt idx="420">
                  <c:v>42736</c:v>
                </c:pt>
                <c:pt idx="421">
                  <c:v>42767</c:v>
                </c:pt>
                <c:pt idx="422">
                  <c:v>42795</c:v>
                </c:pt>
                <c:pt idx="423">
                  <c:v>42826</c:v>
                </c:pt>
                <c:pt idx="424">
                  <c:v>42856</c:v>
                </c:pt>
                <c:pt idx="425">
                  <c:v>42887</c:v>
                </c:pt>
                <c:pt idx="426">
                  <c:v>42917</c:v>
                </c:pt>
                <c:pt idx="427">
                  <c:v>42948</c:v>
                </c:pt>
                <c:pt idx="428">
                  <c:v>42979</c:v>
                </c:pt>
                <c:pt idx="429">
                  <c:v>43009</c:v>
                </c:pt>
                <c:pt idx="430">
                  <c:v>43040</c:v>
                </c:pt>
                <c:pt idx="431">
                  <c:v>43070</c:v>
                </c:pt>
                <c:pt idx="432">
                  <c:v>43101</c:v>
                </c:pt>
                <c:pt idx="433">
                  <c:v>43132</c:v>
                </c:pt>
                <c:pt idx="434">
                  <c:v>43160</c:v>
                </c:pt>
                <c:pt idx="435">
                  <c:v>43191</c:v>
                </c:pt>
                <c:pt idx="436">
                  <c:v>43221</c:v>
                </c:pt>
                <c:pt idx="437">
                  <c:v>43252</c:v>
                </c:pt>
                <c:pt idx="438">
                  <c:v>43282</c:v>
                </c:pt>
                <c:pt idx="439">
                  <c:v>43313</c:v>
                </c:pt>
                <c:pt idx="440">
                  <c:v>43344</c:v>
                </c:pt>
                <c:pt idx="441">
                  <c:v>43374</c:v>
                </c:pt>
                <c:pt idx="442">
                  <c:v>43405</c:v>
                </c:pt>
                <c:pt idx="443">
                  <c:v>43435</c:v>
                </c:pt>
                <c:pt idx="444">
                  <c:v>43466</c:v>
                </c:pt>
                <c:pt idx="445">
                  <c:v>43497</c:v>
                </c:pt>
                <c:pt idx="446">
                  <c:v>43525</c:v>
                </c:pt>
                <c:pt idx="447">
                  <c:v>43556</c:v>
                </c:pt>
                <c:pt idx="448">
                  <c:v>43586</c:v>
                </c:pt>
                <c:pt idx="449">
                  <c:v>43617</c:v>
                </c:pt>
                <c:pt idx="450">
                  <c:v>43647</c:v>
                </c:pt>
                <c:pt idx="451">
                  <c:v>43678</c:v>
                </c:pt>
                <c:pt idx="452">
                  <c:v>43709</c:v>
                </c:pt>
                <c:pt idx="453">
                  <c:v>43739</c:v>
                </c:pt>
                <c:pt idx="454">
                  <c:v>43770</c:v>
                </c:pt>
                <c:pt idx="455">
                  <c:v>43800</c:v>
                </c:pt>
                <c:pt idx="456">
                  <c:v>43831</c:v>
                </c:pt>
                <c:pt idx="457">
                  <c:v>43862</c:v>
                </c:pt>
                <c:pt idx="458">
                  <c:v>43891</c:v>
                </c:pt>
                <c:pt idx="459">
                  <c:v>43922</c:v>
                </c:pt>
                <c:pt idx="460">
                  <c:v>43952</c:v>
                </c:pt>
                <c:pt idx="461">
                  <c:v>43983</c:v>
                </c:pt>
                <c:pt idx="462">
                  <c:v>44013</c:v>
                </c:pt>
                <c:pt idx="463">
                  <c:v>44044</c:v>
                </c:pt>
                <c:pt idx="464">
                  <c:v>44075</c:v>
                </c:pt>
                <c:pt idx="465">
                  <c:v>44105</c:v>
                </c:pt>
                <c:pt idx="466">
                  <c:v>44136</c:v>
                </c:pt>
                <c:pt idx="467">
                  <c:v>44166</c:v>
                </c:pt>
                <c:pt idx="468">
                  <c:v>44197</c:v>
                </c:pt>
                <c:pt idx="469">
                  <c:v>44228</c:v>
                </c:pt>
                <c:pt idx="470">
                  <c:v>44256</c:v>
                </c:pt>
                <c:pt idx="471">
                  <c:v>44287</c:v>
                </c:pt>
                <c:pt idx="472">
                  <c:v>44317</c:v>
                </c:pt>
                <c:pt idx="473">
                  <c:v>44348</c:v>
                </c:pt>
                <c:pt idx="474">
                  <c:v>44378</c:v>
                </c:pt>
                <c:pt idx="475">
                  <c:v>44409</c:v>
                </c:pt>
                <c:pt idx="476">
                  <c:v>44440</c:v>
                </c:pt>
                <c:pt idx="477">
                  <c:v>44470</c:v>
                </c:pt>
                <c:pt idx="478">
                  <c:v>44501</c:v>
                </c:pt>
                <c:pt idx="479">
                  <c:v>44531</c:v>
                </c:pt>
                <c:pt idx="480">
                  <c:v>44562</c:v>
                </c:pt>
                <c:pt idx="481">
                  <c:v>44593</c:v>
                </c:pt>
                <c:pt idx="482">
                  <c:v>44621</c:v>
                </c:pt>
                <c:pt idx="483">
                  <c:v>44652</c:v>
                </c:pt>
                <c:pt idx="484">
                  <c:v>44682</c:v>
                </c:pt>
                <c:pt idx="485">
                  <c:v>44713</c:v>
                </c:pt>
                <c:pt idx="486">
                  <c:v>44743</c:v>
                </c:pt>
                <c:pt idx="487">
                  <c:v>44774</c:v>
                </c:pt>
                <c:pt idx="488">
                  <c:v>44805</c:v>
                </c:pt>
                <c:pt idx="489">
                  <c:v>44835</c:v>
                </c:pt>
                <c:pt idx="490">
                  <c:v>44866</c:v>
                </c:pt>
                <c:pt idx="491">
                  <c:v>44896</c:v>
                </c:pt>
                <c:pt idx="492">
                  <c:v>44927</c:v>
                </c:pt>
                <c:pt idx="493">
                  <c:v>44958</c:v>
                </c:pt>
                <c:pt idx="494">
                  <c:v>44986</c:v>
                </c:pt>
                <c:pt idx="495">
                  <c:v>45017</c:v>
                </c:pt>
                <c:pt idx="496">
                  <c:v>45047</c:v>
                </c:pt>
                <c:pt idx="497">
                  <c:v>45078</c:v>
                </c:pt>
                <c:pt idx="498">
                  <c:v>45108</c:v>
                </c:pt>
                <c:pt idx="499">
                  <c:v>45139</c:v>
                </c:pt>
                <c:pt idx="500">
                  <c:v>45170</c:v>
                </c:pt>
                <c:pt idx="501">
                  <c:v>45200</c:v>
                </c:pt>
                <c:pt idx="502">
                  <c:v>45231</c:v>
                </c:pt>
                <c:pt idx="503">
                  <c:v>45261</c:v>
                </c:pt>
                <c:pt idx="504">
                  <c:v>45292</c:v>
                </c:pt>
                <c:pt idx="505">
                  <c:v>45323</c:v>
                </c:pt>
                <c:pt idx="506">
                  <c:v>45352</c:v>
                </c:pt>
                <c:pt idx="507">
                  <c:v>45383</c:v>
                </c:pt>
              </c:numCache>
            </c:numRef>
          </c:cat>
          <c:val>
            <c:numRef>
              <c:f>'Int''l Rig Count'!$B$3:$B$650</c:f>
              <c:numCache>
                <c:formatCode>#,##0_);\(#,##0\);\–_)</c:formatCode>
                <c:ptCount val="648"/>
                <c:pt idx="0">
                  <c:v>1093</c:v>
                </c:pt>
                <c:pt idx="1">
                  <c:v>1089</c:v>
                </c:pt>
                <c:pt idx="2">
                  <c:v>1076</c:v>
                </c:pt>
                <c:pt idx="3">
                  <c:v>1081</c:v>
                </c:pt>
                <c:pt idx="4">
                  <c:v>1098</c:v>
                </c:pt>
                <c:pt idx="5">
                  <c:v>1076</c:v>
                </c:pt>
                <c:pt idx="6">
                  <c:v>1080</c:v>
                </c:pt>
                <c:pt idx="7">
                  <c:v>1076</c:v>
                </c:pt>
                <c:pt idx="8">
                  <c:v>1058</c:v>
                </c:pt>
                <c:pt idx="9">
                  <c:v>1081</c:v>
                </c:pt>
                <c:pt idx="10">
                  <c:v>1080</c:v>
                </c:pt>
                <c:pt idx="11">
                  <c:v>1060</c:v>
                </c:pt>
                <c:pt idx="12">
                  <c:v>1026</c:v>
                </c:pt>
                <c:pt idx="13">
                  <c:v>1019</c:v>
                </c:pt>
                <c:pt idx="14">
                  <c:v>974</c:v>
                </c:pt>
                <c:pt idx="15">
                  <c:v>940</c:v>
                </c:pt>
                <c:pt idx="16">
                  <c:v>941</c:v>
                </c:pt>
                <c:pt idx="17">
                  <c:v>939</c:v>
                </c:pt>
                <c:pt idx="18">
                  <c:v>942</c:v>
                </c:pt>
                <c:pt idx="19">
                  <c:v>923</c:v>
                </c:pt>
                <c:pt idx="20">
                  <c:v>910</c:v>
                </c:pt>
                <c:pt idx="21">
                  <c:v>887</c:v>
                </c:pt>
                <c:pt idx="22">
                  <c:v>860</c:v>
                </c:pt>
                <c:pt idx="23">
                  <c:v>852</c:v>
                </c:pt>
                <c:pt idx="24">
                  <c:v>855</c:v>
                </c:pt>
                <c:pt idx="25">
                  <c:v>890</c:v>
                </c:pt>
                <c:pt idx="26">
                  <c:v>877</c:v>
                </c:pt>
                <c:pt idx="27">
                  <c:v>865</c:v>
                </c:pt>
                <c:pt idx="28">
                  <c:v>883</c:v>
                </c:pt>
                <c:pt idx="29">
                  <c:v>877</c:v>
                </c:pt>
                <c:pt idx="30">
                  <c:v>871</c:v>
                </c:pt>
                <c:pt idx="31">
                  <c:v>904</c:v>
                </c:pt>
                <c:pt idx="32">
                  <c:v>917</c:v>
                </c:pt>
                <c:pt idx="33">
                  <c:v>918</c:v>
                </c:pt>
                <c:pt idx="34">
                  <c:v>918</c:v>
                </c:pt>
                <c:pt idx="35">
                  <c:v>928</c:v>
                </c:pt>
                <c:pt idx="36">
                  <c:v>926</c:v>
                </c:pt>
                <c:pt idx="37">
                  <c:v>924</c:v>
                </c:pt>
                <c:pt idx="38">
                  <c:v>916</c:v>
                </c:pt>
                <c:pt idx="39">
                  <c:v>914</c:v>
                </c:pt>
                <c:pt idx="40">
                  <c:v>937</c:v>
                </c:pt>
                <c:pt idx="41">
                  <c:v>941</c:v>
                </c:pt>
                <c:pt idx="42">
                  <c:v>946</c:v>
                </c:pt>
                <c:pt idx="43">
                  <c:v>936</c:v>
                </c:pt>
                <c:pt idx="44">
                  <c:v>942</c:v>
                </c:pt>
                <c:pt idx="45">
                  <c:v>950</c:v>
                </c:pt>
                <c:pt idx="46">
                  <c:v>950</c:v>
                </c:pt>
                <c:pt idx="47">
                  <c:v>951</c:v>
                </c:pt>
                <c:pt idx="48">
                  <c:v>927</c:v>
                </c:pt>
                <c:pt idx="49">
                  <c:v>908</c:v>
                </c:pt>
                <c:pt idx="50">
                  <c:v>894</c:v>
                </c:pt>
                <c:pt idx="51">
                  <c:v>879</c:v>
                </c:pt>
                <c:pt idx="52">
                  <c:v>847</c:v>
                </c:pt>
                <c:pt idx="53">
                  <c:v>817</c:v>
                </c:pt>
                <c:pt idx="54">
                  <c:v>748</c:v>
                </c:pt>
                <c:pt idx="55">
                  <c:v>735</c:v>
                </c:pt>
                <c:pt idx="56">
                  <c:v>738</c:v>
                </c:pt>
                <c:pt idx="57">
                  <c:v>735</c:v>
                </c:pt>
                <c:pt idx="58">
                  <c:v>700</c:v>
                </c:pt>
                <c:pt idx="59">
                  <c:v>690</c:v>
                </c:pt>
                <c:pt idx="60">
                  <c:v>695</c:v>
                </c:pt>
                <c:pt idx="61">
                  <c:v>712</c:v>
                </c:pt>
                <c:pt idx="62">
                  <c:v>716</c:v>
                </c:pt>
                <c:pt idx="63">
                  <c:v>725</c:v>
                </c:pt>
                <c:pt idx="64">
                  <c:v>716</c:v>
                </c:pt>
                <c:pt idx="65">
                  <c:v>727</c:v>
                </c:pt>
                <c:pt idx="66">
                  <c:v>743</c:v>
                </c:pt>
                <c:pt idx="67">
                  <c:v>738</c:v>
                </c:pt>
                <c:pt idx="68">
                  <c:v>749</c:v>
                </c:pt>
                <c:pt idx="69">
                  <c:v>743</c:v>
                </c:pt>
                <c:pt idx="70">
                  <c:v>758</c:v>
                </c:pt>
                <c:pt idx="71">
                  <c:v>775</c:v>
                </c:pt>
                <c:pt idx="72">
                  <c:v>760</c:v>
                </c:pt>
                <c:pt idx="73">
                  <c:v>760</c:v>
                </c:pt>
                <c:pt idx="74">
                  <c:v>759</c:v>
                </c:pt>
                <c:pt idx="75">
                  <c:v>756</c:v>
                </c:pt>
                <c:pt idx="76">
                  <c:v>739</c:v>
                </c:pt>
                <c:pt idx="77">
                  <c:v>737</c:v>
                </c:pt>
                <c:pt idx="78">
                  <c:v>737</c:v>
                </c:pt>
                <c:pt idx="79">
                  <c:v>740</c:v>
                </c:pt>
                <c:pt idx="80">
                  <c:v>746</c:v>
                </c:pt>
                <c:pt idx="81">
                  <c:v>758</c:v>
                </c:pt>
                <c:pt idx="82">
                  <c:v>740</c:v>
                </c:pt>
                <c:pt idx="83">
                  <c:v>684</c:v>
                </c:pt>
                <c:pt idx="84">
                  <c:v>722</c:v>
                </c:pt>
                <c:pt idx="85">
                  <c:v>726</c:v>
                </c:pt>
                <c:pt idx="86">
                  <c:v>689</c:v>
                </c:pt>
                <c:pt idx="87">
                  <c:v>676</c:v>
                </c:pt>
                <c:pt idx="88">
                  <c:v>674</c:v>
                </c:pt>
                <c:pt idx="89">
                  <c:v>639</c:v>
                </c:pt>
                <c:pt idx="90">
                  <c:v>634</c:v>
                </c:pt>
                <c:pt idx="91">
                  <c:v>633</c:v>
                </c:pt>
                <c:pt idx="92">
                  <c:v>659</c:v>
                </c:pt>
                <c:pt idx="93">
                  <c:v>657</c:v>
                </c:pt>
                <c:pt idx="94">
                  <c:v>657</c:v>
                </c:pt>
                <c:pt idx="95">
                  <c:v>644</c:v>
                </c:pt>
                <c:pt idx="96">
                  <c:v>675</c:v>
                </c:pt>
                <c:pt idx="97">
                  <c:v>681</c:v>
                </c:pt>
                <c:pt idx="98">
                  <c:v>677</c:v>
                </c:pt>
                <c:pt idx="99">
                  <c:v>668</c:v>
                </c:pt>
                <c:pt idx="100">
                  <c:v>677</c:v>
                </c:pt>
                <c:pt idx="101">
                  <c:v>679</c:v>
                </c:pt>
                <c:pt idx="102">
                  <c:v>636</c:v>
                </c:pt>
                <c:pt idx="103">
                  <c:v>644</c:v>
                </c:pt>
                <c:pt idx="104">
                  <c:v>606</c:v>
                </c:pt>
                <c:pt idx="105">
                  <c:v>613</c:v>
                </c:pt>
                <c:pt idx="106">
                  <c:v>656</c:v>
                </c:pt>
                <c:pt idx="107">
                  <c:v>646</c:v>
                </c:pt>
                <c:pt idx="108">
                  <c:v>652</c:v>
                </c:pt>
                <c:pt idx="109">
                  <c:v>655</c:v>
                </c:pt>
                <c:pt idx="110">
                  <c:v>661</c:v>
                </c:pt>
                <c:pt idx="111">
                  <c:v>680</c:v>
                </c:pt>
                <c:pt idx="112">
                  <c:v>655</c:v>
                </c:pt>
                <c:pt idx="113">
                  <c:v>652</c:v>
                </c:pt>
                <c:pt idx="114">
                  <c:v>662</c:v>
                </c:pt>
                <c:pt idx="115">
                  <c:v>661</c:v>
                </c:pt>
                <c:pt idx="116">
                  <c:v>665</c:v>
                </c:pt>
                <c:pt idx="117">
                  <c:v>696</c:v>
                </c:pt>
                <c:pt idx="118">
                  <c:v>710</c:v>
                </c:pt>
                <c:pt idx="119">
                  <c:v>672</c:v>
                </c:pt>
                <c:pt idx="120">
                  <c:v>647</c:v>
                </c:pt>
                <c:pt idx="121">
                  <c:v>650</c:v>
                </c:pt>
                <c:pt idx="122">
                  <c:v>637</c:v>
                </c:pt>
                <c:pt idx="123">
                  <c:v>642</c:v>
                </c:pt>
                <c:pt idx="124">
                  <c:v>632</c:v>
                </c:pt>
                <c:pt idx="125">
                  <c:v>619</c:v>
                </c:pt>
                <c:pt idx="126">
                  <c:v>628</c:v>
                </c:pt>
                <c:pt idx="127">
                  <c:v>616</c:v>
                </c:pt>
                <c:pt idx="128">
                  <c:v>592</c:v>
                </c:pt>
                <c:pt idx="129">
                  <c:v>591</c:v>
                </c:pt>
                <c:pt idx="130">
                  <c:v>603</c:v>
                </c:pt>
                <c:pt idx="131">
                  <c:v>579</c:v>
                </c:pt>
                <c:pt idx="132">
                  <c:v>552</c:v>
                </c:pt>
                <c:pt idx="133">
                  <c:v>542</c:v>
                </c:pt>
                <c:pt idx="134">
                  <c:v>540</c:v>
                </c:pt>
                <c:pt idx="135">
                  <c:v>556</c:v>
                </c:pt>
                <c:pt idx="136">
                  <c:v>559</c:v>
                </c:pt>
                <c:pt idx="137">
                  <c:v>538</c:v>
                </c:pt>
                <c:pt idx="138">
                  <c:v>547</c:v>
                </c:pt>
                <c:pt idx="139">
                  <c:v>539</c:v>
                </c:pt>
                <c:pt idx="140">
                  <c:v>537</c:v>
                </c:pt>
                <c:pt idx="141">
                  <c:v>552</c:v>
                </c:pt>
                <c:pt idx="142">
                  <c:v>565</c:v>
                </c:pt>
                <c:pt idx="143">
                  <c:v>552</c:v>
                </c:pt>
                <c:pt idx="144">
                  <c:v>541</c:v>
                </c:pt>
                <c:pt idx="145">
                  <c:v>528</c:v>
                </c:pt>
                <c:pt idx="146">
                  <c:v>517</c:v>
                </c:pt>
                <c:pt idx="147">
                  <c:v>544</c:v>
                </c:pt>
                <c:pt idx="148">
                  <c:v>526</c:v>
                </c:pt>
                <c:pt idx="149">
                  <c:v>512</c:v>
                </c:pt>
                <c:pt idx="150">
                  <c:v>506</c:v>
                </c:pt>
                <c:pt idx="151">
                  <c:v>515</c:v>
                </c:pt>
                <c:pt idx="152">
                  <c:v>512</c:v>
                </c:pt>
                <c:pt idx="153">
                  <c:v>518</c:v>
                </c:pt>
                <c:pt idx="154">
                  <c:v>529</c:v>
                </c:pt>
                <c:pt idx="155">
                  <c:v>530</c:v>
                </c:pt>
                <c:pt idx="156">
                  <c:v>550</c:v>
                </c:pt>
                <c:pt idx="157">
                  <c:v>540</c:v>
                </c:pt>
                <c:pt idx="158">
                  <c:v>541</c:v>
                </c:pt>
                <c:pt idx="159">
                  <c:v>552</c:v>
                </c:pt>
                <c:pt idx="160">
                  <c:v>543</c:v>
                </c:pt>
                <c:pt idx="161">
                  <c:v>557</c:v>
                </c:pt>
                <c:pt idx="162">
                  <c:v>552</c:v>
                </c:pt>
                <c:pt idx="163">
                  <c:v>551</c:v>
                </c:pt>
                <c:pt idx="164">
                  <c:v>545</c:v>
                </c:pt>
                <c:pt idx="165">
                  <c:v>546</c:v>
                </c:pt>
                <c:pt idx="166">
                  <c:v>557</c:v>
                </c:pt>
                <c:pt idx="167">
                  <c:v>548</c:v>
                </c:pt>
                <c:pt idx="168">
                  <c:v>552</c:v>
                </c:pt>
                <c:pt idx="169">
                  <c:v>543</c:v>
                </c:pt>
                <c:pt idx="170">
                  <c:v>567</c:v>
                </c:pt>
                <c:pt idx="171">
                  <c:v>558</c:v>
                </c:pt>
                <c:pt idx="172">
                  <c:v>547</c:v>
                </c:pt>
                <c:pt idx="173">
                  <c:v>542</c:v>
                </c:pt>
                <c:pt idx="174">
                  <c:v>568</c:v>
                </c:pt>
                <c:pt idx="175">
                  <c:v>555</c:v>
                </c:pt>
                <c:pt idx="176">
                  <c:v>551</c:v>
                </c:pt>
                <c:pt idx="177">
                  <c:v>551</c:v>
                </c:pt>
                <c:pt idx="178">
                  <c:v>552</c:v>
                </c:pt>
                <c:pt idx="179">
                  <c:v>562</c:v>
                </c:pt>
                <c:pt idx="180">
                  <c:v>555</c:v>
                </c:pt>
                <c:pt idx="181">
                  <c:v>555</c:v>
                </c:pt>
                <c:pt idx="182">
                  <c:v>551</c:v>
                </c:pt>
                <c:pt idx="183">
                  <c:v>547</c:v>
                </c:pt>
                <c:pt idx="184">
                  <c:v>558</c:v>
                </c:pt>
                <c:pt idx="185">
                  <c:v>561</c:v>
                </c:pt>
                <c:pt idx="186">
                  <c:v>559</c:v>
                </c:pt>
                <c:pt idx="187">
                  <c:v>554</c:v>
                </c:pt>
                <c:pt idx="188">
                  <c:v>540</c:v>
                </c:pt>
                <c:pt idx="189">
                  <c:v>553</c:v>
                </c:pt>
                <c:pt idx="190">
                  <c:v>553</c:v>
                </c:pt>
                <c:pt idx="191">
                  <c:v>571</c:v>
                </c:pt>
                <c:pt idx="192">
                  <c:v>565</c:v>
                </c:pt>
                <c:pt idx="193">
                  <c:v>532</c:v>
                </c:pt>
                <c:pt idx="194">
                  <c:v>532</c:v>
                </c:pt>
                <c:pt idx="195">
                  <c:v>535</c:v>
                </c:pt>
                <c:pt idx="196">
                  <c:v>532</c:v>
                </c:pt>
                <c:pt idx="197">
                  <c:v>525</c:v>
                </c:pt>
                <c:pt idx="198">
                  <c:v>498</c:v>
                </c:pt>
                <c:pt idx="199">
                  <c:v>486</c:v>
                </c:pt>
                <c:pt idx="200">
                  <c:v>476</c:v>
                </c:pt>
                <c:pt idx="201">
                  <c:v>454</c:v>
                </c:pt>
                <c:pt idx="202">
                  <c:v>469</c:v>
                </c:pt>
                <c:pt idx="203">
                  <c:v>448</c:v>
                </c:pt>
                <c:pt idx="204">
                  <c:v>432</c:v>
                </c:pt>
                <c:pt idx="205">
                  <c:v>412</c:v>
                </c:pt>
                <c:pt idx="206">
                  <c:v>407</c:v>
                </c:pt>
                <c:pt idx="207">
                  <c:v>407</c:v>
                </c:pt>
                <c:pt idx="208">
                  <c:v>406</c:v>
                </c:pt>
                <c:pt idx="209">
                  <c:v>402</c:v>
                </c:pt>
                <c:pt idx="210">
                  <c:v>398</c:v>
                </c:pt>
                <c:pt idx="211">
                  <c:v>392</c:v>
                </c:pt>
                <c:pt idx="212">
                  <c:v>405</c:v>
                </c:pt>
                <c:pt idx="213">
                  <c:v>408</c:v>
                </c:pt>
                <c:pt idx="214">
                  <c:v>417</c:v>
                </c:pt>
                <c:pt idx="215">
                  <c:v>415</c:v>
                </c:pt>
                <c:pt idx="216">
                  <c:v>406</c:v>
                </c:pt>
                <c:pt idx="217">
                  <c:v>408</c:v>
                </c:pt>
                <c:pt idx="218">
                  <c:v>433</c:v>
                </c:pt>
                <c:pt idx="219">
                  <c:v>434</c:v>
                </c:pt>
                <c:pt idx="220">
                  <c:v>461</c:v>
                </c:pt>
                <c:pt idx="221">
                  <c:v>465</c:v>
                </c:pt>
                <c:pt idx="222">
                  <c:v>473</c:v>
                </c:pt>
                <c:pt idx="223">
                  <c:v>497</c:v>
                </c:pt>
                <c:pt idx="224">
                  <c:v>501</c:v>
                </c:pt>
                <c:pt idx="225">
                  <c:v>508</c:v>
                </c:pt>
                <c:pt idx="226">
                  <c:v>504</c:v>
                </c:pt>
                <c:pt idx="227">
                  <c:v>504</c:v>
                </c:pt>
                <c:pt idx="228">
                  <c:v>511</c:v>
                </c:pt>
                <c:pt idx="229">
                  <c:v>525</c:v>
                </c:pt>
                <c:pt idx="230">
                  <c:v>515</c:v>
                </c:pt>
                <c:pt idx="231">
                  <c:v>523</c:v>
                </c:pt>
                <c:pt idx="232">
                  <c:v>522</c:v>
                </c:pt>
                <c:pt idx="233">
                  <c:v>528</c:v>
                </c:pt>
                <c:pt idx="234">
                  <c:v>531</c:v>
                </c:pt>
                <c:pt idx="235">
                  <c:v>537</c:v>
                </c:pt>
                <c:pt idx="236">
                  <c:v>540</c:v>
                </c:pt>
                <c:pt idx="237">
                  <c:v>520</c:v>
                </c:pt>
                <c:pt idx="238">
                  <c:v>521</c:v>
                </c:pt>
                <c:pt idx="239">
                  <c:v>530</c:v>
                </c:pt>
                <c:pt idx="240">
                  <c:v>509</c:v>
                </c:pt>
                <c:pt idx="241">
                  <c:v>502</c:v>
                </c:pt>
                <c:pt idx="242">
                  <c:v>509</c:v>
                </c:pt>
                <c:pt idx="243">
                  <c:v>501</c:v>
                </c:pt>
                <c:pt idx="244">
                  <c:v>499</c:v>
                </c:pt>
                <c:pt idx="245">
                  <c:v>498</c:v>
                </c:pt>
                <c:pt idx="246">
                  <c:v>491</c:v>
                </c:pt>
                <c:pt idx="247">
                  <c:v>500</c:v>
                </c:pt>
                <c:pt idx="248">
                  <c:v>494</c:v>
                </c:pt>
                <c:pt idx="249">
                  <c:v>511</c:v>
                </c:pt>
                <c:pt idx="250">
                  <c:v>523</c:v>
                </c:pt>
                <c:pt idx="251">
                  <c:v>539</c:v>
                </c:pt>
                <c:pt idx="252">
                  <c:v>521</c:v>
                </c:pt>
                <c:pt idx="253">
                  <c:v>534</c:v>
                </c:pt>
                <c:pt idx="254">
                  <c:v>539</c:v>
                </c:pt>
                <c:pt idx="255">
                  <c:v>546</c:v>
                </c:pt>
                <c:pt idx="256">
                  <c:v>520</c:v>
                </c:pt>
                <c:pt idx="257">
                  <c:v>535</c:v>
                </c:pt>
                <c:pt idx="258">
                  <c:v>544</c:v>
                </c:pt>
                <c:pt idx="259">
                  <c:v>563</c:v>
                </c:pt>
                <c:pt idx="260">
                  <c:v>563</c:v>
                </c:pt>
                <c:pt idx="261">
                  <c:v>558</c:v>
                </c:pt>
                <c:pt idx="262">
                  <c:v>550</c:v>
                </c:pt>
                <c:pt idx="263">
                  <c:v>556</c:v>
                </c:pt>
                <c:pt idx="264">
                  <c:v>568</c:v>
                </c:pt>
                <c:pt idx="265">
                  <c:v>554</c:v>
                </c:pt>
                <c:pt idx="266">
                  <c:v>563</c:v>
                </c:pt>
                <c:pt idx="267">
                  <c:v>572</c:v>
                </c:pt>
                <c:pt idx="268">
                  <c:v>590</c:v>
                </c:pt>
                <c:pt idx="269">
                  <c:v>598</c:v>
                </c:pt>
                <c:pt idx="270">
                  <c:v>596</c:v>
                </c:pt>
                <c:pt idx="271">
                  <c:v>612</c:v>
                </c:pt>
                <c:pt idx="272">
                  <c:v>631</c:v>
                </c:pt>
                <c:pt idx="273">
                  <c:v>608</c:v>
                </c:pt>
                <c:pt idx="274">
                  <c:v>617</c:v>
                </c:pt>
                <c:pt idx="275">
                  <c:v>621</c:v>
                </c:pt>
                <c:pt idx="276">
                  <c:v>626</c:v>
                </c:pt>
                <c:pt idx="277">
                  <c:v>623</c:v>
                </c:pt>
                <c:pt idx="278">
                  <c:v>637</c:v>
                </c:pt>
                <c:pt idx="279">
                  <c:v>632</c:v>
                </c:pt>
                <c:pt idx="280">
                  <c:v>644</c:v>
                </c:pt>
                <c:pt idx="281">
                  <c:v>641</c:v>
                </c:pt>
                <c:pt idx="282">
                  <c:v>633</c:v>
                </c:pt>
                <c:pt idx="283">
                  <c:v>646</c:v>
                </c:pt>
                <c:pt idx="284">
                  <c:v>638</c:v>
                </c:pt>
                <c:pt idx="285">
                  <c:v>639</c:v>
                </c:pt>
                <c:pt idx="286">
                  <c:v>668</c:v>
                </c:pt>
                <c:pt idx="287">
                  <c:v>684</c:v>
                </c:pt>
                <c:pt idx="288">
                  <c:v>642</c:v>
                </c:pt>
                <c:pt idx="289">
                  <c:v>618</c:v>
                </c:pt>
                <c:pt idx="290">
                  <c:v>624</c:v>
                </c:pt>
                <c:pt idx="291">
                  <c:v>643</c:v>
                </c:pt>
                <c:pt idx="292">
                  <c:v>645</c:v>
                </c:pt>
                <c:pt idx="293">
                  <c:v>641</c:v>
                </c:pt>
                <c:pt idx="294">
                  <c:v>652</c:v>
                </c:pt>
                <c:pt idx="295">
                  <c:v>676</c:v>
                </c:pt>
                <c:pt idx="296">
                  <c:v>685</c:v>
                </c:pt>
                <c:pt idx="297">
                  <c:v>691</c:v>
                </c:pt>
                <c:pt idx="298">
                  <c:v>679</c:v>
                </c:pt>
                <c:pt idx="299">
                  <c:v>680</c:v>
                </c:pt>
                <c:pt idx="300">
                  <c:v>696</c:v>
                </c:pt>
                <c:pt idx="301">
                  <c:v>695</c:v>
                </c:pt>
                <c:pt idx="302">
                  <c:v>711</c:v>
                </c:pt>
                <c:pt idx="303">
                  <c:v>690</c:v>
                </c:pt>
                <c:pt idx="304">
                  <c:v>711</c:v>
                </c:pt>
                <c:pt idx="305">
                  <c:v>730</c:v>
                </c:pt>
                <c:pt idx="306">
                  <c:v>722</c:v>
                </c:pt>
                <c:pt idx="307">
                  <c:v>729</c:v>
                </c:pt>
                <c:pt idx="308">
                  <c:v>747</c:v>
                </c:pt>
                <c:pt idx="309">
                  <c:v>738</c:v>
                </c:pt>
                <c:pt idx="310">
                  <c:v>720</c:v>
                </c:pt>
                <c:pt idx="311">
                  <c:v>745</c:v>
                </c:pt>
                <c:pt idx="312">
                  <c:v>762</c:v>
                </c:pt>
                <c:pt idx="313">
                  <c:v>757</c:v>
                </c:pt>
                <c:pt idx="314">
                  <c:v>769</c:v>
                </c:pt>
                <c:pt idx="315">
                  <c:v>777</c:v>
                </c:pt>
                <c:pt idx="316">
                  <c:v>770</c:v>
                </c:pt>
                <c:pt idx="317">
                  <c:v>781</c:v>
                </c:pt>
                <c:pt idx="318">
                  <c:v>780</c:v>
                </c:pt>
                <c:pt idx="319">
                  <c:v>795</c:v>
                </c:pt>
                <c:pt idx="320">
                  <c:v>815</c:v>
                </c:pt>
                <c:pt idx="321">
                  <c:v>812</c:v>
                </c:pt>
                <c:pt idx="322">
                  <c:v>799</c:v>
                </c:pt>
                <c:pt idx="323">
                  <c:v>787</c:v>
                </c:pt>
                <c:pt idx="324">
                  <c:v>765</c:v>
                </c:pt>
                <c:pt idx="325">
                  <c:v>734</c:v>
                </c:pt>
                <c:pt idx="326">
                  <c:v>731</c:v>
                </c:pt>
                <c:pt idx="327">
                  <c:v>713</c:v>
                </c:pt>
                <c:pt idx="328">
                  <c:v>721</c:v>
                </c:pt>
                <c:pt idx="329">
                  <c:v>698</c:v>
                </c:pt>
                <c:pt idx="330">
                  <c:v>699</c:v>
                </c:pt>
                <c:pt idx="331">
                  <c:v>686</c:v>
                </c:pt>
                <c:pt idx="332">
                  <c:v>711</c:v>
                </c:pt>
                <c:pt idx="333">
                  <c:v>716</c:v>
                </c:pt>
                <c:pt idx="334">
                  <c:v>741</c:v>
                </c:pt>
                <c:pt idx="335">
                  <c:v>743</c:v>
                </c:pt>
                <c:pt idx="336">
                  <c:v>759</c:v>
                </c:pt>
                <c:pt idx="337">
                  <c:v>767</c:v>
                </c:pt>
                <c:pt idx="338">
                  <c:v>779</c:v>
                </c:pt>
                <c:pt idx="339">
                  <c:v>766</c:v>
                </c:pt>
                <c:pt idx="340">
                  <c:v>792</c:v>
                </c:pt>
                <c:pt idx="341">
                  <c:v>787</c:v>
                </c:pt>
                <c:pt idx="342">
                  <c:v>798</c:v>
                </c:pt>
                <c:pt idx="343">
                  <c:v>795</c:v>
                </c:pt>
                <c:pt idx="344">
                  <c:v>803</c:v>
                </c:pt>
                <c:pt idx="345">
                  <c:v>794</c:v>
                </c:pt>
                <c:pt idx="346">
                  <c:v>810</c:v>
                </c:pt>
                <c:pt idx="347">
                  <c:v>815</c:v>
                </c:pt>
                <c:pt idx="348">
                  <c:v>853</c:v>
                </c:pt>
                <c:pt idx="349">
                  <c:v>880</c:v>
                </c:pt>
                <c:pt idx="350">
                  <c:v>852</c:v>
                </c:pt>
                <c:pt idx="351">
                  <c:v>836</c:v>
                </c:pt>
                <c:pt idx="352">
                  <c:v>845</c:v>
                </c:pt>
                <c:pt idx="353">
                  <c:v>860</c:v>
                </c:pt>
                <c:pt idx="354">
                  <c:v>843</c:v>
                </c:pt>
                <c:pt idx="355">
                  <c:v>865</c:v>
                </c:pt>
                <c:pt idx="356">
                  <c:v>870</c:v>
                </c:pt>
                <c:pt idx="357">
                  <c:v>885</c:v>
                </c:pt>
                <c:pt idx="358">
                  <c:v>883</c:v>
                </c:pt>
                <c:pt idx="359">
                  <c:v>881</c:v>
                </c:pt>
                <c:pt idx="360">
                  <c:v>864</c:v>
                </c:pt>
                <c:pt idx="361">
                  <c:v>884</c:v>
                </c:pt>
                <c:pt idx="362">
                  <c:v>889</c:v>
                </c:pt>
                <c:pt idx="363">
                  <c:v>879</c:v>
                </c:pt>
                <c:pt idx="364">
                  <c:v>906</c:v>
                </c:pt>
                <c:pt idx="365">
                  <c:v>980</c:v>
                </c:pt>
                <c:pt idx="366">
                  <c:v>978</c:v>
                </c:pt>
                <c:pt idx="367">
                  <c:v>961</c:v>
                </c:pt>
                <c:pt idx="368">
                  <c:v>961</c:v>
                </c:pt>
                <c:pt idx="369">
                  <c:v>953</c:v>
                </c:pt>
                <c:pt idx="370">
                  <c:v>967</c:v>
                </c:pt>
                <c:pt idx="371">
                  <c:v>954</c:v>
                </c:pt>
                <c:pt idx="372">
                  <c:v>972</c:v>
                </c:pt>
                <c:pt idx="373">
                  <c:v>952</c:v>
                </c:pt>
                <c:pt idx="374">
                  <c:v>952</c:v>
                </c:pt>
                <c:pt idx="375">
                  <c:v>970</c:v>
                </c:pt>
                <c:pt idx="376">
                  <c:v>956</c:v>
                </c:pt>
                <c:pt idx="377">
                  <c:v>996</c:v>
                </c:pt>
                <c:pt idx="378">
                  <c:v>985</c:v>
                </c:pt>
                <c:pt idx="379">
                  <c:v>958</c:v>
                </c:pt>
                <c:pt idx="380">
                  <c:v>971</c:v>
                </c:pt>
                <c:pt idx="381">
                  <c:v>999</c:v>
                </c:pt>
                <c:pt idx="382">
                  <c:v>995</c:v>
                </c:pt>
                <c:pt idx="383">
                  <c:v>1029</c:v>
                </c:pt>
                <c:pt idx="384">
                  <c:v>1023</c:v>
                </c:pt>
                <c:pt idx="385">
                  <c:v>1023</c:v>
                </c:pt>
                <c:pt idx="386">
                  <c:v>1011</c:v>
                </c:pt>
                <c:pt idx="387">
                  <c:v>1020</c:v>
                </c:pt>
                <c:pt idx="388">
                  <c:v>1024</c:v>
                </c:pt>
                <c:pt idx="389">
                  <c:v>1024</c:v>
                </c:pt>
                <c:pt idx="390">
                  <c:v>1046</c:v>
                </c:pt>
                <c:pt idx="391">
                  <c:v>1024</c:v>
                </c:pt>
                <c:pt idx="392">
                  <c:v>990</c:v>
                </c:pt>
                <c:pt idx="393">
                  <c:v>985</c:v>
                </c:pt>
                <c:pt idx="394">
                  <c:v>983</c:v>
                </c:pt>
                <c:pt idx="395">
                  <c:v>979</c:v>
                </c:pt>
                <c:pt idx="396">
                  <c:v>944</c:v>
                </c:pt>
                <c:pt idx="397">
                  <c:v>951</c:v>
                </c:pt>
                <c:pt idx="398">
                  <c:v>935</c:v>
                </c:pt>
                <c:pt idx="399">
                  <c:v>902</c:v>
                </c:pt>
                <c:pt idx="400">
                  <c:v>874</c:v>
                </c:pt>
                <c:pt idx="401">
                  <c:v>869</c:v>
                </c:pt>
                <c:pt idx="402">
                  <c:v>854</c:v>
                </c:pt>
                <c:pt idx="403">
                  <c:v>867</c:v>
                </c:pt>
                <c:pt idx="404">
                  <c:v>872</c:v>
                </c:pt>
                <c:pt idx="405">
                  <c:v>841</c:v>
                </c:pt>
                <c:pt idx="406">
                  <c:v>850</c:v>
                </c:pt>
                <c:pt idx="407">
                  <c:v>845</c:v>
                </c:pt>
                <c:pt idx="408">
                  <c:v>803</c:v>
                </c:pt>
                <c:pt idx="409">
                  <c:v>793</c:v>
                </c:pt>
                <c:pt idx="410">
                  <c:v>774</c:v>
                </c:pt>
                <c:pt idx="411">
                  <c:v>726</c:v>
                </c:pt>
                <c:pt idx="412">
                  <c:v>726</c:v>
                </c:pt>
                <c:pt idx="413">
                  <c:v>704</c:v>
                </c:pt>
                <c:pt idx="414">
                  <c:v>712</c:v>
                </c:pt>
                <c:pt idx="415">
                  <c:v>709</c:v>
                </c:pt>
                <c:pt idx="416">
                  <c:v>713</c:v>
                </c:pt>
                <c:pt idx="417">
                  <c:v>720</c:v>
                </c:pt>
                <c:pt idx="418">
                  <c:v>714</c:v>
                </c:pt>
                <c:pt idx="419">
                  <c:v>719</c:v>
                </c:pt>
                <c:pt idx="420">
                  <c:v>727</c:v>
                </c:pt>
                <c:pt idx="421">
                  <c:v>741</c:v>
                </c:pt>
                <c:pt idx="422">
                  <c:v>746</c:v>
                </c:pt>
                <c:pt idx="423">
                  <c:v>755</c:v>
                </c:pt>
                <c:pt idx="424">
                  <c:v>755</c:v>
                </c:pt>
                <c:pt idx="425">
                  <c:v>763</c:v>
                </c:pt>
                <c:pt idx="426">
                  <c:v>755</c:v>
                </c:pt>
                <c:pt idx="427">
                  <c:v>751</c:v>
                </c:pt>
                <c:pt idx="428">
                  <c:v>741</c:v>
                </c:pt>
                <c:pt idx="429">
                  <c:v>747</c:v>
                </c:pt>
                <c:pt idx="430">
                  <c:v>759</c:v>
                </c:pt>
                <c:pt idx="431">
                  <c:v>763</c:v>
                </c:pt>
                <c:pt idx="432">
                  <c:v>764</c:v>
                </c:pt>
                <c:pt idx="433">
                  <c:v>785</c:v>
                </c:pt>
                <c:pt idx="434">
                  <c:v>787</c:v>
                </c:pt>
                <c:pt idx="435">
                  <c:v>784</c:v>
                </c:pt>
                <c:pt idx="436">
                  <c:v>769</c:v>
                </c:pt>
                <c:pt idx="437">
                  <c:v>764</c:v>
                </c:pt>
                <c:pt idx="438">
                  <c:v>780</c:v>
                </c:pt>
                <c:pt idx="439">
                  <c:v>796</c:v>
                </c:pt>
                <c:pt idx="440">
                  <c:v>800</c:v>
                </c:pt>
                <c:pt idx="441">
                  <c:v>810</c:v>
                </c:pt>
                <c:pt idx="442">
                  <c:v>785</c:v>
                </c:pt>
                <c:pt idx="443">
                  <c:v>791</c:v>
                </c:pt>
                <c:pt idx="444">
                  <c:v>782</c:v>
                </c:pt>
                <c:pt idx="445">
                  <c:v>777</c:v>
                </c:pt>
                <c:pt idx="446">
                  <c:v>792</c:v>
                </c:pt>
                <c:pt idx="447">
                  <c:v>811</c:v>
                </c:pt>
                <c:pt idx="448">
                  <c:v>886</c:v>
                </c:pt>
                <c:pt idx="449">
                  <c:v>892</c:v>
                </c:pt>
                <c:pt idx="450">
                  <c:v>907</c:v>
                </c:pt>
                <c:pt idx="451">
                  <c:v>894</c:v>
                </c:pt>
                <c:pt idx="452">
                  <c:v>889</c:v>
                </c:pt>
                <c:pt idx="453">
                  <c:v>888</c:v>
                </c:pt>
                <c:pt idx="454">
                  <c:v>849</c:v>
                </c:pt>
                <c:pt idx="455">
                  <c:v>847</c:v>
                </c:pt>
                <c:pt idx="456">
                  <c:v>833</c:v>
                </c:pt>
                <c:pt idx="457">
                  <c:v>840</c:v>
                </c:pt>
                <c:pt idx="458">
                  <c:v>815</c:v>
                </c:pt>
                <c:pt idx="459">
                  <c:v>687</c:v>
                </c:pt>
                <c:pt idx="460">
                  <c:v>611</c:v>
                </c:pt>
                <c:pt idx="461">
                  <c:v>587</c:v>
                </c:pt>
                <c:pt idx="462">
                  <c:v>559</c:v>
                </c:pt>
                <c:pt idx="463">
                  <c:v>563</c:v>
                </c:pt>
                <c:pt idx="464">
                  <c:v>524</c:v>
                </c:pt>
                <c:pt idx="465">
                  <c:v>502</c:v>
                </c:pt>
                <c:pt idx="466">
                  <c:v>509</c:v>
                </c:pt>
                <c:pt idx="467">
                  <c:v>509</c:v>
                </c:pt>
                <c:pt idx="468">
                  <c:v>507</c:v>
                </c:pt>
                <c:pt idx="469">
                  <c:v>536</c:v>
                </c:pt>
                <c:pt idx="470">
                  <c:v>546</c:v>
                </c:pt>
                <c:pt idx="471">
                  <c:v>530</c:v>
                </c:pt>
                <c:pt idx="472">
                  <c:v>571</c:v>
                </c:pt>
                <c:pt idx="473">
                  <c:v>572</c:v>
                </c:pt>
                <c:pt idx="474">
                  <c:v>575</c:v>
                </c:pt>
                <c:pt idx="475">
                  <c:v>590</c:v>
                </c:pt>
                <c:pt idx="476">
                  <c:v>600</c:v>
                </c:pt>
                <c:pt idx="477">
                  <c:v>621</c:v>
                </c:pt>
                <c:pt idx="478">
                  <c:v>628</c:v>
                </c:pt>
                <c:pt idx="479">
                  <c:v>648</c:v>
                </c:pt>
                <c:pt idx="480">
                  <c:v>646</c:v>
                </c:pt>
                <c:pt idx="481">
                  <c:v>625</c:v>
                </c:pt>
                <c:pt idx="482">
                  <c:v>621</c:v>
                </c:pt>
                <c:pt idx="483">
                  <c:v>615</c:v>
                </c:pt>
                <c:pt idx="484">
                  <c:v>624</c:v>
                </c:pt>
                <c:pt idx="485">
                  <c:v>621</c:v>
                </c:pt>
                <c:pt idx="486">
                  <c:v>633</c:v>
                </c:pt>
                <c:pt idx="487">
                  <c:v>650</c:v>
                </c:pt>
                <c:pt idx="488">
                  <c:v>660</c:v>
                </c:pt>
                <c:pt idx="489">
                  <c:v>688</c:v>
                </c:pt>
                <c:pt idx="490">
                  <c:v>688</c:v>
                </c:pt>
                <c:pt idx="491">
                  <c:v>684</c:v>
                </c:pt>
                <c:pt idx="492">
                  <c:v>675</c:v>
                </c:pt>
                <c:pt idx="493">
                  <c:v>693</c:v>
                </c:pt>
                <c:pt idx="494">
                  <c:v>702</c:v>
                </c:pt>
                <c:pt idx="495">
                  <c:v>720</c:v>
                </c:pt>
                <c:pt idx="496">
                  <c:v>729</c:v>
                </c:pt>
                <c:pt idx="497">
                  <c:v>742</c:v>
                </c:pt>
                <c:pt idx="498">
                  <c:v>730</c:v>
                </c:pt>
                <c:pt idx="499">
                  <c:v>717</c:v>
                </c:pt>
                <c:pt idx="500">
                  <c:v>716</c:v>
                </c:pt>
                <c:pt idx="501">
                  <c:v>743</c:v>
                </c:pt>
                <c:pt idx="502">
                  <c:v>758</c:v>
                </c:pt>
                <c:pt idx="503">
                  <c:v>735</c:v>
                </c:pt>
                <c:pt idx="504">
                  <c:v>740</c:v>
                </c:pt>
                <c:pt idx="505">
                  <c:v>735</c:v>
                </c:pt>
                <c:pt idx="506">
                  <c:v>736</c:v>
                </c:pt>
                <c:pt idx="507">
                  <c:v>735</c:v>
                </c:pt>
              </c:numCache>
            </c:numRef>
          </c:val>
          <c:smooth val="0"/>
          <c:extLst>
            <c:ext xmlns:c16="http://schemas.microsoft.com/office/drawing/2014/chart" uri="{C3380CC4-5D6E-409C-BE32-E72D297353CC}">
              <c16:uniqueId val="{00000000-23B1-4E62-AC17-B854CDF50347}"/>
            </c:ext>
          </c:extLst>
        </c:ser>
        <c:dLbls>
          <c:showLegendKey val="0"/>
          <c:showVal val="0"/>
          <c:showCatName val="0"/>
          <c:showSerName val="0"/>
          <c:showPercent val="0"/>
          <c:showBubbleSize val="0"/>
        </c:dLbls>
        <c:marker val="1"/>
        <c:smooth val="0"/>
        <c:axId val="71011135"/>
        <c:axId val="71014743"/>
      </c:lineChart>
      <c:lineChart>
        <c:grouping val="standard"/>
        <c:varyColors val="0"/>
        <c:ser>
          <c:idx val="1"/>
          <c:order val="1"/>
          <c:tx>
            <c:v>Offshore (R Axis)</c:v>
          </c:tx>
          <c:spPr>
            <a:ln w="25400" cap="rnd">
              <a:solidFill>
                <a:schemeClr val="accent2"/>
              </a:solidFill>
              <a:round/>
            </a:ln>
            <a:effectLst/>
          </c:spPr>
          <c:marker>
            <c:symbol val="none"/>
          </c:marker>
          <c:cat>
            <c:numRef>
              <c:f>'Int''l Rig Count'!$A$3:$A$650</c:f>
              <c:numCache>
                <c:formatCode>[$-409]mmm\-yy;@</c:formatCode>
                <c:ptCount val="648"/>
                <c:pt idx="0">
                  <c:v>29952</c:v>
                </c:pt>
                <c:pt idx="1">
                  <c:v>29983</c:v>
                </c:pt>
                <c:pt idx="2">
                  <c:v>30011</c:v>
                </c:pt>
                <c:pt idx="3">
                  <c:v>30042</c:v>
                </c:pt>
                <c:pt idx="4">
                  <c:v>30072</c:v>
                </c:pt>
                <c:pt idx="5">
                  <c:v>30103</c:v>
                </c:pt>
                <c:pt idx="6">
                  <c:v>30133</c:v>
                </c:pt>
                <c:pt idx="7">
                  <c:v>30164</c:v>
                </c:pt>
                <c:pt idx="8">
                  <c:v>30195</c:v>
                </c:pt>
                <c:pt idx="9">
                  <c:v>30225</c:v>
                </c:pt>
                <c:pt idx="10">
                  <c:v>30256</c:v>
                </c:pt>
                <c:pt idx="11">
                  <c:v>30286</c:v>
                </c:pt>
                <c:pt idx="12">
                  <c:v>30317</c:v>
                </c:pt>
                <c:pt idx="13">
                  <c:v>30348</c:v>
                </c:pt>
                <c:pt idx="14">
                  <c:v>30376</c:v>
                </c:pt>
                <c:pt idx="15">
                  <c:v>30407</c:v>
                </c:pt>
                <c:pt idx="16">
                  <c:v>30437</c:v>
                </c:pt>
                <c:pt idx="17">
                  <c:v>30468</c:v>
                </c:pt>
                <c:pt idx="18">
                  <c:v>30498</c:v>
                </c:pt>
                <c:pt idx="19">
                  <c:v>30529</c:v>
                </c:pt>
                <c:pt idx="20">
                  <c:v>30560</c:v>
                </c:pt>
                <c:pt idx="21">
                  <c:v>30590</c:v>
                </c:pt>
                <c:pt idx="22">
                  <c:v>30621</c:v>
                </c:pt>
                <c:pt idx="23">
                  <c:v>30651</c:v>
                </c:pt>
                <c:pt idx="24">
                  <c:v>30682</c:v>
                </c:pt>
                <c:pt idx="25">
                  <c:v>30713</c:v>
                </c:pt>
                <c:pt idx="26">
                  <c:v>30742</c:v>
                </c:pt>
                <c:pt idx="27">
                  <c:v>30773</c:v>
                </c:pt>
                <c:pt idx="28">
                  <c:v>30803</c:v>
                </c:pt>
                <c:pt idx="29">
                  <c:v>30834</c:v>
                </c:pt>
                <c:pt idx="30">
                  <c:v>30864</c:v>
                </c:pt>
                <c:pt idx="31">
                  <c:v>30895</c:v>
                </c:pt>
                <c:pt idx="32">
                  <c:v>30926</c:v>
                </c:pt>
                <c:pt idx="33">
                  <c:v>30956</c:v>
                </c:pt>
                <c:pt idx="34">
                  <c:v>30987</c:v>
                </c:pt>
                <c:pt idx="35">
                  <c:v>31017</c:v>
                </c:pt>
                <c:pt idx="36">
                  <c:v>31048</c:v>
                </c:pt>
                <c:pt idx="37">
                  <c:v>31079</c:v>
                </c:pt>
                <c:pt idx="38">
                  <c:v>31107</c:v>
                </c:pt>
                <c:pt idx="39">
                  <c:v>31138</c:v>
                </c:pt>
                <c:pt idx="40">
                  <c:v>31168</c:v>
                </c:pt>
                <c:pt idx="41">
                  <c:v>31199</c:v>
                </c:pt>
                <c:pt idx="42">
                  <c:v>31229</c:v>
                </c:pt>
                <c:pt idx="43">
                  <c:v>31260</c:v>
                </c:pt>
                <c:pt idx="44">
                  <c:v>31291</c:v>
                </c:pt>
                <c:pt idx="45">
                  <c:v>31321</c:v>
                </c:pt>
                <c:pt idx="46">
                  <c:v>31352</c:v>
                </c:pt>
                <c:pt idx="47">
                  <c:v>31382</c:v>
                </c:pt>
                <c:pt idx="48">
                  <c:v>31413</c:v>
                </c:pt>
                <c:pt idx="49">
                  <c:v>31444</c:v>
                </c:pt>
                <c:pt idx="50">
                  <c:v>31472</c:v>
                </c:pt>
                <c:pt idx="51">
                  <c:v>31503</c:v>
                </c:pt>
                <c:pt idx="52">
                  <c:v>31533</c:v>
                </c:pt>
                <c:pt idx="53">
                  <c:v>31564</c:v>
                </c:pt>
                <c:pt idx="54">
                  <c:v>31594</c:v>
                </c:pt>
                <c:pt idx="55">
                  <c:v>31625</c:v>
                </c:pt>
                <c:pt idx="56">
                  <c:v>31656</c:v>
                </c:pt>
                <c:pt idx="57">
                  <c:v>31686</c:v>
                </c:pt>
                <c:pt idx="58">
                  <c:v>31717</c:v>
                </c:pt>
                <c:pt idx="59">
                  <c:v>31747</c:v>
                </c:pt>
                <c:pt idx="60">
                  <c:v>31778</c:v>
                </c:pt>
                <c:pt idx="61">
                  <c:v>31809</c:v>
                </c:pt>
                <c:pt idx="62">
                  <c:v>31837</c:v>
                </c:pt>
                <c:pt idx="63">
                  <c:v>31868</c:v>
                </c:pt>
                <c:pt idx="64">
                  <c:v>31898</c:v>
                </c:pt>
                <c:pt idx="65">
                  <c:v>31929</c:v>
                </c:pt>
                <c:pt idx="66">
                  <c:v>31959</c:v>
                </c:pt>
                <c:pt idx="67">
                  <c:v>31990</c:v>
                </c:pt>
                <c:pt idx="68">
                  <c:v>32021</c:v>
                </c:pt>
                <c:pt idx="69">
                  <c:v>32051</c:v>
                </c:pt>
                <c:pt idx="70">
                  <c:v>32082</c:v>
                </c:pt>
                <c:pt idx="71">
                  <c:v>32112</c:v>
                </c:pt>
                <c:pt idx="72">
                  <c:v>32143</c:v>
                </c:pt>
                <c:pt idx="73">
                  <c:v>32174</c:v>
                </c:pt>
                <c:pt idx="74">
                  <c:v>32203</c:v>
                </c:pt>
                <c:pt idx="75">
                  <c:v>32234</c:v>
                </c:pt>
                <c:pt idx="76">
                  <c:v>32264</c:v>
                </c:pt>
                <c:pt idx="77">
                  <c:v>32295</c:v>
                </c:pt>
                <c:pt idx="78">
                  <c:v>32325</c:v>
                </c:pt>
                <c:pt idx="79">
                  <c:v>32356</c:v>
                </c:pt>
                <c:pt idx="80">
                  <c:v>32387</c:v>
                </c:pt>
                <c:pt idx="81">
                  <c:v>32417</c:v>
                </c:pt>
                <c:pt idx="82">
                  <c:v>32448</c:v>
                </c:pt>
                <c:pt idx="83">
                  <c:v>32478</c:v>
                </c:pt>
                <c:pt idx="84">
                  <c:v>32509</c:v>
                </c:pt>
                <c:pt idx="85">
                  <c:v>32540</c:v>
                </c:pt>
                <c:pt idx="86">
                  <c:v>32568</c:v>
                </c:pt>
                <c:pt idx="87">
                  <c:v>32599</c:v>
                </c:pt>
                <c:pt idx="88">
                  <c:v>32629</c:v>
                </c:pt>
                <c:pt idx="89">
                  <c:v>32660</c:v>
                </c:pt>
                <c:pt idx="90">
                  <c:v>32690</c:v>
                </c:pt>
                <c:pt idx="91">
                  <c:v>32721</c:v>
                </c:pt>
                <c:pt idx="92">
                  <c:v>32752</c:v>
                </c:pt>
                <c:pt idx="93">
                  <c:v>32782</c:v>
                </c:pt>
                <c:pt idx="94">
                  <c:v>32813</c:v>
                </c:pt>
                <c:pt idx="95">
                  <c:v>32843</c:v>
                </c:pt>
                <c:pt idx="96">
                  <c:v>32874</c:v>
                </c:pt>
                <c:pt idx="97">
                  <c:v>32905</c:v>
                </c:pt>
                <c:pt idx="98">
                  <c:v>32933</c:v>
                </c:pt>
                <c:pt idx="99">
                  <c:v>32964</c:v>
                </c:pt>
                <c:pt idx="100">
                  <c:v>32994</c:v>
                </c:pt>
                <c:pt idx="101">
                  <c:v>33025</c:v>
                </c:pt>
                <c:pt idx="102">
                  <c:v>33055</c:v>
                </c:pt>
                <c:pt idx="103">
                  <c:v>33086</c:v>
                </c:pt>
                <c:pt idx="104">
                  <c:v>33117</c:v>
                </c:pt>
                <c:pt idx="105">
                  <c:v>33147</c:v>
                </c:pt>
                <c:pt idx="106">
                  <c:v>33178</c:v>
                </c:pt>
                <c:pt idx="107">
                  <c:v>33208</c:v>
                </c:pt>
                <c:pt idx="108">
                  <c:v>33239</c:v>
                </c:pt>
                <c:pt idx="109">
                  <c:v>33270</c:v>
                </c:pt>
                <c:pt idx="110">
                  <c:v>33298</c:v>
                </c:pt>
                <c:pt idx="111">
                  <c:v>33329</c:v>
                </c:pt>
                <c:pt idx="112">
                  <c:v>33359</c:v>
                </c:pt>
                <c:pt idx="113">
                  <c:v>33390</c:v>
                </c:pt>
                <c:pt idx="114">
                  <c:v>33420</c:v>
                </c:pt>
                <c:pt idx="115">
                  <c:v>33451</c:v>
                </c:pt>
                <c:pt idx="116">
                  <c:v>33482</c:v>
                </c:pt>
                <c:pt idx="117">
                  <c:v>33512</c:v>
                </c:pt>
                <c:pt idx="118">
                  <c:v>33543</c:v>
                </c:pt>
                <c:pt idx="119">
                  <c:v>33573</c:v>
                </c:pt>
                <c:pt idx="120">
                  <c:v>33604</c:v>
                </c:pt>
                <c:pt idx="121">
                  <c:v>33635</c:v>
                </c:pt>
                <c:pt idx="122">
                  <c:v>33664</c:v>
                </c:pt>
                <c:pt idx="123">
                  <c:v>33695</c:v>
                </c:pt>
                <c:pt idx="124">
                  <c:v>33725</c:v>
                </c:pt>
                <c:pt idx="125">
                  <c:v>33756</c:v>
                </c:pt>
                <c:pt idx="126">
                  <c:v>33786</c:v>
                </c:pt>
                <c:pt idx="127">
                  <c:v>33817</c:v>
                </c:pt>
                <c:pt idx="128">
                  <c:v>33848</c:v>
                </c:pt>
                <c:pt idx="129">
                  <c:v>33878</c:v>
                </c:pt>
                <c:pt idx="130">
                  <c:v>33909</c:v>
                </c:pt>
                <c:pt idx="131">
                  <c:v>33939</c:v>
                </c:pt>
                <c:pt idx="132">
                  <c:v>33970</c:v>
                </c:pt>
                <c:pt idx="133">
                  <c:v>34001</c:v>
                </c:pt>
                <c:pt idx="134">
                  <c:v>34029</c:v>
                </c:pt>
                <c:pt idx="135">
                  <c:v>34060</c:v>
                </c:pt>
                <c:pt idx="136">
                  <c:v>34090</c:v>
                </c:pt>
                <c:pt idx="137">
                  <c:v>34121</c:v>
                </c:pt>
                <c:pt idx="138">
                  <c:v>34151</c:v>
                </c:pt>
                <c:pt idx="139">
                  <c:v>34182</c:v>
                </c:pt>
                <c:pt idx="140">
                  <c:v>34213</c:v>
                </c:pt>
                <c:pt idx="141">
                  <c:v>34243</c:v>
                </c:pt>
                <c:pt idx="142">
                  <c:v>34274</c:v>
                </c:pt>
                <c:pt idx="143">
                  <c:v>34304</c:v>
                </c:pt>
                <c:pt idx="144">
                  <c:v>34335</c:v>
                </c:pt>
                <c:pt idx="145">
                  <c:v>34366</c:v>
                </c:pt>
                <c:pt idx="146">
                  <c:v>34394</c:v>
                </c:pt>
                <c:pt idx="147">
                  <c:v>34425</c:v>
                </c:pt>
                <c:pt idx="148">
                  <c:v>34455</c:v>
                </c:pt>
                <c:pt idx="149">
                  <c:v>34486</c:v>
                </c:pt>
                <c:pt idx="150">
                  <c:v>34516</c:v>
                </c:pt>
                <c:pt idx="151">
                  <c:v>34547</c:v>
                </c:pt>
                <c:pt idx="152">
                  <c:v>34578</c:v>
                </c:pt>
                <c:pt idx="153">
                  <c:v>34608</c:v>
                </c:pt>
                <c:pt idx="154">
                  <c:v>34639</c:v>
                </c:pt>
                <c:pt idx="155">
                  <c:v>34669</c:v>
                </c:pt>
                <c:pt idx="156">
                  <c:v>34700</c:v>
                </c:pt>
                <c:pt idx="157">
                  <c:v>34731</c:v>
                </c:pt>
                <c:pt idx="158">
                  <c:v>34759</c:v>
                </c:pt>
                <c:pt idx="159">
                  <c:v>34790</c:v>
                </c:pt>
                <c:pt idx="160">
                  <c:v>34820</c:v>
                </c:pt>
                <c:pt idx="161">
                  <c:v>34851</c:v>
                </c:pt>
                <c:pt idx="162">
                  <c:v>34881</c:v>
                </c:pt>
                <c:pt idx="163">
                  <c:v>34912</c:v>
                </c:pt>
                <c:pt idx="164">
                  <c:v>34943</c:v>
                </c:pt>
                <c:pt idx="165">
                  <c:v>34973</c:v>
                </c:pt>
                <c:pt idx="166">
                  <c:v>35004</c:v>
                </c:pt>
                <c:pt idx="167">
                  <c:v>35034</c:v>
                </c:pt>
                <c:pt idx="168">
                  <c:v>35065</c:v>
                </c:pt>
                <c:pt idx="169">
                  <c:v>35096</c:v>
                </c:pt>
                <c:pt idx="170">
                  <c:v>35125</c:v>
                </c:pt>
                <c:pt idx="171">
                  <c:v>35156</c:v>
                </c:pt>
                <c:pt idx="172">
                  <c:v>35186</c:v>
                </c:pt>
                <c:pt idx="173">
                  <c:v>35217</c:v>
                </c:pt>
                <c:pt idx="174">
                  <c:v>35247</c:v>
                </c:pt>
                <c:pt idx="175">
                  <c:v>35278</c:v>
                </c:pt>
                <c:pt idx="176">
                  <c:v>35309</c:v>
                </c:pt>
                <c:pt idx="177">
                  <c:v>35339</c:v>
                </c:pt>
                <c:pt idx="178">
                  <c:v>35370</c:v>
                </c:pt>
                <c:pt idx="179">
                  <c:v>35400</c:v>
                </c:pt>
                <c:pt idx="180">
                  <c:v>35431</c:v>
                </c:pt>
                <c:pt idx="181">
                  <c:v>35462</c:v>
                </c:pt>
                <c:pt idx="182">
                  <c:v>35490</c:v>
                </c:pt>
                <c:pt idx="183">
                  <c:v>35521</c:v>
                </c:pt>
                <c:pt idx="184">
                  <c:v>35551</c:v>
                </c:pt>
                <c:pt idx="185">
                  <c:v>35582</c:v>
                </c:pt>
                <c:pt idx="186">
                  <c:v>35612</c:v>
                </c:pt>
                <c:pt idx="187">
                  <c:v>35643</c:v>
                </c:pt>
                <c:pt idx="188">
                  <c:v>35674</c:v>
                </c:pt>
                <c:pt idx="189">
                  <c:v>35704</c:v>
                </c:pt>
                <c:pt idx="190">
                  <c:v>35735</c:v>
                </c:pt>
                <c:pt idx="191">
                  <c:v>35765</c:v>
                </c:pt>
                <c:pt idx="192">
                  <c:v>35796</c:v>
                </c:pt>
                <c:pt idx="193">
                  <c:v>35827</c:v>
                </c:pt>
                <c:pt idx="194">
                  <c:v>35855</c:v>
                </c:pt>
                <c:pt idx="195">
                  <c:v>35886</c:v>
                </c:pt>
                <c:pt idx="196">
                  <c:v>35916</c:v>
                </c:pt>
                <c:pt idx="197">
                  <c:v>35947</c:v>
                </c:pt>
                <c:pt idx="198">
                  <c:v>35977</c:v>
                </c:pt>
                <c:pt idx="199">
                  <c:v>36008</c:v>
                </c:pt>
                <c:pt idx="200">
                  <c:v>36039</c:v>
                </c:pt>
                <c:pt idx="201">
                  <c:v>36069</c:v>
                </c:pt>
                <c:pt idx="202">
                  <c:v>36100</c:v>
                </c:pt>
                <c:pt idx="203">
                  <c:v>36130</c:v>
                </c:pt>
                <c:pt idx="204">
                  <c:v>36161</c:v>
                </c:pt>
                <c:pt idx="205">
                  <c:v>36192</c:v>
                </c:pt>
                <c:pt idx="206">
                  <c:v>36220</c:v>
                </c:pt>
                <c:pt idx="207">
                  <c:v>36251</c:v>
                </c:pt>
                <c:pt idx="208">
                  <c:v>36281</c:v>
                </c:pt>
                <c:pt idx="209">
                  <c:v>36312</c:v>
                </c:pt>
                <c:pt idx="210">
                  <c:v>36342</c:v>
                </c:pt>
                <c:pt idx="211">
                  <c:v>36373</c:v>
                </c:pt>
                <c:pt idx="212">
                  <c:v>36404</c:v>
                </c:pt>
                <c:pt idx="213">
                  <c:v>36434</c:v>
                </c:pt>
                <c:pt idx="214">
                  <c:v>36465</c:v>
                </c:pt>
                <c:pt idx="215">
                  <c:v>36495</c:v>
                </c:pt>
                <c:pt idx="216">
                  <c:v>36526</c:v>
                </c:pt>
                <c:pt idx="217">
                  <c:v>36557</c:v>
                </c:pt>
                <c:pt idx="218">
                  <c:v>36586</c:v>
                </c:pt>
                <c:pt idx="219">
                  <c:v>36617</c:v>
                </c:pt>
                <c:pt idx="220">
                  <c:v>36647</c:v>
                </c:pt>
                <c:pt idx="221">
                  <c:v>36678</c:v>
                </c:pt>
                <c:pt idx="222">
                  <c:v>36708</c:v>
                </c:pt>
                <c:pt idx="223">
                  <c:v>36739</c:v>
                </c:pt>
                <c:pt idx="224">
                  <c:v>36770</c:v>
                </c:pt>
                <c:pt idx="225">
                  <c:v>36800</c:v>
                </c:pt>
                <c:pt idx="226">
                  <c:v>36831</c:v>
                </c:pt>
                <c:pt idx="227">
                  <c:v>36861</c:v>
                </c:pt>
                <c:pt idx="228">
                  <c:v>36892</c:v>
                </c:pt>
                <c:pt idx="229">
                  <c:v>36923</c:v>
                </c:pt>
                <c:pt idx="230">
                  <c:v>36951</c:v>
                </c:pt>
                <c:pt idx="231">
                  <c:v>36982</c:v>
                </c:pt>
                <c:pt idx="232">
                  <c:v>37012</c:v>
                </c:pt>
                <c:pt idx="233">
                  <c:v>37043</c:v>
                </c:pt>
                <c:pt idx="234">
                  <c:v>37073</c:v>
                </c:pt>
                <c:pt idx="235">
                  <c:v>37104</c:v>
                </c:pt>
                <c:pt idx="236">
                  <c:v>37135</c:v>
                </c:pt>
                <c:pt idx="237">
                  <c:v>37165</c:v>
                </c:pt>
                <c:pt idx="238">
                  <c:v>37196</c:v>
                </c:pt>
                <c:pt idx="239">
                  <c:v>37226</c:v>
                </c:pt>
                <c:pt idx="240">
                  <c:v>37258</c:v>
                </c:pt>
                <c:pt idx="241">
                  <c:v>37289</c:v>
                </c:pt>
                <c:pt idx="242">
                  <c:v>37317</c:v>
                </c:pt>
                <c:pt idx="243">
                  <c:v>37348</c:v>
                </c:pt>
                <c:pt idx="244">
                  <c:v>37378</c:v>
                </c:pt>
                <c:pt idx="245">
                  <c:v>37409</c:v>
                </c:pt>
                <c:pt idx="246">
                  <c:v>37439</c:v>
                </c:pt>
                <c:pt idx="247">
                  <c:v>37470</c:v>
                </c:pt>
                <c:pt idx="248">
                  <c:v>37501</c:v>
                </c:pt>
                <c:pt idx="249">
                  <c:v>37531</c:v>
                </c:pt>
                <c:pt idx="250">
                  <c:v>37562</c:v>
                </c:pt>
                <c:pt idx="251">
                  <c:v>37591</c:v>
                </c:pt>
                <c:pt idx="252">
                  <c:v>37624</c:v>
                </c:pt>
                <c:pt idx="253">
                  <c:v>37655</c:v>
                </c:pt>
                <c:pt idx="254">
                  <c:v>37683</c:v>
                </c:pt>
                <c:pt idx="255">
                  <c:v>37714</c:v>
                </c:pt>
                <c:pt idx="256">
                  <c:v>37744</c:v>
                </c:pt>
                <c:pt idx="257">
                  <c:v>37775</c:v>
                </c:pt>
                <c:pt idx="258">
                  <c:v>37805</c:v>
                </c:pt>
                <c:pt idx="259">
                  <c:v>37836</c:v>
                </c:pt>
                <c:pt idx="260">
                  <c:v>37867</c:v>
                </c:pt>
                <c:pt idx="261">
                  <c:v>37897</c:v>
                </c:pt>
                <c:pt idx="262">
                  <c:v>37928</c:v>
                </c:pt>
                <c:pt idx="263">
                  <c:v>37956</c:v>
                </c:pt>
                <c:pt idx="264">
                  <c:v>37990</c:v>
                </c:pt>
                <c:pt idx="265">
                  <c:v>38021</c:v>
                </c:pt>
                <c:pt idx="266">
                  <c:v>38050</c:v>
                </c:pt>
                <c:pt idx="267">
                  <c:v>38081</c:v>
                </c:pt>
                <c:pt idx="268">
                  <c:v>38111</c:v>
                </c:pt>
                <c:pt idx="269">
                  <c:v>38142</c:v>
                </c:pt>
                <c:pt idx="270">
                  <c:v>38172</c:v>
                </c:pt>
                <c:pt idx="271">
                  <c:v>38203</c:v>
                </c:pt>
                <c:pt idx="272">
                  <c:v>38234</c:v>
                </c:pt>
                <c:pt idx="273">
                  <c:v>38264</c:v>
                </c:pt>
                <c:pt idx="274">
                  <c:v>38295</c:v>
                </c:pt>
                <c:pt idx="275">
                  <c:v>38322</c:v>
                </c:pt>
                <c:pt idx="276">
                  <c:v>38357</c:v>
                </c:pt>
                <c:pt idx="277">
                  <c:v>38388</c:v>
                </c:pt>
                <c:pt idx="278">
                  <c:v>38416</c:v>
                </c:pt>
                <c:pt idx="279">
                  <c:v>38443</c:v>
                </c:pt>
                <c:pt idx="280">
                  <c:v>38477</c:v>
                </c:pt>
                <c:pt idx="281">
                  <c:v>38508</c:v>
                </c:pt>
                <c:pt idx="282">
                  <c:v>38538</c:v>
                </c:pt>
                <c:pt idx="283">
                  <c:v>38569</c:v>
                </c:pt>
                <c:pt idx="284">
                  <c:v>38600</c:v>
                </c:pt>
                <c:pt idx="285">
                  <c:v>38630</c:v>
                </c:pt>
                <c:pt idx="286">
                  <c:v>38661</c:v>
                </c:pt>
                <c:pt idx="287">
                  <c:v>38687</c:v>
                </c:pt>
                <c:pt idx="288">
                  <c:v>38723</c:v>
                </c:pt>
                <c:pt idx="289">
                  <c:v>38754</c:v>
                </c:pt>
                <c:pt idx="290">
                  <c:v>38782</c:v>
                </c:pt>
                <c:pt idx="291">
                  <c:v>38813</c:v>
                </c:pt>
                <c:pt idx="292">
                  <c:v>38843</c:v>
                </c:pt>
                <c:pt idx="293">
                  <c:v>38874</c:v>
                </c:pt>
                <c:pt idx="294">
                  <c:v>38904</c:v>
                </c:pt>
                <c:pt idx="295">
                  <c:v>38935</c:v>
                </c:pt>
                <c:pt idx="296">
                  <c:v>38966</c:v>
                </c:pt>
                <c:pt idx="297">
                  <c:v>38996</c:v>
                </c:pt>
                <c:pt idx="298">
                  <c:v>39027</c:v>
                </c:pt>
                <c:pt idx="299">
                  <c:v>39057</c:v>
                </c:pt>
                <c:pt idx="300">
                  <c:v>39088</c:v>
                </c:pt>
                <c:pt idx="301">
                  <c:v>39119</c:v>
                </c:pt>
                <c:pt idx="302">
                  <c:v>39147</c:v>
                </c:pt>
                <c:pt idx="303">
                  <c:v>39178</c:v>
                </c:pt>
                <c:pt idx="304">
                  <c:v>39208</c:v>
                </c:pt>
                <c:pt idx="305">
                  <c:v>39239</c:v>
                </c:pt>
                <c:pt idx="306">
                  <c:v>39269</c:v>
                </c:pt>
                <c:pt idx="307">
                  <c:v>39301</c:v>
                </c:pt>
                <c:pt idx="308">
                  <c:v>39333</c:v>
                </c:pt>
                <c:pt idx="309">
                  <c:v>39365</c:v>
                </c:pt>
                <c:pt idx="310">
                  <c:v>39393</c:v>
                </c:pt>
                <c:pt idx="311">
                  <c:v>39417</c:v>
                </c:pt>
                <c:pt idx="312">
                  <c:v>39448</c:v>
                </c:pt>
                <c:pt idx="313">
                  <c:v>39485</c:v>
                </c:pt>
                <c:pt idx="314">
                  <c:v>39514</c:v>
                </c:pt>
                <c:pt idx="315">
                  <c:v>39545</c:v>
                </c:pt>
                <c:pt idx="316">
                  <c:v>39575</c:v>
                </c:pt>
                <c:pt idx="317">
                  <c:v>39607</c:v>
                </c:pt>
                <c:pt idx="318">
                  <c:v>39639</c:v>
                </c:pt>
                <c:pt idx="319">
                  <c:v>39671</c:v>
                </c:pt>
                <c:pt idx="320">
                  <c:v>39703</c:v>
                </c:pt>
                <c:pt idx="321">
                  <c:v>39735</c:v>
                </c:pt>
                <c:pt idx="322">
                  <c:v>39767</c:v>
                </c:pt>
                <c:pt idx="323">
                  <c:v>39799</c:v>
                </c:pt>
                <c:pt idx="324">
                  <c:v>39831</c:v>
                </c:pt>
                <c:pt idx="325">
                  <c:v>39853</c:v>
                </c:pt>
                <c:pt idx="326">
                  <c:v>39875</c:v>
                </c:pt>
                <c:pt idx="327">
                  <c:v>39904</c:v>
                </c:pt>
                <c:pt idx="328">
                  <c:v>39949</c:v>
                </c:pt>
                <c:pt idx="329">
                  <c:v>39986</c:v>
                </c:pt>
                <c:pt idx="330">
                  <c:v>40003</c:v>
                </c:pt>
                <c:pt idx="331">
                  <c:v>40034</c:v>
                </c:pt>
                <c:pt idx="332">
                  <c:v>40065</c:v>
                </c:pt>
                <c:pt idx="333">
                  <c:v>40095</c:v>
                </c:pt>
                <c:pt idx="334">
                  <c:v>40126</c:v>
                </c:pt>
                <c:pt idx="335">
                  <c:v>40156</c:v>
                </c:pt>
                <c:pt idx="336">
                  <c:v>40187</c:v>
                </c:pt>
                <c:pt idx="337">
                  <c:v>40218</c:v>
                </c:pt>
                <c:pt idx="338">
                  <c:v>40247</c:v>
                </c:pt>
                <c:pt idx="339">
                  <c:v>40278</c:v>
                </c:pt>
                <c:pt idx="340">
                  <c:v>40308</c:v>
                </c:pt>
                <c:pt idx="341">
                  <c:v>40339</c:v>
                </c:pt>
                <c:pt idx="342">
                  <c:v>40369</c:v>
                </c:pt>
                <c:pt idx="343">
                  <c:v>40400</c:v>
                </c:pt>
                <c:pt idx="344">
                  <c:v>40431</c:v>
                </c:pt>
                <c:pt idx="345">
                  <c:v>40461</c:v>
                </c:pt>
                <c:pt idx="346">
                  <c:v>40492</c:v>
                </c:pt>
                <c:pt idx="347">
                  <c:v>40522</c:v>
                </c:pt>
                <c:pt idx="348">
                  <c:v>40554</c:v>
                </c:pt>
                <c:pt idx="349">
                  <c:v>40585</c:v>
                </c:pt>
                <c:pt idx="350">
                  <c:v>40613</c:v>
                </c:pt>
                <c:pt idx="351">
                  <c:v>40644</c:v>
                </c:pt>
                <c:pt idx="352">
                  <c:v>40670</c:v>
                </c:pt>
                <c:pt idx="353">
                  <c:v>40696</c:v>
                </c:pt>
                <c:pt idx="354">
                  <c:v>40735</c:v>
                </c:pt>
                <c:pt idx="355">
                  <c:v>40766</c:v>
                </c:pt>
                <c:pt idx="356">
                  <c:v>40797</c:v>
                </c:pt>
                <c:pt idx="357">
                  <c:v>40827</c:v>
                </c:pt>
                <c:pt idx="358">
                  <c:v>40858</c:v>
                </c:pt>
                <c:pt idx="359">
                  <c:v>40888</c:v>
                </c:pt>
                <c:pt idx="360">
                  <c:v>40920</c:v>
                </c:pt>
                <c:pt idx="361">
                  <c:v>40952</c:v>
                </c:pt>
                <c:pt idx="362">
                  <c:v>40984</c:v>
                </c:pt>
                <c:pt idx="363">
                  <c:v>41016</c:v>
                </c:pt>
                <c:pt idx="364">
                  <c:v>41047</c:v>
                </c:pt>
                <c:pt idx="365">
                  <c:v>41078</c:v>
                </c:pt>
                <c:pt idx="366">
                  <c:v>41109</c:v>
                </c:pt>
                <c:pt idx="367">
                  <c:v>41141</c:v>
                </c:pt>
                <c:pt idx="368">
                  <c:v>41172</c:v>
                </c:pt>
                <c:pt idx="369">
                  <c:v>41199</c:v>
                </c:pt>
                <c:pt idx="370">
                  <c:v>41230</c:v>
                </c:pt>
                <c:pt idx="371">
                  <c:v>41260</c:v>
                </c:pt>
                <c:pt idx="372">
                  <c:v>41292</c:v>
                </c:pt>
                <c:pt idx="373">
                  <c:v>41323</c:v>
                </c:pt>
                <c:pt idx="374">
                  <c:v>41351</c:v>
                </c:pt>
                <c:pt idx="375">
                  <c:v>41381</c:v>
                </c:pt>
                <c:pt idx="376">
                  <c:v>41412</c:v>
                </c:pt>
                <c:pt idx="377">
                  <c:v>41443</c:v>
                </c:pt>
                <c:pt idx="378">
                  <c:v>41473</c:v>
                </c:pt>
                <c:pt idx="379">
                  <c:v>41504</c:v>
                </c:pt>
                <c:pt idx="380">
                  <c:v>41535</c:v>
                </c:pt>
                <c:pt idx="381">
                  <c:v>41565</c:v>
                </c:pt>
                <c:pt idx="382">
                  <c:v>41596</c:v>
                </c:pt>
                <c:pt idx="383">
                  <c:v>41621</c:v>
                </c:pt>
                <c:pt idx="384">
                  <c:v>41646</c:v>
                </c:pt>
                <c:pt idx="385">
                  <c:v>41698</c:v>
                </c:pt>
                <c:pt idx="386">
                  <c:v>41726</c:v>
                </c:pt>
                <c:pt idx="387">
                  <c:v>41754</c:v>
                </c:pt>
                <c:pt idx="388">
                  <c:v>41789</c:v>
                </c:pt>
                <c:pt idx="389">
                  <c:v>41820</c:v>
                </c:pt>
                <c:pt idx="390">
                  <c:v>41850</c:v>
                </c:pt>
                <c:pt idx="391">
                  <c:v>41879</c:v>
                </c:pt>
                <c:pt idx="392">
                  <c:v>41908</c:v>
                </c:pt>
                <c:pt idx="393">
                  <c:v>41943</c:v>
                </c:pt>
                <c:pt idx="394">
                  <c:v>41973</c:v>
                </c:pt>
                <c:pt idx="395">
                  <c:v>42003</c:v>
                </c:pt>
                <c:pt idx="396">
                  <c:v>42005</c:v>
                </c:pt>
                <c:pt idx="397">
                  <c:v>42036</c:v>
                </c:pt>
                <c:pt idx="398">
                  <c:v>42064</c:v>
                </c:pt>
                <c:pt idx="399">
                  <c:v>42095</c:v>
                </c:pt>
                <c:pt idx="400">
                  <c:v>42125</c:v>
                </c:pt>
                <c:pt idx="401">
                  <c:v>42156</c:v>
                </c:pt>
                <c:pt idx="402">
                  <c:v>42186</c:v>
                </c:pt>
                <c:pt idx="403">
                  <c:v>42217</c:v>
                </c:pt>
                <c:pt idx="404">
                  <c:v>42248</c:v>
                </c:pt>
                <c:pt idx="405">
                  <c:v>42278</c:v>
                </c:pt>
                <c:pt idx="406">
                  <c:v>42309</c:v>
                </c:pt>
                <c:pt idx="407">
                  <c:v>42339</c:v>
                </c:pt>
                <c:pt idx="408">
                  <c:v>42370</c:v>
                </c:pt>
                <c:pt idx="409">
                  <c:v>42401</c:v>
                </c:pt>
                <c:pt idx="410">
                  <c:v>42430</c:v>
                </c:pt>
                <c:pt idx="411">
                  <c:v>42461</c:v>
                </c:pt>
                <c:pt idx="412">
                  <c:v>42491</c:v>
                </c:pt>
                <c:pt idx="413">
                  <c:v>42522</c:v>
                </c:pt>
                <c:pt idx="414">
                  <c:v>42552</c:v>
                </c:pt>
                <c:pt idx="415">
                  <c:v>42583</c:v>
                </c:pt>
                <c:pt idx="416">
                  <c:v>42614</c:v>
                </c:pt>
                <c:pt idx="417">
                  <c:v>42644</c:v>
                </c:pt>
                <c:pt idx="418">
                  <c:v>42675</c:v>
                </c:pt>
                <c:pt idx="419">
                  <c:v>42705</c:v>
                </c:pt>
                <c:pt idx="420">
                  <c:v>42736</c:v>
                </c:pt>
                <c:pt idx="421">
                  <c:v>42767</c:v>
                </c:pt>
                <c:pt idx="422">
                  <c:v>42795</c:v>
                </c:pt>
                <c:pt idx="423">
                  <c:v>42826</c:v>
                </c:pt>
                <c:pt idx="424">
                  <c:v>42856</c:v>
                </c:pt>
                <c:pt idx="425">
                  <c:v>42887</c:v>
                </c:pt>
                <c:pt idx="426">
                  <c:v>42917</c:v>
                </c:pt>
                <c:pt idx="427">
                  <c:v>42948</c:v>
                </c:pt>
                <c:pt idx="428">
                  <c:v>42979</c:v>
                </c:pt>
                <c:pt idx="429">
                  <c:v>43009</c:v>
                </c:pt>
                <c:pt idx="430">
                  <c:v>43040</c:v>
                </c:pt>
                <c:pt idx="431">
                  <c:v>43070</c:v>
                </c:pt>
                <c:pt idx="432">
                  <c:v>43101</c:v>
                </c:pt>
                <c:pt idx="433">
                  <c:v>43132</c:v>
                </c:pt>
                <c:pt idx="434">
                  <c:v>43160</c:v>
                </c:pt>
                <c:pt idx="435">
                  <c:v>43191</c:v>
                </c:pt>
                <c:pt idx="436">
                  <c:v>43221</c:v>
                </c:pt>
                <c:pt idx="437">
                  <c:v>43252</c:v>
                </c:pt>
                <c:pt idx="438">
                  <c:v>43282</c:v>
                </c:pt>
                <c:pt idx="439">
                  <c:v>43313</c:v>
                </c:pt>
                <c:pt idx="440">
                  <c:v>43344</c:v>
                </c:pt>
                <c:pt idx="441">
                  <c:v>43374</c:v>
                </c:pt>
                <c:pt idx="442">
                  <c:v>43405</c:v>
                </c:pt>
                <c:pt idx="443">
                  <c:v>43435</c:v>
                </c:pt>
                <c:pt idx="444">
                  <c:v>43466</c:v>
                </c:pt>
                <c:pt idx="445">
                  <c:v>43497</c:v>
                </c:pt>
                <c:pt idx="446">
                  <c:v>43525</c:v>
                </c:pt>
                <c:pt idx="447">
                  <c:v>43556</c:v>
                </c:pt>
                <c:pt idx="448">
                  <c:v>43586</c:v>
                </c:pt>
                <c:pt idx="449">
                  <c:v>43617</c:v>
                </c:pt>
                <c:pt idx="450">
                  <c:v>43647</c:v>
                </c:pt>
                <c:pt idx="451">
                  <c:v>43678</c:v>
                </c:pt>
                <c:pt idx="452">
                  <c:v>43709</c:v>
                </c:pt>
                <c:pt idx="453">
                  <c:v>43739</c:v>
                </c:pt>
                <c:pt idx="454">
                  <c:v>43770</c:v>
                </c:pt>
                <c:pt idx="455">
                  <c:v>43800</c:v>
                </c:pt>
                <c:pt idx="456">
                  <c:v>43831</c:v>
                </c:pt>
                <c:pt idx="457">
                  <c:v>43862</c:v>
                </c:pt>
                <c:pt idx="458">
                  <c:v>43891</c:v>
                </c:pt>
                <c:pt idx="459">
                  <c:v>43922</c:v>
                </c:pt>
                <c:pt idx="460">
                  <c:v>43952</c:v>
                </c:pt>
                <c:pt idx="461">
                  <c:v>43983</c:v>
                </c:pt>
                <c:pt idx="462">
                  <c:v>44013</c:v>
                </c:pt>
                <c:pt idx="463">
                  <c:v>44044</c:v>
                </c:pt>
                <c:pt idx="464">
                  <c:v>44075</c:v>
                </c:pt>
                <c:pt idx="465">
                  <c:v>44105</c:v>
                </c:pt>
                <c:pt idx="466">
                  <c:v>44136</c:v>
                </c:pt>
                <c:pt idx="467">
                  <c:v>44166</c:v>
                </c:pt>
                <c:pt idx="468">
                  <c:v>44197</c:v>
                </c:pt>
                <c:pt idx="469">
                  <c:v>44228</c:v>
                </c:pt>
                <c:pt idx="470">
                  <c:v>44256</c:v>
                </c:pt>
                <c:pt idx="471">
                  <c:v>44287</c:v>
                </c:pt>
                <c:pt idx="472">
                  <c:v>44317</c:v>
                </c:pt>
                <c:pt idx="473">
                  <c:v>44348</c:v>
                </c:pt>
                <c:pt idx="474">
                  <c:v>44378</c:v>
                </c:pt>
                <c:pt idx="475">
                  <c:v>44409</c:v>
                </c:pt>
                <c:pt idx="476">
                  <c:v>44440</c:v>
                </c:pt>
                <c:pt idx="477">
                  <c:v>44470</c:v>
                </c:pt>
                <c:pt idx="478">
                  <c:v>44501</c:v>
                </c:pt>
                <c:pt idx="479">
                  <c:v>44531</c:v>
                </c:pt>
                <c:pt idx="480">
                  <c:v>44562</c:v>
                </c:pt>
                <c:pt idx="481">
                  <c:v>44593</c:v>
                </c:pt>
                <c:pt idx="482">
                  <c:v>44621</c:v>
                </c:pt>
                <c:pt idx="483">
                  <c:v>44652</c:v>
                </c:pt>
                <c:pt idx="484">
                  <c:v>44682</c:v>
                </c:pt>
                <c:pt idx="485">
                  <c:v>44713</c:v>
                </c:pt>
                <c:pt idx="486">
                  <c:v>44743</c:v>
                </c:pt>
                <c:pt idx="487">
                  <c:v>44774</c:v>
                </c:pt>
                <c:pt idx="488">
                  <c:v>44805</c:v>
                </c:pt>
                <c:pt idx="489">
                  <c:v>44835</c:v>
                </c:pt>
                <c:pt idx="490">
                  <c:v>44866</c:v>
                </c:pt>
                <c:pt idx="491">
                  <c:v>44896</c:v>
                </c:pt>
                <c:pt idx="492">
                  <c:v>44927</c:v>
                </c:pt>
                <c:pt idx="493">
                  <c:v>44958</c:v>
                </c:pt>
                <c:pt idx="494">
                  <c:v>44986</c:v>
                </c:pt>
                <c:pt idx="495">
                  <c:v>45017</c:v>
                </c:pt>
                <c:pt idx="496">
                  <c:v>45047</c:v>
                </c:pt>
                <c:pt idx="497">
                  <c:v>45078</c:v>
                </c:pt>
                <c:pt idx="498">
                  <c:v>45108</c:v>
                </c:pt>
                <c:pt idx="499">
                  <c:v>45139</c:v>
                </c:pt>
                <c:pt idx="500">
                  <c:v>45170</c:v>
                </c:pt>
                <c:pt idx="501">
                  <c:v>45200</c:v>
                </c:pt>
                <c:pt idx="502">
                  <c:v>45231</c:v>
                </c:pt>
                <c:pt idx="503">
                  <c:v>45261</c:v>
                </c:pt>
                <c:pt idx="504">
                  <c:v>45292</c:v>
                </c:pt>
                <c:pt idx="505">
                  <c:v>45323</c:v>
                </c:pt>
                <c:pt idx="506">
                  <c:v>45352</c:v>
                </c:pt>
                <c:pt idx="507">
                  <c:v>45383</c:v>
                </c:pt>
              </c:numCache>
            </c:numRef>
          </c:cat>
          <c:val>
            <c:numRef>
              <c:f>'Int''l Rig Count'!$C$3:$C$650</c:f>
              <c:numCache>
                <c:formatCode>#,##0_);\(#,##0\);\–_)</c:formatCode>
                <c:ptCount val="648"/>
                <c:pt idx="0">
                  <c:v>379</c:v>
                </c:pt>
                <c:pt idx="1">
                  <c:v>385</c:v>
                </c:pt>
                <c:pt idx="2">
                  <c:v>403</c:v>
                </c:pt>
                <c:pt idx="3">
                  <c:v>391</c:v>
                </c:pt>
                <c:pt idx="4">
                  <c:v>399</c:v>
                </c:pt>
                <c:pt idx="5">
                  <c:v>410</c:v>
                </c:pt>
                <c:pt idx="6">
                  <c:v>405</c:v>
                </c:pt>
                <c:pt idx="7">
                  <c:v>395</c:v>
                </c:pt>
                <c:pt idx="8">
                  <c:v>404</c:v>
                </c:pt>
                <c:pt idx="9">
                  <c:v>401</c:v>
                </c:pt>
                <c:pt idx="10">
                  <c:v>408</c:v>
                </c:pt>
                <c:pt idx="11">
                  <c:v>399</c:v>
                </c:pt>
                <c:pt idx="12">
                  <c:v>399</c:v>
                </c:pt>
                <c:pt idx="13">
                  <c:v>371</c:v>
                </c:pt>
                <c:pt idx="14">
                  <c:v>358</c:v>
                </c:pt>
                <c:pt idx="15">
                  <c:v>349</c:v>
                </c:pt>
                <c:pt idx="16">
                  <c:v>342</c:v>
                </c:pt>
                <c:pt idx="17">
                  <c:v>358</c:v>
                </c:pt>
                <c:pt idx="18">
                  <c:v>349</c:v>
                </c:pt>
                <c:pt idx="19">
                  <c:v>343</c:v>
                </c:pt>
                <c:pt idx="20">
                  <c:v>338</c:v>
                </c:pt>
                <c:pt idx="21">
                  <c:v>335</c:v>
                </c:pt>
                <c:pt idx="22">
                  <c:v>347</c:v>
                </c:pt>
                <c:pt idx="23">
                  <c:v>351</c:v>
                </c:pt>
                <c:pt idx="24">
                  <c:v>338</c:v>
                </c:pt>
                <c:pt idx="25">
                  <c:v>337</c:v>
                </c:pt>
                <c:pt idx="26">
                  <c:v>336</c:v>
                </c:pt>
                <c:pt idx="27">
                  <c:v>345</c:v>
                </c:pt>
                <c:pt idx="28">
                  <c:v>354</c:v>
                </c:pt>
                <c:pt idx="29">
                  <c:v>342</c:v>
                </c:pt>
                <c:pt idx="30">
                  <c:v>353</c:v>
                </c:pt>
                <c:pt idx="31">
                  <c:v>347</c:v>
                </c:pt>
                <c:pt idx="32">
                  <c:v>346</c:v>
                </c:pt>
                <c:pt idx="33">
                  <c:v>348</c:v>
                </c:pt>
                <c:pt idx="34">
                  <c:v>348</c:v>
                </c:pt>
                <c:pt idx="35">
                  <c:v>357</c:v>
                </c:pt>
                <c:pt idx="36">
                  <c:v>357</c:v>
                </c:pt>
                <c:pt idx="37">
                  <c:v>346</c:v>
                </c:pt>
                <c:pt idx="38">
                  <c:v>359</c:v>
                </c:pt>
                <c:pt idx="39">
                  <c:v>357</c:v>
                </c:pt>
                <c:pt idx="40">
                  <c:v>357</c:v>
                </c:pt>
                <c:pt idx="41">
                  <c:v>368</c:v>
                </c:pt>
                <c:pt idx="42">
                  <c:v>356</c:v>
                </c:pt>
                <c:pt idx="43">
                  <c:v>353</c:v>
                </c:pt>
                <c:pt idx="44">
                  <c:v>351</c:v>
                </c:pt>
                <c:pt idx="45">
                  <c:v>344</c:v>
                </c:pt>
                <c:pt idx="46">
                  <c:v>353</c:v>
                </c:pt>
                <c:pt idx="47">
                  <c:v>337</c:v>
                </c:pt>
                <c:pt idx="48">
                  <c:v>333</c:v>
                </c:pt>
                <c:pt idx="49">
                  <c:v>329</c:v>
                </c:pt>
                <c:pt idx="50">
                  <c:v>313</c:v>
                </c:pt>
                <c:pt idx="51">
                  <c:v>301</c:v>
                </c:pt>
                <c:pt idx="52">
                  <c:v>274</c:v>
                </c:pt>
                <c:pt idx="53">
                  <c:v>274</c:v>
                </c:pt>
                <c:pt idx="54">
                  <c:v>271</c:v>
                </c:pt>
                <c:pt idx="55">
                  <c:v>259</c:v>
                </c:pt>
                <c:pt idx="56">
                  <c:v>234</c:v>
                </c:pt>
                <c:pt idx="57">
                  <c:v>248</c:v>
                </c:pt>
                <c:pt idx="58">
                  <c:v>252</c:v>
                </c:pt>
                <c:pt idx="59">
                  <c:v>250</c:v>
                </c:pt>
                <c:pt idx="60">
                  <c:v>255</c:v>
                </c:pt>
                <c:pt idx="61">
                  <c:v>245</c:v>
                </c:pt>
                <c:pt idx="62">
                  <c:v>233</c:v>
                </c:pt>
                <c:pt idx="63">
                  <c:v>243</c:v>
                </c:pt>
                <c:pt idx="64">
                  <c:v>245</c:v>
                </c:pt>
                <c:pt idx="65">
                  <c:v>242</c:v>
                </c:pt>
                <c:pt idx="66">
                  <c:v>222</c:v>
                </c:pt>
                <c:pt idx="67">
                  <c:v>243</c:v>
                </c:pt>
                <c:pt idx="68">
                  <c:v>238</c:v>
                </c:pt>
                <c:pt idx="69">
                  <c:v>255</c:v>
                </c:pt>
                <c:pt idx="70">
                  <c:v>276</c:v>
                </c:pt>
                <c:pt idx="71">
                  <c:v>276</c:v>
                </c:pt>
                <c:pt idx="72">
                  <c:v>257</c:v>
                </c:pt>
                <c:pt idx="73">
                  <c:v>265</c:v>
                </c:pt>
                <c:pt idx="74">
                  <c:v>278</c:v>
                </c:pt>
                <c:pt idx="75">
                  <c:v>277</c:v>
                </c:pt>
                <c:pt idx="76">
                  <c:v>286</c:v>
                </c:pt>
                <c:pt idx="77">
                  <c:v>290</c:v>
                </c:pt>
                <c:pt idx="78">
                  <c:v>295</c:v>
                </c:pt>
                <c:pt idx="79">
                  <c:v>289</c:v>
                </c:pt>
                <c:pt idx="80">
                  <c:v>288</c:v>
                </c:pt>
                <c:pt idx="81">
                  <c:v>271</c:v>
                </c:pt>
                <c:pt idx="82">
                  <c:v>273</c:v>
                </c:pt>
                <c:pt idx="83">
                  <c:v>268</c:v>
                </c:pt>
                <c:pt idx="84">
                  <c:v>269</c:v>
                </c:pt>
                <c:pt idx="85">
                  <c:v>256</c:v>
                </c:pt>
                <c:pt idx="86">
                  <c:v>244</c:v>
                </c:pt>
                <c:pt idx="87">
                  <c:v>251</c:v>
                </c:pt>
                <c:pt idx="88">
                  <c:v>244</c:v>
                </c:pt>
                <c:pt idx="89">
                  <c:v>247</c:v>
                </c:pt>
                <c:pt idx="90">
                  <c:v>258</c:v>
                </c:pt>
                <c:pt idx="91">
                  <c:v>244</c:v>
                </c:pt>
                <c:pt idx="92">
                  <c:v>232</c:v>
                </c:pt>
                <c:pt idx="93">
                  <c:v>243</c:v>
                </c:pt>
                <c:pt idx="94">
                  <c:v>247</c:v>
                </c:pt>
                <c:pt idx="95">
                  <c:v>256</c:v>
                </c:pt>
                <c:pt idx="96">
                  <c:v>260</c:v>
                </c:pt>
                <c:pt idx="97">
                  <c:v>248</c:v>
                </c:pt>
                <c:pt idx="98">
                  <c:v>253</c:v>
                </c:pt>
                <c:pt idx="99">
                  <c:v>265</c:v>
                </c:pt>
                <c:pt idx="100">
                  <c:v>260</c:v>
                </c:pt>
                <c:pt idx="101">
                  <c:v>268</c:v>
                </c:pt>
                <c:pt idx="102">
                  <c:v>265</c:v>
                </c:pt>
                <c:pt idx="103">
                  <c:v>242</c:v>
                </c:pt>
                <c:pt idx="104">
                  <c:v>256</c:v>
                </c:pt>
                <c:pt idx="105">
                  <c:v>260</c:v>
                </c:pt>
                <c:pt idx="106">
                  <c:v>253</c:v>
                </c:pt>
                <c:pt idx="107">
                  <c:v>258</c:v>
                </c:pt>
                <c:pt idx="108">
                  <c:v>257</c:v>
                </c:pt>
                <c:pt idx="109">
                  <c:v>243</c:v>
                </c:pt>
                <c:pt idx="110">
                  <c:v>250</c:v>
                </c:pt>
                <c:pt idx="111">
                  <c:v>247</c:v>
                </c:pt>
                <c:pt idx="112">
                  <c:v>250</c:v>
                </c:pt>
                <c:pt idx="113">
                  <c:v>262</c:v>
                </c:pt>
                <c:pt idx="114">
                  <c:v>259</c:v>
                </c:pt>
                <c:pt idx="115">
                  <c:v>243</c:v>
                </c:pt>
                <c:pt idx="116">
                  <c:v>219</c:v>
                </c:pt>
                <c:pt idx="117">
                  <c:v>234</c:v>
                </c:pt>
                <c:pt idx="118">
                  <c:v>235</c:v>
                </c:pt>
                <c:pt idx="119">
                  <c:v>258</c:v>
                </c:pt>
                <c:pt idx="120">
                  <c:v>244</c:v>
                </c:pt>
                <c:pt idx="121">
                  <c:v>244</c:v>
                </c:pt>
                <c:pt idx="122">
                  <c:v>247</c:v>
                </c:pt>
                <c:pt idx="123">
                  <c:v>233</c:v>
                </c:pt>
                <c:pt idx="124">
                  <c:v>239</c:v>
                </c:pt>
                <c:pt idx="125">
                  <c:v>237</c:v>
                </c:pt>
                <c:pt idx="126">
                  <c:v>236</c:v>
                </c:pt>
                <c:pt idx="127">
                  <c:v>229</c:v>
                </c:pt>
                <c:pt idx="128">
                  <c:v>229</c:v>
                </c:pt>
                <c:pt idx="129">
                  <c:v>223</c:v>
                </c:pt>
                <c:pt idx="130">
                  <c:v>232</c:v>
                </c:pt>
                <c:pt idx="131">
                  <c:v>229</c:v>
                </c:pt>
                <c:pt idx="132">
                  <c:v>206</c:v>
                </c:pt>
                <c:pt idx="133">
                  <c:v>221</c:v>
                </c:pt>
                <c:pt idx="134">
                  <c:v>232</c:v>
                </c:pt>
                <c:pt idx="135">
                  <c:v>232</c:v>
                </c:pt>
                <c:pt idx="136">
                  <c:v>226</c:v>
                </c:pt>
                <c:pt idx="137">
                  <c:v>218</c:v>
                </c:pt>
                <c:pt idx="138">
                  <c:v>221</c:v>
                </c:pt>
                <c:pt idx="139">
                  <c:v>226</c:v>
                </c:pt>
                <c:pt idx="140">
                  <c:v>233</c:v>
                </c:pt>
                <c:pt idx="141">
                  <c:v>236</c:v>
                </c:pt>
                <c:pt idx="142">
                  <c:v>223</c:v>
                </c:pt>
                <c:pt idx="143">
                  <c:v>215</c:v>
                </c:pt>
                <c:pt idx="144">
                  <c:v>227</c:v>
                </c:pt>
                <c:pt idx="145">
                  <c:v>220</c:v>
                </c:pt>
                <c:pt idx="146">
                  <c:v>216</c:v>
                </c:pt>
                <c:pt idx="147">
                  <c:v>207</c:v>
                </c:pt>
                <c:pt idx="148">
                  <c:v>211</c:v>
                </c:pt>
                <c:pt idx="149">
                  <c:v>216</c:v>
                </c:pt>
                <c:pt idx="150">
                  <c:v>213</c:v>
                </c:pt>
                <c:pt idx="151">
                  <c:v>194</c:v>
                </c:pt>
                <c:pt idx="152">
                  <c:v>211</c:v>
                </c:pt>
                <c:pt idx="153">
                  <c:v>205</c:v>
                </c:pt>
                <c:pt idx="154">
                  <c:v>206</c:v>
                </c:pt>
                <c:pt idx="155">
                  <c:v>201</c:v>
                </c:pt>
                <c:pt idx="156">
                  <c:v>205</c:v>
                </c:pt>
                <c:pt idx="157">
                  <c:v>209</c:v>
                </c:pt>
                <c:pt idx="158">
                  <c:v>205</c:v>
                </c:pt>
                <c:pt idx="159">
                  <c:v>207</c:v>
                </c:pt>
                <c:pt idx="160">
                  <c:v>197</c:v>
                </c:pt>
                <c:pt idx="161">
                  <c:v>227</c:v>
                </c:pt>
                <c:pt idx="162">
                  <c:v>209</c:v>
                </c:pt>
                <c:pt idx="163">
                  <c:v>209</c:v>
                </c:pt>
                <c:pt idx="164">
                  <c:v>208</c:v>
                </c:pt>
                <c:pt idx="165">
                  <c:v>208</c:v>
                </c:pt>
                <c:pt idx="166">
                  <c:v>207</c:v>
                </c:pt>
                <c:pt idx="167">
                  <c:v>235</c:v>
                </c:pt>
                <c:pt idx="168">
                  <c:v>222</c:v>
                </c:pt>
                <c:pt idx="169">
                  <c:v>224</c:v>
                </c:pt>
                <c:pt idx="170">
                  <c:v>232</c:v>
                </c:pt>
                <c:pt idx="171">
                  <c:v>237</c:v>
                </c:pt>
                <c:pt idx="172">
                  <c:v>246</c:v>
                </c:pt>
                <c:pt idx="173">
                  <c:v>251</c:v>
                </c:pt>
                <c:pt idx="174">
                  <c:v>247</c:v>
                </c:pt>
                <c:pt idx="175">
                  <c:v>235</c:v>
                </c:pt>
                <c:pt idx="176">
                  <c:v>248</c:v>
                </c:pt>
                <c:pt idx="177">
                  <c:v>234</c:v>
                </c:pt>
                <c:pt idx="178">
                  <c:v>247</c:v>
                </c:pt>
                <c:pt idx="179">
                  <c:v>248</c:v>
                </c:pt>
                <c:pt idx="180">
                  <c:v>254</c:v>
                </c:pt>
                <c:pt idx="181">
                  <c:v>254</c:v>
                </c:pt>
                <c:pt idx="182">
                  <c:v>244</c:v>
                </c:pt>
                <c:pt idx="183">
                  <c:v>257</c:v>
                </c:pt>
                <c:pt idx="184">
                  <c:v>253</c:v>
                </c:pt>
                <c:pt idx="185">
                  <c:v>261</c:v>
                </c:pt>
                <c:pt idx="186">
                  <c:v>267</c:v>
                </c:pt>
                <c:pt idx="187">
                  <c:v>257</c:v>
                </c:pt>
                <c:pt idx="188">
                  <c:v>251</c:v>
                </c:pt>
                <c:pt idx="189">
                  <c:v>254</c:v>
                </c:pt>
                <c:pt idx="190">
                  <c:v>249</c:v>
                </c:pt>
                <c:pt idx="191">
                  <c:v>248</c:v>
                </c:pt>
                <c:pt idx="192">
                  <c:v>254</c:v>
                </c:pt>
                <c:pt idx="193">
                  <c:v>276</c:v>
                </c:pt>
                <c:pt idx="194">
                  <c:v>274</c:v>
                </c:pt>
                <c:pt idx="195">
                  <c:v>270</c:v>
                </c:pt>
                <c:pt idx="196">
                  <c:v>266</c:v>
                </c:pt>
                <c:pt idx="197">
                  <c:v>264</c:v>
                </c:pt>
                <c:pt idx="198">
                  <c:v>233</c:v>
                </c:pt>
                <c:pt idx="199">
                  <c:v>236</c:v>
                </c:pt>
                <c:pt idx="200">
                  <c:v>248</c:v>
                </c:pt>
                <c:pt idx="201">
                  <c:v>232</c:v>
                </c:pt>
                <c:pt idx="202">
                  <c:v>220</c:v>
                </c:pt>
                <c:pt idx="203">
                  <c:v>223</c:v>
                </c:pt>
                <c:pt idx="204">
                  <c:v>203</c:v>
                </c:pt>
                <c:pt idx="205">
                  <c:v>200</c:v>
                </c:pt>
                <c:pt idx="206">
                  <c:v>206</c:v>
                </c:pt>
                <c:pt idx="207">
                  <c:v>191</c:v>
                </c:pt>
                <c:pt idx="208">
                  <c:v>185</c:v>
                </c:pt>
                <c:pt idx="209">
                  <c:v>200</c:v>
                </c:pt>
                <c:pt idx="210">
                  <c:v>183</c:v>
                </c:pt>
                <c:pt idx="211">
                  <c:v>164</c:v>
                </c:pt>
                <c:pt idx="212">
                  <c:v>152</c:v>
                </c:pt>
                <c:pt idx="213">
                  <c:v>157</c:v>
                </c:pt>
                <c:pt idx="214">
                  <c:v>158</c:v>
                </c:pt>
                <c:pt idx="215">
                  <c:v>159</c:v>
                </c:pt>
                <c:pt idx="216">
                  <c:v>154</c:v>
                </c:pt>
                <c:pt idx="217">
                  <c:v>154</c:v>
                </c:pt>
                <c:pt idx="218">
                  <c:v>173</c:v>
                </c:pt>
                <c:pt idx="219">
                  <c:v>168</c:v>
                </c:pt>
                <c:pt idx="220">
                  <c:v>166</c:v>
                </c:pt>
                <c:pt idx="221">
                  <c:v>192</c:v>
                </c:pt>
                <c:pt idx="222">
                  <c:v>189</c:v>
                </c:pt>
                <c:pt idx="223">
                  <c:v>208</c:v>
                </c:pt>
                <c:pt idx="224">
                  <c:v>213</c:v>
                </c:pt>
                <c:pt idx="225">
                  <c:v>219</c:v>
                </c:pt>
                <c:pt idx="226">
                  <c:v>196</c:v>
                </c:pt>
                <c:pt idx="227">
                  <c:v>201</c:v>
                </c:pt>
                <c:pt idx="228">
                  <c:v>206</c:v>
                </c:pt>
                <c:pt idx="229">
                  <c:v>207</c:v>
                </c:pt>
                <c:pt idx="230">
                  <c:v>207</c:v>
                </c:pt>
                <c:pt idx="231">
                  <c:v>219</c:v>
                </c:pt>
                <c:pt idx="232">
                  <c:v>230</c:v>
                </c:pt>
                <c:pt idx="233">
                  <c:v>232</c:v>
                </c:pt>
                <c:pt idx="234">
                  <c:v>217</c:v>
                </c:pt>
                <c:pt idx="235">
                  <c:v>219</c:v>
                </c:pt>
                <c:pt idx="236">
                  <c:v>226</c:v>
                </c:pt>
                <c:pt idx="237">
                  <c:v>230</c:v>
                </c:pt>
                <c:pt idx="238">
                  <c:v>220</c:v>
                </c:pt>
                <c:pt idx="239">
                  <c:v>222</c:v>
                </c:pt>
                <c:pt idx="240">
                  <c:v>235</c:v>
                </c:pt>
                <c:pt idx="241">
                  <c:v>214</c:v>
                </c:pt>
                <c:pt idx="242">
                  <c:v>225</c:v>
                </c:pt>
                <c:pt idx="243">
                  <c:v>225</c:v>
                </c:pt>
                <c:pt idx="244">
                  <c:v>219</c:v>
                </c:pt>
                <c:pt idx="245">
                  <c:v>232</c:v>
                </c:pt>
                <c:pt idx="246">
                  <c:v>214</c:v>
                </c:pt>
                <c:pt idx="247">
                  <c:v>222</c:v>
                </c:pt>
                <c:pt idx="248">
                  <c:v>233</c:v>
                </c:pt>
                <c:pt idx="249">
                  <c:v>235</c:v>
                </c:pt>
                <c:pt idx="250">
                  <c:v>237</c:v>
                </c:pt>
                <c:pt idx="251">
                  <c:v>214</c:v>
                </c:pt>
                <c:pt idx="252">
                  <c:v>213</c:v>
                </c:pt>
                <c:pt idx="253">
                  <c:v>218</c:v>
                </c:pt>
                <c:pt idx="254">
                  <c:v>208</c:v>
                </c:pt>
                <c:pt idx="255">
                  <c:v>224</c:v>
                </c:pt>
                <c:pt idx="256">
                  <c:v>235</c:v>
                </c:pt>
                <c:pt idx="257">
                  <c:v>234</c:v>
                </c:pt>
                <c:pt idx="258">
                  <c:v>231</c:v>
                </c:pt>
                <c:pt idx="259">
                  <c:v>216</c:v>
                </c:pt>
                <c:pt idx="260">
                  <c:v>229</c:v>
                </c:pt>
                <c:pt idx="261">
                  <c:v>232</c:v>
                </c:pt>
                <c:pt idx="262">
                  <c:v>230</c:v>
                </c:pt>
                <c:pt idx="263">
                  <c:v>247</c:v>
                </c:pt>
                <c:pt idx="264">
                  <c:v>234</c:v>
                </c:pt>
                <c:pt idx="265">
                  <c:v>236</c:v>
                </c:pt>
                <c:pt idx="266">
                  <c:v>236</c:v>
                </c:pt>
                <c:pt idx="267">
                  <c:v>260</c:v>
                </c:pt>
                <c:pt idx="268">
                  <c:v>249</c:v>
                </c:pt>
                <c:pt idx="269">
                  <c:v>243</c:v>
                </c:pt>
                <c:pt idx="270">
                  <c:v>221</c:v>
                </c:pt>
                <c:pt idx="271">
                  <c:v>244</c:v>
                </c:pt>
                <c:pt idx="272">
                  <c:v>235</c:v>
                </c:pt>
                <c:pt idx="273">
                  <c:v>234</c:v>
                </c:pt>
                <c:pt idx="274">
                  <c:v>259</c:v>
                </c:pt>
                <c:pt idx="275">
                  <c:v>248</c:v>
                </c:pt>
                <c:pt idx="276">
                  <c:v>234</c:v>
                </c:pt>
                <c:pt idx="277">
                  <c:v>253</c:v>
                </c:pt>
                <c:pt idx="278">
                  <c:v>254</c:v>
                </c:pt>
                <c:pt idx="279">
                  <c:v>266</c:v>
                </c:pt>
                <c:pt idx="280">
                  <c:v>275</c:v>
                </c:pt>
                <c:pt idx="281">
                  <c:v>291</c:v>
                </c:pt>
                <c:pt idx="282">
                  <c:v>278</c:v>
                </c:pt>
                <c:pt idx="283">
                  <c:v>268</c:v>
                </c:pt>
                <c:pt idx="284">
                  <c:v>269</c:v>
                </c:pt>
                <c:pt idx="285">
                  <c:v>264</c:v>
                </c:pt>
                <c:pt idx="286">
                  <c:v>267</c:v>
                </c:pt>
                <c:pt idx="287">
                  <c:v>264</c:v>
                </c:pt>
                <c:pt idx="288">
                  <c:v>263</c:v>
                </c:pt>
                <c:pt idx="289">
                  <c:v>267</c:v>
                </c:pt>
                <c:pt idx="290">
                  <c:v>274</c:v>
                </c:pt>
                <c:pt idx="291">
                  <c:v>269</c:v>
                </c:pt>
                <c:pt idx="292">
                  <c:v>275</c:v>
                </c:pt>
                <c:pt idx="293">
                  <c:v>265</c:v>
                </c:pt>
                <c:pt idx="294">
                  <c:v>269</c:v>
                </c:pt>
                <c:pt idx="295">
                  <c:v>278</c:v>
                </c:pt>
                <c:pt idx="296">
                  <c:v>264</c:v>
                </c:pt>
                <c:pt idx="297">
                  <c:v>274</c:v>
                </c:pt>
                <c:pt idx="298">
                  <c:v>260</c:v>
                </c:pt>
                <c:pt idx="299">
                  <c:v>271</c:v>
                </c:pt>
                <c:pt idx="300">
                  <c:v>276</c:v>
                </c:pt>
                <c:pt idx="301">
                  <c:v>286</c:v>
                </c:pt>
                <c:pt idx="302">
                  <c:v>283</c:v>
                </c:pt>
                <c:pt idx="303">
                  <c:v>294</c:v>
                </c:pt>
                <c:pt idx="304">
                  <c:v>296</c:v>
                </c:pt>
                <c:pt idx="305">
                  <c:v>285</c:v>
                </c:pt>
                <c:pt idx="306">
                  <c:v>296</c:v>
                </c:pt>
                <c:pt idx="307">
                  <c:v>280</c:v>
                </c:pt>
                <c:pt idx="308">
                  <c:v>285</c:v>
                </c:pt>
                <c:pt idx="309">
                  <c:v>286</c:v>
                </c:pt>
                <c:pt idx="310">
                  <c:v>272</c:v>
                </c:pt>
                <c:pt idx="311">
                  <c:v>291</c:v>
                </c:pt>
                <c:pt idx="312">
                  <c:v>291</c:v>
                </c:pt>
                <c:pt idx="313">
                  <c:v>275</c:v>
                </c:pt>
                <c:pt idx="314">
                  <c:v>285</c:v>
                </c:pt>
                <c:pt idx="315">
                  <c:v>297</c:v>
                </c:pt>
                <c:pt idx="316">
                  <c:v>305</c:v>
                </c:pt>
                <c:pt idx="317">
                  <c:v>321</c:v>
                </c:pt>
                <c:pt idx="318">
                  <c:v>312</c:v>
                </c:pt>
                <c:pt idx="319">
                  <c:v>292</c:v>
                </c:pt>
                <c:pt idx="320">
                  <c:v>293</c:v>
                </c:pt>
                <c:pt idx="321">
                  <c:v>284</c:v>
                </c:pt>
                <c:pt idx="322">
                  <c:v>297</c:v>
                </c:pt>
                <c:pt idx="323">
                  <c:v>291</c:v>
                </c:pt>
                <c:pt idx="324">
                  <c:v>279</c:v>
                </c:pt>
                <c:pt idx="325">
                  <c:v>286</c:v>
                </c:pt>
                <c:pt idx="326">
                  <c:v>281</c:v>
                </c:pt>
                <c:pt idx="327">
                  <c:v>273</c:v>
                </c:pt>
                <c:pt idx="328">
                  <c:v>272</c:v>
                </c:pt>
                <c:pt idx="329">
                  <c:v>269</c:v>
                </c:pt>
                <c:pt idx="330">
                  <c:v>275</c:v>
                </c:pt>
                <c:pt idx="331">
                  <c:v>261</c:v>
                </c:pt>
                <c:pt idx="332">
                  <c:v>275</c:v>
                </c:pt>
                <c:pt idx="333">
                  <c:v>267</c:v>
                </c:pt>
                <c:pt idx="334">
                  <c:v>284</c:v>
                </c:pt>
                <c:pt idx="335">
                  <c:v>281</c:v>
                </c:pt>
                <c:pt idx="336">
                  <c:v>288</c:v>
                </c:pt>
                <c:pt idx="337">
                  <c:v>301</c:v>
                </c:pt>
                <c:pt idx="338">
                  <c:v>295</c:v>
                </c:pt>
                <c:pt idx="339">
                  <c:v>308</c:v>
                </c:pt>
                <c:pt idx="340">
                  <c:v>298</c:v>
                </c:pt>
                <c:pt idx="341">
                  <c:v>312</c:v>
                </c:pt>
                <c:pt idx="342">
                  <c:v>311</c:v>
                </c:pt>
                <c:pt idx="343">
                  <c:v>307</c:v>
                </c:pt>
                <c:pt idx="344">
                  <c:v>317</c:v>
                </c:pt>
                <c:pt idx="345">
                  <c:v>305</c:v>
                </c:pt>
                <c:pt idx="346">
                  <c:v>320</c:v>
                </c:pt>
                <c:pt idx="347">
                  <c:v>303</c:v>
                </c:pt>
                <c:pt idx="348">
                  <c:v>308</c:v>
                </c:pt>
                <c:pt idx="349">
                  <c:v>309</c:v>
                </c:pt>
                <c:pt idx="350">
                  <c:v>295</c:v>
                </c:pt>
                <c:pt idx="351">
                  <c:v>293</c:v>
                </c:pt>
                <c:pt idx="352">
                  <c:v>306</c:v>
                </c:pt>
                <c:pt idx="353">
                  <c:v>298</c:v>
                </c:pt>
                <c:pt idx="354">
                  <c:v>307</c:v>
                </c:pt>
                <c:pt idx="355">
                  <c:v>318</c:v>
                </c:pt>
                <c:pt idx="356">
                  <c:v>304</c:v>
                </c:pt>
                <c:pt idx="357">
                  <c:v>312</c:v>
                </c:pt>
                <c:pt idx="358">
                  <c:v>302</c:v>
                </c:pt>
                <c:pt idx="359">
                  <c:v>299</c:v>
                </c:pt>
                <c:pt idx="360">
                  <c:v>307</c:v>
                </c:pt>
                <c:pt idx="361">
                  <c:v>320</c:v>
                </c:pt>
                <c:pt idx="362">
                  <c:v>303</c:v>
                </c:pt>
                <c:pt idx="363">
                  <c:v>299</c:v>
                </c:pt>
                <c:pt idx="364">
                  <c:v>319</c:v>
                </c:pt>
                <c:pt idx="365">
                  <c:v>305</c:v>
                </c:pt>
                <c:pt idx="366">
                  <c:v>286</c:v>
                </c:pt>
                <c:pt idx="367">
                  <c:v>300</c:v>
                </c:pt>
                <c:pt idx="368">
                  <c:v>293</c:v>
                </c:pt>
                <c:pt idx="369">
                  <c:v>306</c:v>
                </c:pt>
                <c:pt idx="370">
                  <c:v>300</c:v>
                </c:pt>
                <c:pt idx="371">
                  <c:v>299</c:v>
                </c:pt>
                <c:pt idx="372">
                  <c:v>307</c:v>
                </c:pt>
                <c:pt idx="373">
                  <c:v>323</c:v>
                </c:pt>
                <c:pt idx="374">
                  <c:v>316</c:v>
                </c:pt>
                <c:pt idx="375">
                  <c:v>331</c:v>
                </c:pt>
                <c:pt idx="376">
                  <c:v>327</c:v>
                </c:pt>
                <c:pt idx="377">
                  <c:v>337</c:v>
                </c:pt>
                <c:pt idx="378">
                  <c:v>320</c:v>
                </c:pt>
                <c:pt idx="379">
                  <c:v>309</c:v>
                </c:pt>
                <c:pt idx="380">
                  <c:v>313</c:v>
                </c:pt>
                <c:pt idx="381">
                  <c:v>316</c:v>
                </c:pt>
                <c:pt idx="382">
                  <c:v>316</c:v>
                </c:pt>
                <c:pt idx="383">
                  <c:v>306</c:v>
                </c:pt>
                <c:pt idx="384">
                  <c:v>302</c:v>
                </c:pt>
                <c:pt idx="385">
                  <c:v>318</c:v>
                </c:pt>
                <c:pt idx="386">
                  <c:v>334</c:v>
                </c:pt>
                <c:pt idx="387">
                  <c:v>329</c:v>
                </c:pt>
                <c:pt idx="388">
                  <c:v>326</c:v>
                </c:pt>
                <c:pt idx="389">
                  <c:v>320</c:v>
                </c:pt>
                <c:pt idx="390">
                  <c:v>336</c:v>
                </c:pt>
                <c:pt idx="391">
                  <c:v>315</c:v>
                </c:pt>
                <c:pt idx="392">
                  <c:v>333</c:v>
                </c:pt>
                <c:pt idx="393">
                  <c:v>323</c:v>
                </c:pt>
                <c:pt idx="394">
                  <c:v>341</c:v>
                </c:pt>
                <c:pt idx="395">
                  <c:v>334</c:v>
                </c:pt>
                <c:pt idx="396">
                  <c:v>314</c:v>
                </c:pt>
                <c:pt idx="397">
                  <c:v>324</c:v>
                </c:pt>
                <c:pt idx="398">
                  <c:v>316</c:v>
                </c:pt>
                <c:pt idx="399">
                  <c:v>300</c:v>
                </c:pt>
                <c:pt idx="400">
                  <c:v>284</c:v>
                </c:pt>
                <c:pt idx="401">
                  <c:v>277</c:v>
                </c:pt>
                <c:pt idx="402">
                  <c:v>264</c:v>
                </c:pt>
                <c:pt idx="403">
                  <c:v>270</c:v>
                </c:pt>
                <c:pt idx="404">
                  <c:v>268</c:v>
                </c:pt>
                <c:pt idx="405">
                  <c:v>270</c:v>
                </c:pt>
                <c:pt idx="406">
                  <c:v>259</c:v>
                </c:pt>
                <c:pt idx="407">
                  <c:v>250</c:v>
                </c:pt>
                <c:pt idx="408">
                  <c:v>242</c:v>
                </c:pt>
                <c:pt idx="409">
                  <c:v>225</c:v>
                </c:pt>
                <c:pt idx="410">
                  <c:v>211</c:v>
                </c:pt>
                <c:pt idx="411">
                  <c:v>220</c:v>
                </c:pt>
                <c:pt idx="412">
                  <c:v>229</c:v>
                </c:pt>
                <c:pt idx="413">
                  <c:v>223</c:v>
                </c:pt>
                <c:pt idx="414">
                  <c:v>226</c:v>
                </c:pt>
                <c:pt idx="415">
                  <c:v>228</c:v>
                </c:pt>
                <c:pt idx="416">
                  <c:v>221</c:v>
                </c:pt>
                <c:pt idx="417">
                  <c:v>200</c:v>
                </c:pt>
                <c:pt idx="418">
                  <c:v>211</c:v>
                </c:pt>
                <c:pt idx="419">
                  <c:v>210</c:v>
                </c:pt>
                <c:pt idx="420">
                  <c:v>206</c:v>
                </c:pt>
                <c:pt idx="421">
                  <c:v>200</c:v>
                </c:pt>
                <c:pt idx="422">
                  <c:v>197</c:v>
                </c:pt>
                <c:pt idx="423">
                  <c:v>201</c:v>
                </c:pt>
                <c:pt idx="424">
                  <c:v>202</c:v>
                </c:pt>
                <c:pt idx="425">
                  <c:v>197</c:v>
                </c:pt>
                <c:pt idx="426">
                  <c:v>204</c:v>
                </c:pt>
                <c:pt idx="427">
                  <c:v>201</c:v>
                </c:pt>
                <c:pt idx="428">
                  <c:v>190</c:v>
                </c:pt>
                <c:pt idx="429">
                  <c:v>204</c:v>
                </c:pt>
                <c:pt idx="430">
                  <c:v>183</c:v>
                </c:pt>
                <c:pt idx="431">
                  <c:v>191</c:v>
                </c:pt>
                <c:pt idx="432">
                  <c:v>196</c:v>
                </c:pt>
                <c:pt idx="433">
                  <c:v>194</c:v>
                </c:pt>
                <c:pt idx="434">
                  <c:v>185</c:v>
                </c:pt>
                <c:pt idx="435">
                  <c:v>194</c:v>
                </c:pt>
                <c:pt idx="436">
                  <c:v>198</c:v>
                </c:pt>
                <c:pt idx="437">
                  <c:v>195</c:v>
                </c:pt>
                <c:pt idx="438">
                  <c:v>217</c:v>
                </c:pt>
                <c:pt idx="439">
                  <c:v>212</c:v>
                </c:pt>
                <c:pt idx="440">
                  <c:v>204</c:v>
                </c:pt>
                <c:pt idx="441">
                  <c:v>207</c:v>
                </c:pt>
                <c:pt idx="442">
                  <c:v>206</c:v>
                </c:pt>
                <c:pt idx="443">
                  <c:v>234</c:v>
                </c:pt>
                <c:pt idx="444">
                  <c:v>242</c:v>
                </c:pt>
                <c:pt idx="445">
                  <c:v>250</c:v>
                </c:pt>
                <c:pt idx="446">
                  <c:v>247</c:v>
                </c:pt>
                <c:pt idx="447">
                  <c:v>251</c:v>
                </c:pt>
                <c:pt idx="448">
                  <c:v>240</c:v>
                </c:pt>
                <c:pt idx="449">
                  <c:v>246</c:v>
                </c:pt>
                <c:pt idx="450">
                  <c:v>255</c:v>
                </c:pt>
                <c:pt idx="451">
                  <c:v>244</c:v>
                </c:pt>
                <c:pt idx="452">
                  <c:v>242</c:v>
                </c:pt>
                <c:pt idx="453">
                  <c:v>242</c:v>
                </c:pt>
                <c:pt idx="454">
                  <c:v>247</c:v>
                </c:pt>
                <c:pt idx="455">
                  <c:v>257</c:v>
                </c:pt>
                <c:pt idx="456">
                  <c:v>245</c:v>
                </c:pt>
                <c:pt idx="457">
                  <c:v>244</c:v>
                </c:pt>
                <c:pt idx="458">
                  <c:v>243</c:v>
                </c:pt>
                <c:pt idx="459">
                  <c:v>228</c:v>
                </c:pt>
                <c:pt idx="460">
                  <c:v>194</c:v>
                </c:pt>
                <c:pt idx="461">
                  <c:v>194</c:v>
                </c:pt>
                <c:pt idx="462">
                  <c:v>183</c:v>
                </c:pt>
                <c:pt idx="463">
                  <c:v>184</c:v>
                </c:pt>
                <c:pt idx="464">
                  <c:v>178</c:v>
                </c:pt>
                <c:pt idx="465">
                  <c:v>154</c:v>
                </c:pt>
                <c:pt idx="466">
                  <c:v>160</c:v>
                </c:pt>
                <c:pt idx="467">
                  <c:v>156</c:v>
                </c:pt>
                <c:pt idx="468">
                  <c:v>170</c:v>
                </c:pt>
                <c:pt idx="469">
                  <c:v>165</c:v>
                </c:pt>
                <c:pt idx="470">
                  <c:v>169</c:v>
                </c:pt>
                <c:pt idx="471">
                  <c:v>165</c:v>
                </c:pt>
                <c:pt idx="472">
                  <c:v>179</c:v>
                </c:pt>
                <c:pt idx="473">
                  <c:v>186</c:v>
                </c:pt>
                <c:pt idx="474">
                  <c:v>176</c:v>
                </c:pt>
                <c:pt idx="475">
                  <c:v>187</c:v>
                </c:pt>
                <c:pt idx="476">
                  <c:v>187</c:v>
                </c:pt>
                <c:pt idx="477">
                  <c:v>179</c:v>
                </c:pt>
                <c:pt idx="478">
                  <c:v>189</c:v>
                </c:pt>
                <c:pt idx="479">
                  <c:v>186</c:v>
                </c:pt>
                <c:pt idx="480">
                  <c:v>195</c:v>
                </c:pt>
                <c:pt idx="481">
                  <c:v>188</c:v>
                </c:pt>
                <c:pt idx="482">
                  <c:v>194</c:v>
                </c:pt>
                <c:pt idx="483">
                  <c:v>191</c:v>
                </c:pt>
                <c:pt idx="484">
                  <c:v>193</c:v>
                </c:pt>
                <c:pt idx="485">
                  <c:v>203</c:v>
                </c:pt>
                <c:pt idx="486">
                  <c:v>200</c:v>
                </c:pt>
                <c:pt idx="487">
                  <c:v>210</c:v>
                </c:pt>
                <c:pt idx="488">
                  <c:v>219</c:v>
                </c:pt>
                <c:pt idx="489">
                  <c:v>223</c:v>
                </c:pt>
                <c:pt idx="490">
                  <c:v>222</c:v>
                </c:pt>
                <c:pt idx="491">
                  <c:v>216</c:v>
                </c:pt>
                <c:pt idx="492">
                  <c:v>226</c:v>
                </c:pt>
                <c:pt idx="493">
                  <c:v>222</c:v>
                </c:pt>
                <c:pt idx="494">
                  <c:v>228</c:v>
                </c:pt>
                <c:pt idx="495">
                  <c:v>227</c:v>
                </c:pt>
                <c:pt idx="496">
                  <c:v>236</c:v>
                </c:pt>
                <c:pt idx="497">
                  <c:v>225</c:v>
                </c:pt>
                <c:pt idx="498">
                  <c:v>231</c:v>
                </c:pt>
                <c:pt idx="499">
                  <c:v>235</c:v>
                </c:pt>
                <c:pt idx="500">
                  <c:v>224</c:v>
                </c:pt>
                <c:pt idx="501">
                  <c:v>219</c:v>
                </c:pt>
                <c:pt idx="502">
                  <c:v>220</c:v>
                </c:pt>
                <c:pt idx="503">
                  <c:v>220</c:v>
                </c:pt>
                <c:pt idx="504">
                  <c:v>225</c:v>
                </c:pt>
                <c:pt idx="505">
                  <c:v>223</c:v>
                </c:pt>
                <c:pt idx="506">
                  <c:v>235</c:v>
                </c:pt>
                <c:pt idx="507">
                  <c:v>243</c:v>
                </c:pt>
              </c:numCache>
            </c:numRef>
          </c:val>
          <c:smooth val="0"/>
          <c:extLst>
            <c:ext xmlns:c16="http://schemas.microsoft.com/office/drawing/2014/chart" uri="{C3380CC4-5D6E-409C-BE32-E72D297353CC}">
              <c16:uniqueId val="{00000001-23B1-4E62-AC17-B854CDF50347}"/>
            </c:ext>
          </c:extLst>
        </c:ser>
        <c:dLbls>
          <c:showLegendKey val="0"/>
          <c:showVal val="0"/>
          <c:showCatName val="0"/>
          <c:showSerName val="0"/>
          <c:showPercent val="0"/>
          <c:showBubbleSize val="0"/>
        </c:dLbls>
        <c:marker val="1"/>
        <c:smooth val="0"/>
        <c:axId val="1217379048"/>
        <c:axId val="1217376424"/>
      </c:lineChart>
      <c:dateAx>
        <c:axId val="71011135"/>
        <c:scaling>
          <c:orientation val="minMax"/>
          <c:min val="44562"/>
        </c:scaling>
        <c:delete val="0"/>
        <c:axPos val="b"/>
        <c:numFmt formatCode="[$-409]mmm\-yy;@" sourceLinked="1"/>
        <c:majorTickMark val="out"/>
        <c:minorTickMark val="none"/>
        <c:tickLblPos val="nextTo"/>
        <c:spPr>
          <a:noFill/>
          <a:ln w="6350" cap="flat" cmpd="sng" algn="ctr">
            <a:solidFill>
              <a:schemeClr val="accent4"/>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1014743"/>
        <c:crosses val="autoZero"/>
        <c:auto val="1"/>
        <c:lblOffset val="100"/>
        <c:baseTimeUnit val="days"/>
        <c:majorUnit val="6"/>
        <c:majorTimeUnit val="months"/>
      </c:dateAx>
      <c:valAx>
        <c:axId val="71014743"/>
        <c:scaling>
          <c:orientation val="minMax"/>
          <c:max val="800"/>
          <c:min val="400"/>
        </c:scaling>
        <c:delete val="0"/>
        <c:axPos val="l"/>
        <c:majorGridlines>
          <c:spPr>
            <a:ln w="3175" cap="flat" cmpd="sng" algn="ctr">
              <a:solidFill>
                <a:schemeClr val="accent4">
                  <a:lumMod val="20000"/>
                  <a:lumOff val="80000"/>
                </a:schemeClr>
              </a:solidFill>
              <a:round/>
            </a:ln>
            <a:effectLst/>
          </c:spPr>
        </c:majorGridlines>
        <c:numFmt formatCode="#,##0_);\(#,##0\);\–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1011135"/>
        <c:crosses val="autoZero"/>
        <c:crossBetween val="between"/>
        <c:majorUnit val="100"/>
      </c:valAx>
      <c:valAx>
        <c:axId val="1217376424"/>
        <c:scaling>
          <c:orientation val="minMax"/>
          <c:max val="250"/>
          <c:min val="150"/>
        </c:scaling>
        <c:delete val="0"/>
        <c:axPos val="r"/>
        <c:numFmt formatCode="#,##0_);\(#,##0\);\–_)"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217379048"/>
        <c:crosses val="max"/>
        <c:crossBetween val="between"/>
        <c:majorUnit val="25"/>
      </c:valAx>
      <c:dateAx>
        <c:axId val="1217379048"/>
        <c:scaling>
          <c:orientation val="minMax"/>
        </c:scaling>
        <c:delete val="1"/>
        <c:axPos val="b"/>
        <c:numFmt formatCode="[$-409]mmm\-yy;@" sourceLinked="1"/>
        <c:majorTickMark val="out"/>
        <c:minorTickMark val="none"/>
        <c:tickLblPos val="nextTo"/>
        <c:crossAx val="1217376424"/>
        <c:crosses val="autoZero"/>
        <c:auto val="1"/>
        <c:lblOffset val="100"/>
        <c:baseTimeUnit val="days"/>
      </c:date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extLst/>
  </c:chart>
  <c:spPr>
    <a:solidFill>
      <a:schemeClr val="bg1"/>
    </a:solidFill>
    <a:ln w="9525" cap="flat" cmpd="sng" algn="ctr">
      <a:noFill/>
      <a:round/>
    </a:ln>
    <a:effectLst/>
  </c:spPr>
  <c:txPr>
    <a:bodyPr/>
    <a:lstStyle/>
    <a:p>
      <a:pPr>
        <a:defRPr/>
      </a:pPr>
      <a:endParaRPr lang="fr-F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1817</cdr:x>
      <cdr:y>0.53228</cdr:y>
    </cdr:from>
    <cdr:to>
      <cdr:x>0.95237</cdr:x>
      <cdr:y>0.53228</cdr:y>
    </cdr:to>
    <cdr:cxnSp macro="">
      <cdr:nvCxnSpPr>
        <cdr:cNvPr id="3" name="Straight Connector 2">
          <a:extLst xmlns:a="http://schemas.openxmlformats.org/drawingml/2006/main">
            <a:ext uri="{FF2B5EF4-FFF2-40B4-BE49-F238E27FC236}">
              <a16:creationId xmlns:a16="http://schemas.microsoft.com/office/drawing/2014/main" id="{A015C3C3-FCEC-E23E-93F4-26A38241B981}"/>
            </a:ext>
          </a:extLst>
        </cdr:cNvPr>
        <cdr:cNvCxnSpPr/>
      </cdr:nvCxnSpPr>
      <cdr:spPr>
        <a:xfrm xmlns:a="http://schemas.openxmlformats.org/drawingml/2006/main" flipH="1">
          <a:off x="319488" y="1532814"/>
          <a:ext cx="2255367" cy="0"/>
        </a:xfrm>
        <a:prstGeom xmlns:a="http://schemas.openxmlformats.org/drawingml/2006/main" prst="line">
          <a:avLst/>
        </a:prstGeom>
        <a:ln xmlns:a="http://schemas.openxmlformats.org/drawingml/2006/main" w="12700">
          <a:solidFill>
            <a:schemeClr val="accent2"/>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0455EC7-5F01-949C-BF4A-3023FB1ACE5D}"/>
              </a:ext>
            </a:extLst>
          </p:cNvPr>
          <p:cNvSpPr>
            <a:spLocks noGrp="1"/>
          </p:cNvSpPr>
          <p:nvPr>
            <p:ph type="hdr" sz="quarter"/>
          </p:nvPr>
        </p:nvSpPr>
        <p:spPr>
          <a:xfrm>
            <a:off x="0" y="2"/>
            <a:ext cx="2971800" cy="495348"/>
          </a:xfrm>
          <a:prstGeom prst="rect">
            <a:avLst/>
          </a:prstGeom>
        </p:spPr>
        <p:txBody>
          <a:bodyPr vert="horz" lIns="94851" tIns="47425" rIns="94851" bIns="47425" rtlCol="0"/>
          <a:lstStyle>
            <a:lvl1pPr algn="l">
              <a:defRPr sz="1200"/>
            </a:lvl1pPr>
          </a:lstStyle>
          <a:p>
            <a:endParaRPr lang="en-GB"/>
          </a:p>
        </p:txBody>
      </p:sp>
      <p:sp>
        <p:nvSpPr>
          <p:cNvPr id="3" name="Date Placeholder 2">
            <a:extLst>
              <a:ext uri="{FF2B5EF4-FFF2-40B4-BE49-F238E27FC236}">
                <a16:creationId xmlns:a16="http://schemas.microsoft.com/office/drawing/2014/main" id="{9F86978F-14BB-81E7-84A8-B1D37A5987D6}"/>
              </a:ext>
            </a:extLst>
          </p:cNvPr>
          <p:cNvSpPr>
            <a:spLocks noGrp="1"/>
          </p:cNvSpPr>
          <p:nvPr>
            <p:ph type="dt" sz="quarter" idx="1"/>
          </p:nvPr>
        </p:nvSpPr>
        <p:spPr>
          <a:xfrm>
            <a:off x="3884613" y="2"/>
            <a:ext cx="2971800" cy="495348"/>
          </a:xfrm>
          <a:prstGeom prst="rect">
            <a:avLst/>
          </a:prstGeom>
        </p:spPr>
        <p:txBody>
          <a:bodyPr vert="horz" lIns="94851" tIns="47425" rIns="94851" bIns="47425" rtlCol="0"/>
          <a:lstStyle>
            <a:lvl1pPr algn="r">
              <a:defRPr sz="1200"/>
            </a:lvl1pPr>
          </a:lstStyle>
          <a:p>
            <a:fld id="{531884C1-1EBE-423E-90B8-A28AE1FED747}" type="datetimeFigureOut">
              <a:rPr lang="en-GB" smtClean="0"/>
              <a:t>27/05/2024</a:t>
            </a:fld>
            <a:endParaRPr lang="en-GB"/>
          </a:p>
        </p:txBody>
      </p:sp>
      <p:sp>
        <p:nvSpPr>
          <p:cNvPr id="4" name="Footer Placeholder 3">
            <a:extLst>
              <a:ext uri="{FF2B5EF4-FFF2-40B4-BE49-F238E27FC236}">
                <a16:creationId xmlns:a16="http://schemas.microsoft.com/office/drawing/2014/main" id="{96933F7C-557B-40CA-F9C5-7908C9A66331}"/>
              </a:ext>
            </a:extLst>
          </p:cNvPr>
          <p:cNvSpPr>
            <a:spLocks noGrp="1"/>
          </p:cNvSpPr>
          <p:nvPr>
            <p:ph type="ftr" sz="quarter" idx="2"/>
          </p:nvPr>
        </p:nvSpPr>
        <p:spPr>
          <a:xfrm>
            <a:off x="0" y="9377318"/>
            <a:ext cx="2971800" cy="495347"/>
          </a:xfrm>
          <a:prstGeom prst="rect">
            <a:avLst/>
          </a:prstGeom>
        </p:spPr>
        <p:txBody>
          <a:bodyPr vert="horz" lIns="94851" tIns="47425" rIns="94851" bIns="47425"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476E5EA-3F8F-C60A-3A3F-1FC11CC1D73A}"/>
              </a:ext>
            </a:extLst>
          </p:cNvPr>
          <p:cNvSpPr>
            <a:spLocks noGrp="1"/>
          </p:cNvSpPr>
          <p:nvPr>
            <p:ph type="sldNum" sz="quarter" idx="3"/>
          </p:nvPr>
        </p:nvSpPr>
        <p:spPr>
          <a:xfrm>
            <a:off x="3884613" y="9377318"/>
            <a:ext cx="2971800" cy="495347"/>
          </a:xfrm>
          <a:prstGeom prst="rect">
            <a:avLst/>
          </a:prstGeom>
        </p:spPr>
        <p:txBody>
          <a:bodyPr vert="horz" lIns="94851" tIns="47425" rIns="94851" bIns="47425" rtlCol="0" anchor="b"/>
          <a:lstStyle>
            <a:lvl1pPr algn="r">
              <a:defRPr sz="1200"/>
            </a:lvl1pPr>
          </a:lstStyle>
          <a:p>
            <a:fld id="{C1A4080C-5D20-41AA-AF94-C351DA08850B}" type="slidenum">
              <a:rPr lang="en-GB" smtClean="0"/>
              <a:t>‹N°›</a:t>
            </a:fld>
            <a:endParaRPr lang="en-GB"/>
          </a:p>
        </p:txBody>
      </p:sp>
    </p:spTree>
    <p:extLst>
      <p:ext uri="{BB962C8B-B14F-4D97-AF65-F5344CB8AC3E}">
        <p14:creationId xmlns:p14="http://schemas.microsoft.com/office/powerpoint/2010/main" val="40995046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71800" cy="495348"/>
          </a:xfrm>
          <a:prstGeom prst="rect">
            <a:avLst/>
          </a:prstGeom>
        </p:spPr>
        <p:txBody>
          <a:bodyPr vert="horz" lIns="94851" tIns="47425" rIns="94851" bIns="47425" rtlCol="0"/>
          <a:lstStyle>
            <a:lvl1pPr algn="l">
              <a:defRPr sz="1200"/>
            </a:lvl1pPr>
          </a:lstStyle>
          <a:p>
            <a:endParaRPr lang="en-US"/>
          </a:p>
        </p:txBody>
      </p:sp>
      <p:sp>
        <p:nvSpPr>
          <p:cNvPr id="3" name="Date Placeholder 2"/>
          <p:cNvSpPr>
            <a:spLocks noGrp="1"/>
          </p:cNvSpPr>
          <p:nvPr>
            <p:ph type="dt" idx="1"/>
          </p:nvPr>
        </p:nvSpPr>
        <p:spPr>
          <a:xfrm>
            <a:off x="3884613" y="2"/>
            <a:ext cx="2971800" cy="495348"/>
          </a:xfrm>
          <a:prstGeom prst="rect">
            <a:avLst/>
          </a:prstGeom>
        </p:spPr>
        <p:txBody>
          <a:bodyPr vert="horz" lIns="94851" tIns="47425" rIns="94851" bIns="47425" rtlCol="0"/>
          <a:lstStyle>
            <a:lvl1pPr algn="r">
              <a:defRPr sz="1200"/>
            </a:lvl1pPr>
          </a:lstStyle>
          <a:p>
            <a:fld id="{D8E07DBF-8B91-4353-BEDF-B62C02A1DF71}" type="datetimeFigureOut">
              <a:rPr lang="en-US" smtClean="0"/>
              <a:t>5/27/2024</a:t>
            </a:fld>
            <a:endParaRPr lang="en-US"/>
          </a:p>
        </p:txBody>
      </p:sp>
      <p:sp>
        <p:nvSpPr>
          <p:cNvPr id="4" name="Slide Image Placeholder 3"/>
          <p:cNvSpPr>
            <a:spLocks noGrp="1" noRot="1" noChangeAspect="1"/>
          </p:cNvSpPr>
          <p:nvPr>
            <p:ph type="sldImg" idx="2"/>
          </p:nvPr>
        </p:nvSpPr>
        <p:spPr>
          <a:xfrm>
            <a:off x="468313" y="1233488"/>
            <a:ext cx="5921375" cy="3332162"/>
          </a:xfrm>
          <a:prstGeom prst="rect">
            <a:avLst/>
          </a:prstGeom>
          <a:noFill/>
          <a:ln w="12700">
            <a:solidFill>
              <a:prstClr val="black"/>
            </a:solidFill>
          </a:ln>
        </p:spPr>
        <p:txBody>
          <a:bodyPr vert="horz" lIns="94851" tIns="47425" rIns="94851" bIns="47425" rtlCol="0" anchor="ctr"/>
          <a:lstStyle/>
          <a:p>
            <a:endParaRPr lang="en-US"/>
          </a:p>
        </p:txBody>
      </p:sp>
      <p:sp>
        <p:nvSpPr>
          <p:cNvPr id="5" name="Notes Placeholder 4"/>
          <p:cNvSpPr>
            <a:spLocks noGrp="1"/>
          </p:cNvSpPr>
          <p:nvPr>
            <p:ph type="body" sz="quarter" idx="3"/>
          </p:nvPr>
        </p:nvSpPr>
        <p:spPr>
          <a:xfrm>
            <a:off x="685800" y="4751220"/>
            <a:ext cx="5486400" cy="3887362"/>
          </a:xfrm>
          <a:prstGeom prst="rect">
            <a:avLst/>
          </a:prstGeom>
        </p:spPr>
        <p:txBody>
          <a:bodyPr vert="horz" lIns="94851" tIns="47425" rIns="94851" bIns="47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7318"/>
            <a:ext cx="2971800" cy="495347"/>
          </a:xfrm>
          <a:prstGeom prst="rect">
            <a:avLst/>
          </a:prstGeom>
        </p:spPr>
        <p:txBody>
          <a:bodyPr vert="horz" lIns="94851" tIns="47425" rIns="94851" bIns="47425"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9377318"/>
            <a:ext cx="2971800" cy="495347"/>
          </a:xfrm>
          <a:prstGeom prst="rect">
            <a:avLst/>
          </a:prstGeom>
        </p:spPr>
        <p:txBody>
          <a:bodyPr vert="horz" lIns="94851" tIns="47425" rIns="94851" bIns="47425" rtlCol="0" anchor="b"/>
          <a:lstStyle>
            <a:lvl1pPr algn="r">
              <a:defRPr sz="1200"/>
            </a:lvl1pPr>
          </a:lstStyle>
          <a:p>
            <a:fld id="{16FD2B2F-8105-4F54-9770-8645183AA3F2}" type="slidenum">
              <a:rPr lang="en-US" smtClean="0"/>
              <a:t>‹N°›</a:t>
            </a:fld>
            <a:endParaRPr lang="en-US"/>
          </a:p>
        </p:txBody>
      </p:sp>
    </p:spTree>
    <p:extLst>
      <p:ext uri="{BB962C8B-B14F-4D97-AF65-F5344CB8AC3E}">
        <p14:creationId xmlns:p14="http://schemas.microsoft.com/office/powerpoint/2010/main" val="166038915"/>
      </p:ext>
    </p:extLst>
  </p:cSld>
  <p:clrMap bg1="lt1" tx1="dk1" bg2="lt2" tx2="dk2" accent1="accent1" accent2="accent2" accent3="accent3" accent4="accent4" accent5="accent5" accent6="accent6" hlink="hlink" folHlink="folHlink"/>
  <p:notesStyle>
    <a:lvl1pPr marL="0" algn="l" defTabSz="914949" rtl="0" eaLnBrk="1" latinLnBrk="0" hangingPunct="1">
      <a:defRPr sz="1201" kern="1200">
        <a:solidFill>
          <a:schemeClr val="tx1"/>
        </a:solidFill>
        <a:latin typeface="Arial" panose="020B0604020202020204" pitchFamily="34" charset="0"/>
        <a:ea typeface="+mn-ea"/>
        <a:cs typeface="Arial" panose="020B0604020202020204" pitchFamily="34" charset="0"/>
      </a:defRPr>
    </a:lvl1pPr>
    <a:lvl2pPr marL="457474" algn="l" defTabSz="914949" rtl="0" eaLnBrk="1" latinLnBrk="0" hangingPunct="1">
      <a:defRPr sz="1201" kern="1200">
        <a:solidFill>
          <a:schemeClr val="tx1"/>
        </a:solidFill>
        <a:latin typeface="Arial" panose="020B0604020202020204" pitchFamily="34" charset="0"/>
        <a:ea typeface="+mn-ea"/>
        <a:cs typeface="Arial" panose="020B0604020202020204" pitchFamily="34" charset="0"/>
      </a:defRPr>
    </a:lvl2pPr>
    <a:lvl3pPr marL="914949" algn="l" defTabSz="914949" rtl="0" eaLnBrk="1" latinLnBrk="0" hangingPunct="1">
      <a:defRPr sz="1201" kern="1200">
        <a:solidFill>
          <a:schemeClr val="tx1"/>
        </a:solidFill>
        <a:latin typeface="Arial" panose="020B0604020202020204" pitchFamily="34" charset="0"/>
        <a:ea typeface="+mn-ea"/>
        <a:cs typeface="Arial" panose="020B0604020202020204" pitchFamily="34" charset="0"/>
      </a:defRPr>
    </a:lvl3pPr>
    <a:lvl4pPr marL="1372423" algn="l" defTabSz="914949" rtl="0" eaLnBrk="1" latinLnBrk="0" hangingPunct="1">
      <a:defRPr sz="1201" kern="1200">
        <a:solidFill>
          <a:schemeClr val="tx1"/>
        </a:solidFill>
        <a:latin typeface="Arial" panose="020B0604020202020204" pitchFamily="34" charset="0"/>
        <a:ea typeface="+mn-ea"/>
        <a:cs typeface="Arial" panose="020B0604020202020204" pitchFamily="34" charset="0"/>
      </a:defRPr>
    </a:lvl4pPr>
    <a:lvl5pPr marL="1829897" algn="l" defTabSz="914949" rtl="0" eaLnBrk="1" latinLnBrk="0" hangingPunct="1">
      <a:defRPr sz="1201" kern="1200">
        <a:solidFill>
          <a:schemeClr val="tx1"/>
        </a:solidFill>
        <a:latin typeface="Arial" panose="020B0604020202020204" pitchFamily="34" charset="0"/>
        <a:ea typeface="+mn-ea"/>
        <a:cs typeface="Arial" panose="020B0604020202020204" pitchFamily="34" charset="0"/>
      </a:defRPr>
    </a:lvl5pPr>
    <a:lvl6pPr marL="2287372" algn="l" defTabSz="914949" rtl="0" eaLnBrk="1" latinLnBrk="0" hangingPunct="1">
      <a:defRPr sz="1201" kern="1200">
        <a:solidFill>
          <a:schemeClr val="tx1"/>
        </a:solidFill>
        <a:latin typeface="+mn-lt"/>
        <a:ea typeface="+mn-ea"/>
        <a:cs typeface="+mn-cs"/>
      </a:defRPr>
    </a:lvl6pPr>
    <a:lvl7pPr marL="2744846" algn="l" defTabSz="914949" rtl="0" eaLnBrk="1" latinLnBrk="0" hangingPunct="1">
      <a:defRPr sz="1201" kern="1200">
        <a:solidFill>
          <a:schemeClr val="tx1"/>
        </a:solidFill>
        <a:latin typeface="+mn-lt"/>
        <a:ea typeface="+mn-ea"/>
        <a:cs typeface="+mn-cs"/>
      </a:defRPr>
    </a:lvl7pPr>
    <a:lvl8pPr marL="3202320" algn="l" defTabSz="914949" rtl="0" eaLnBrk="1" latinLnBrk="0" hangingPunct="1">
      <a:defRPr sz="1201" kern="1200">
        <a:solidFill>
          <a:schemeClr val="tx1"/>
        </a:solidFill>
        <a:latin typeface="+mn-lt"/>
        <a:ea typeface="+mn-ea"/>
        <a:cs typeface="+mn-cs"/>
      </a:defRPr>
    </a:lvl8pPr>
    <a:lvl9pPr marL="3659795" algn="l" defTabSz="914949" rtl="0" eaLnBrk="1" latinLnBrk="0" hangingPunct="1">
      <a:defRPr sz="1201"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45" indent="-177845">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16FD2B2F-8105-4F54-9770-8645183AA3F2}" type="slidenum">
              <a:rPr lang="en-US" smtClean="0"/>
              <a:t>1</a:t>
            </a:fld>
            <a:endParaRPr lang="en-US"/>
          </a:p>
        </p:txBody>
      </p:sp>
    </p:spTree>
    <p:extLst>
      <p:ext uri="{BB962C8B-B14F-4D97-AF65-F5344CB8AC3E}">
        <p14:creationId xmlns:p14="http://schemas.microsoft.com/office/powerpoint/2010/main" val="21450851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4851" tIns="47425" rIns="94851" bIns="47425" rtlCol="0"/>
          <a:lstStyle/>
          <a:p>
            <a:pPr marL="355690" indent="-355690">
              <a:spcAft>
                <a:spcPts val="622"/>
              </a:spcAft>
              <a:buFont typeface="Symbol" panose="05050102010706020507" pitchFamily="18" charset="2"/>
              <a:buChar char=""/>
            </a:pPr>
            <a:endParaRPr lang="en-US" sz="1100"/>
          </a:p>
        </p:txBody>
      </p:sp>
      <p:sp>
        <p:nvSpPr>
          <p:cNvPr id="4" name="Slide Number Placeholder 3"/>
          <p:cNvSpPr>
            <a:spLocks noGrp="1"/>
          </p:cNvSpPr>
          <p:nvPr>
            <p:ph type="sldNum" sz="quarter" idx="5"/>
          </p:nvPr>
        </p:nvSpPr>
        <p:spPr/>
        <p:txBody>
          <a:bodyPr/>
          <a:lstStyle/>
          <a:p>
            <a:fld id="{16FD2B2F-8105-4F54-9770-8645183AA3F2}" type="slidenum">
              <a:rPr lang="en-US" smtClean="0"/>
              <a:t>14</a:t>
            </a:fld>
            <a:endParaRPr lang="en-US"/>
          </a:p>
        </p:txBody>
      </p:sp>
    </p:spTree>
    <p:extLst>
      <p:ext uri="{BB962C8B-B14F-4D97-AF65-F5344CB8AC3E}">
        <p14:creationId xmlns:p14="http://schemas.microsoft.com/office/powerpoint/2010/main" val="27054194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6FD2B2F-8105-4F54-9770-8645183AA3F2}" type="slidenum">
              <a:rPr lang="en-US" smtClean="0"/>
              <a:t>15</a:t>
            </a:fld>
            <a:endParaRPr lang="en-US"/>
          </a:p>
        </p:txBody>
      </p:sp>
    </p:spTree>
    <p:extLst>
      <p:ext uri="{BB962C8B-B14F-4D97-AF65-F5344CB8AC3E}">
        <p14:creationId xmlns:p14="http://schemas.microsoft.com/office/powerpoint/2010/main" val="21908938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5690" indent="-355690">
              <a:lnSpc>
                <a:spcPct val="107000"/>
              </a:lnSpc>
              <a:buFont typeface="Symbol" panose="05050102010706020507" pitchFamily="18" charset="2"/>
              <a:buChar char=""/>
            </a:pPr>
            <a:endParaRPr lang="en-US" sz="1100" dirty="0">
              <a:latin typeface="Calibri"/>
              <a:ea typeface="DengXian"/>
              <a:cs typeface="Calibri"/>
            </a:endParaRPr>
          </a:p>
        </p:txBody>
      </p:sp>
      <p:sp>
        <p:nvSpPr>
          <p:cNvPr id="4" name="Slide Number Placeholder 3"/>
          <p:cNvSpPr>
            <a:spLocks noGrp="1"/>
          </p:cNvSpPr>
          <p:nvPr>
            <p:ph type="sldNum" sz="quarter" idx="5"/>
          </p:nvPr>
        </p:nvSpPr>
        <p:spPr/>
        <p:txBody>
          <a:bodyPr/>
          <a:lstStyle/>
          <a:p>
            <a:fld id="{16FD2B2F-8105-4F54-9770-8645183AA3F2}" type="slidenum">
              <a:rPr lang="en-US" smtClean="0"/>
              <a:t>16</a:t>
            </a:fld>
            <a:endParaRPr lang="en-US"/>
          </a:p>
        </p:txBody>
      </p:sp>
    </p:spTree>
    <p:extLst>
      <p:ext uri="{BB962C8B-B14F-4D97-AF65-F5344CB8AC3E}">
        <p14:creationId xmlns:p14="http://schemas.microsoft.com/office/powerpoint/2010/main" val="2919273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6FD2B2F-8105-4F54-9770-8645183AA3F2}" type="slidenum">
              <a:rPr lang="en-US" smtClean="0"/>
              <a:t>18</a:t>
            </a:fld>
            <a:endParaRPr lang="en-US"/>
          </a:p>
        </p:txBody>
      </p:sp>
    </p:spTree>
    <p:extLst>
      <p:ext uri="{BB962C8B-B14F-4D97-AF65-F5344CB8AC3E}">
        <p14:creationId xmlns:p14="http://schemas.microsoft.com/office/powerpoint/2010/main" val="3528229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4851" tIns="47425" rIns="94851" bIns="47425" rtlCol="0"/>
          <a:lstStyle/>
          <a:p>
            <a:pPr marL="355690" indent="-355690">
              <a:lnSpc>
                <a:spcPct val="107000"/>
              </a:lnSpc>
              <a:buFont typeface="Arial" panose="020B0604020202020204" pitchFamily="34" charset="0"/>
              <a:buChar char="*"/>
            </a:pPr>
            <a:endParaRPr lang="en-US" sz="1900">
              <a:latin typeface="Calibri" panose="020F050202020403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6FD2B2F-8105-4F54-9770-8645183AA3F2}" type="slidenum">
              <a:rPr lang="en-US" smtClean="0"/>
              <a:t>19</a:t>
            </a:fld>
            <a:endParaRPr lang="en-US"/>
          </a:p>
        </p:txBody>
      </p:sp>
    </p:spTree>
    <p:extLst>
      <p:ext uri="{BB962C8B-B14F-4D97-AF65-F5344CB8AC3E}">
        <p14:creationId xmlns:p14="http://schemas.microsoft.com/office/powerpoint/2010/main" val="9088268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4851" tIns="47425" rIns="94851" bIns="47425" rtlCol="0"/>
          <a:lstStyle/>
          <a:p>
            <a:pPr marL="355690" indent="-355690">
              <a:lnSpc>
                <a:spcPct val="107000"/>
              </a:lnSpc>
              <a:buFont typeface="Arial" panose="020B0604020202020204" pitchFamily="34" charset="0"/>
              <a:buChar char="*"/>
            </a:pPr>
            <a:endParaRPr lang="en-US" sz="1900" dirty="0">
              <a:latin typeface="Calibri" panose="020F050202020403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6FD2B2F-8105-4F54-9770-8645183AA3F2}" type="slidenum">
              <a:rPr lang="en-US" smtClean="0"/>
              <a:t>20</a:t>
            </a:fld>
            <a:endParaRPr lang="en-US"/>
          </a:p>
        </p:txBody>
      </p:sp>
    </p:spTree>
    <p:extLst>
      <p:ext uri="{BB962C8B-B14F-4D97-AF65-F5344CB8AC3E}">
        <p14:creationId xmlns:p14="http://schemas.microsoft.com/office/powerpoint/2010/main" val="21285035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4851" tIns="47425" rIns="94851" bIns="47425" rtlCol="0"/>
          <a:lstStyle/>
          <a:p>
            <a:pPr marL="355690" indent="-355690">
              <a:spcAft>
                <a:spcPts val="622"/>
              </a:spcAft>
              <a:buFont typeface="Symbol" panose="05050102010706020507" pitchFamily="18" charset="2"/>
              <a:buChar char=""/>
            </a:pPr>
            <a:endParaRPr lang="en-US" sz="1100"/>
          </a:p>
        </p:txBody>
      </p:sp>
      <p:sp>
        <p:nvSpPr>
          <p:cNvPr id="4" name="Slide Number Placeholder 3"/>
          <p:cNvSpPr>
            <a:spLocks noGrp="1"/>
          </p:cNvSpPr>
          <p:nvPr>
            <p:ph type="sldNum" sz="quarter" idx="5"/>
          </p:nvPr>
        </p:nvSpPr>
        <p:spPr/>
        <p:txBody>
          <a:bodyPr/>
          <a:lstStyle/>
          <a:p>
            <a:fld id="{16FD2B2F-8105-4F54-9770-8645183AA3F2}" type="slidenum">
              <a:rPr lang="en-US" smtClean="0"/>
              <a:t>21</a:t>
            </a:fld>
            <a:endParaRPr lang="en-US"/>
          </a:p>
        </p:txBody>
      </p:sp>
    </p:spTree>
    <p:extLst>
      <p:ext uri="{BB962C8B-B14F-4D97-AF65-F5344CB8AC3E}">
        <p14:creationId xmlns:p14="http://schemas.microsoft.com/office/powerpoint/2010/main" val="1571358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8D88FD-DD4A-468E-908D-3F4E274B88F4}" type="slidenum">
              <a:rPr lang="en-US" smtClean="0"/>
              <a:t>23</a:t>
            </a:fld>
            <a:endParaRPr lang="en-US"/>
          </a:p>
        </p:txBody>
      </p:sp>
    </p:spTree>
    <p:extLst>
      <p:ext uri="{BB962C8B-B14F-4D97-AF65-F5344CB8AC3E}">
        <p14:creationId xmlns:p14="http://schemas.microsoft.com/office/powerpoint/2010/main" val="20473050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5690" indent="-355690">
              <a:lnSpc>
                <a:spcPct val="107000"/>
              </a:lnSpc>
              <a:buFont typeface="Symbol" panose="05050102010706020507" pitchFamily="18" charset="2"/>
              <a:buChar char=""/>
            </a:pPr>
            <a:endParaRPr lang="en-US" sz="1100" kern="100">
              <a:highlight>
                <a:srgbClr val="FFFF00"/>
              </a:highlight>
              <a:latin typeface="+mj-lt"/>
              <a:ea typeface="Calibri" panose="020F0502020204030204" pitchFamily="34" charset="0"/>
              <a:cs typeface="Arial"/>
            </a:endParaRPr>
          </a:p>
        </p:txBody>
      </p:sp>
      <p:sp>
        <p:nvSpPr>
          <p:cNvPr id="4" name="Slide Number Placeholder 3"/>
          <p:cNvSpPr>
            <a:spLocks noGrp="1"/>
          </p:cNvSpPr>
          <p:nvPr>
            <p:ph type="sldNum" sz="quarter" idx="5"/>
          </p:nvPr>
        </p:nvSpPr>
        <p:spPr/>
        <p:txBody>
          <a:bodyPr/>
          <a:lstStyle/>
          <a:p>
            <a:fld id="{16FD2B2F-8105-4F54-9770-8645183AA3F2}" type="slidenum">
              <a:rPr lang="en-US" smtClean="0"/>
              <a:t>24</a:t>
            </a:fld>
            <a:endParaRPr lang="en-US"/>
          </a:p>
        </p:txBody>
      </p:sp>
    </p:spTree>
    <p:extLst>
      <p:ext uri="{BB962C8B-B14F-4D97-AF65-F5344CB8AC3E}">
        <p14:creationId xmlns:p14="http://schemas.microsoft.com/office/powerpoint/2010/main" val="33765311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4851" tIns="47425" rIns="94851" bIns="47425" rtlCol="0"/>
          <a:lstStyle/>
          <a:p>
            <a:pPr marL="355690" indent="-355690">
              <a:lnSpc>
                <a:spcPct val="107000"/>
              </a:lnSpc>
              <a:spcAft>
                <a:spcPts val="830"/>
              </a:spcAft>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16FD2B2F-8105-4F54-9770-8645183AA3F2}" type="slidenum">
              <a:rPr lang="en-US" smtClean="0"/>
              <a:t>25</a:t>
            </a:fld>
            <a:endParaRPr lang="en-US"/>
          </a:p>
        </p:txBody>
      </p:sp>
    </p:spTree>
    <p:extLst>
      <p:ext uri="{BB962C8B-B14F-4D97-AF65-F5344CB8AC3E}">
        <p14:creationId xmlns:p14="http://schemas.microsoft.com/office/powerpoint/2010/main" val="1130487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45" indent="-177845">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16FD2B2F-8105-4F54-9770-8645183AA3F2}" type="slidenum">
              <a:rPr lang="en-US" smtClean="0"/>
              <a:t>2</a:t>
            </a:fld>
            <a:endParaRPr lang="en-US"/>
          </a:p>
        </p:txBody>
      </p:sp>
    </p:spTree>
    <p:extLst>
      <p:ext uri="{BB962C8B-B14F-4D97-AF65-F5344CB8AC3E}">
        <p14:creationId xmlns:p14="http://schemas.microsoft.com/office/powerpoint/2010/main" val="28035166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6FD2B2F-8105-4F54-9770-8645183AA3F2}" type="slidenum">
              <a:rPr lang="en-US" smtClean="0"/>
              <a:t>31</a:t>
            </a:fld>
            <a:endParaRPr lang="en-US"/>
          </a:p>
        </p:txBody>
      </p:sp>
    </p:spTree>
    <p:extLst>
      <p:ext uri="{BB962C8B-B14F-4D97-AF65-F5344CB8AC3E}">
        <p14:creationId xmlns:p14="http://schemas.microsoft.com/office/powerpoint/2010/main" val="8031897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6FD2B2F-8105-4F54-9770-8645183AA3F2}" type="slidenum">
              <a:rPr lang="en-US" smtClean="0"/>
              <a:t>32</a:t>
            </a:fld>
            <a:endParaRPr lang="en-US"/>
          </a:p>
        </p:txBody>
      </p:sp>
    </p:spTree>
    <p:extLst>
      <p:ext uri="{BB962C8B-B14F-4D97-AF65-F5344CB8AC3E}">
        <p14:creationId xmlns:p14="http://schemas.microsoft.com/office/powerpoint/2010/main" val="4913247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6FD2B2F-8105-4F54-9770-8645183AA3F2}" type="slidenum">
              <a:rPr lang="en-US" smtClean="0"/>
              <a:t>33</a:t>
            </a:fld>
            <a:endParaRPr lang="en-US"/>
          </a:p>
        </p:txBody>
      </p:sp>
    </p:spTree>
    <p:extLst>
      <p:ext uri="{BB962C8B-B14F-4D97-AF65-F5344CB8AC3E}">
        <p14:creationId xmlns:p14="http://schemas.microsoft.com/office/powerpoint/2010/main" val="13448946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45" indent="-177845" defTabSz="948507">
              <a:spcAft>
                <a:spcPts val="311"/>
              </a:spcAft>
              <a:buFont typeface="Arial" panose="020B0604020202020204" pitchFamily="34" charset="0"/>
              <a:buChar char="•"/>
              <a:defRPr/>
            </a:pPr>
            <a:endParaRPr lang="en-US" sz="1100" dirty="0">
              <a:latin typeface="Arial"/>
              <a:cs typeface="Arial"/>
            </a:endParaRPr>
          </a:p>
        </p:txBody>
      </p:sp>
      <p:sp>
        <p:nvSpPr>
          <p:cNvPr id="4" name="Slide Number Placeholder 3"/>
          <p:cNvSpPr>
            <a:spLocks noGrp="1"/>
          </p:cNvSpPr>
          <p:nvPr>
            <p:ph type="sldNum" sz="quarter" idx="5"/>
          </p:nvPr>
        </p:nvSpPr>
        <p:spPr/>
        <p:txBody>
          <a:bodyPr/>
          <a:lstStyle/>
          <a:p>
            <a:fld id="{16FD2B2F-8105-4F54-9770-8645183AA3F2}" type="slidenum">
              <a:rPr lang="en-US" smtClean="0"/>
              <a:t>4</a:t>
            </a:fld>
            <a:endParaRPr lang="en-US"/>
          </a:p>
        </p:txBody>
      </p:sp>
    </p:spTree>
    <p:extLst>
      <p:ext uri="{BB962C8B-B14F-4D97-AF65-F5344CB8AC3E}">
        <p14:creationId xmlns:p14="http://schemas.microsoft.com/office/powerpoint/2010/main" val="907509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4851" tIns="47425" rIns="94851" bIns="47425" rtlCol="0"/>
          <a:lstStyle/>
          <a:p>
            <a:pPr marL="355690" indent="-355690">
              <a:spcAft>
                <a:spcPts val="622"/>
              </a:spcAft>
              <a:buFont typeface="Symbol" panose="05050102010706020507" pitchFamily="18" charset="2"/>
              <a:buChar char=""/>
            </a:pPr>
            <a:endParaRPr lang="en-US" sz="1100"/>
          </a:p>
        </p:txBody>
      </p:sp>
      <p:sp>
        <p:nvSpPr>
          <p:cNvPr id="4" name="Slide Number Placeholder 3"/>
          <p:cNvSpPr>
            <a:spLocks noGrp="1"/>
          </p:cNvSpPr>
          <p:nvPr>
            <p:ph type="sldNum" sz="quarter" idx="5"/>
          </p:nvPr>
        </p:nvSpPr>
        <p:spPr/>
        <p:txBody>
          <a:bodyPr/>
          <a:lstStyle/>
          <a:p>
            <a:fld id="{16FD2B2F-8105-4F54-9770-8645183AA3F2}" type="slidenum">
              <a:rPr lang="en-US" smtClean="0"/>
              <a:t>5</a:t>
            </a:fld>
            <a:endParaRPr lang="en-US"/>
          </a:p>
        </p:txBody>
      </p:sp>
    </p:spTree>
    <p:extLst>
      <p:ext uri="{BB962C8B-B14F-4D97-AF65-F5344CB8AC3E}">
        <p14:creationId xmlns:p14="http://schemas.microsoft.com/office/powerpoint/2010/main" val="3352343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4851" tIns="47425" rIns="94851" bIns="47425" rtlCol="0"/>
          <a:lstStyle/>
          <a:p>
            <a:pPr marL="355690" indent="-355690">
              <a:spcAft>
                <a:spcPts val="622"/>
              </a:spcAft>
              <a:buFont typeface="Symbol" panose="05050102010706020507" pitchFamily="18" charset="2"/>
              <a:buChar char=""/>
            </a:pPr>
            <a:endParaRPr lang="en-US" sz="1100" dirty="0"/>
          </a:p>
        </p:txBody>
      </p:sp>
      <p:sp>
        <p:nvSpPr>
          <p:cNvPr id="4" name="Slide Number Placeholder 3"/>
          <p:cNvSpPr>
            <a:spLocks noGrp="1"/>
          </p:cNvSpPr>
          <p:nvPr>
            <p:ph type="sldNum" sz="quarter" idx="5"/>
          </p:nvPr>
        </p:nvSpPr>
        <p:spPr/>
        <p:txBody>
          <a:bodyPr/>
          <a:lstStyle/>
          <a:p>
            <a:fld id="{16FD2B2F-8105-4F54-9770-8645183AA3F2}" type="slidenum">
              <a:rPr lang="en-US" smtClean="0"/>
              <a:t>6</a:t>
            </a:fld>
            <a:endParaRPr lang="en-US"/>
          </a:p>
        </p:txBody>
      </p:sp>
    </p:spTree>
    <p:extLst>
      <p:ext uri="{BB962C8B-B14F-4D97-AF65-F5344CB8AC3E}">
        <p14:creationId xmlns:p14="http://schemas.microsoft.com/office/powerpoint/2010/main" val="26043914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BC8D88FD-DD4A-468E-908D-3F4E274B88F4}" type="slidenum">
              <a:rPr lang="en-US" smtClean="0"/>
              <a:t>8</a:t>
            </a:fld>
            <a:endParaRPr lang="en-US"/>
          </a:p>
        </p:txBody>
      </p:sp>
    </p:spTree>
    <p:extLst>
      <p:ext uri="{BB962C8B-B14F-4D97-AF65-F5344CB8AC3E}">
        <p14:creationId xmlns:p14="http://schemas.microsoft.com/office/powerpoint/2010/main" val="3996663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1427" tIns="45713" rIns="91427" bIns="45713" rtlCol="0"/>
          <a:lstStyle/>
          <a:p>
            <a:pPr marL="342850" indent="-342850">
              <a:lnSpc>
                <a:spcPct val="107000"/>
              </a:lnSpc>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16FD2B2F-8105-4F54-9770-8645183AA3F2}" type="slidenum">
              <a:rPr lang="en-US" smtClean="0"/>
              <a:t>11</a:t>
            </a:fld>
            <a:endParaRPr lang="en-US"/>
          </a:p>
        </p:txBody>
      </p:sp>
    </p:spTree>
    <p:extLst>
      <p:ext uri="{BB962C8B-B14F-4D97-AF65-F5344CB8AC3E}">
        <p14:creationId xmlns:p14="http://schemas.microsoft.com/office/powerpoint/2010/main" val="21641738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4851" tIns="47425" rIns="94851" bIns="47425" rtlCol="0"/>
          <a:lstStyle/>
          <a:p>
            <a:pPr marL="355690" indent="-355690">
              <a:lnSpc>
                <a:spcPct val="107000"/>
              </a:lnSpc>
              <a:buFont typeface="Arial" panose="020B0604020202020204" pitchFamily="34" charset="0"/>
              <a:buChar char="*"/>
            </a:pPr>
            <a:endParaRPr lang="en-US" sz="1900">
              <a:latin typeface="Calibri" panose="020F050202020403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6FD2B2F-8105-4F54-9770-8645183AA3F2}" type="slidenum">
              <a:rPr lang="en-US" smtClean="0"/>
              <a:t>12</a:t>
            </a:fld>
            <a:endParaRPr lang="en-US"/>
          </a:p>
        </p:txBody>
      </p:sp>
    </p:spTree>
    <p:extLst>
      <p:ext uri="{BB962C8B-B14F-4D97-AF65-F5344CB8AC3E}">
        <p14:creationId xmlns:p14="http://schemas.microsoft.com/office/powerpoint/2010/main" val="31627313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5690" indent="-355690">
              <a:lnSpc>
                <a:spcPct val="107000"/>
              </a:lnSpc>
              <a:spcAft>
                <a:spcPts val="830"/>
              </a:spcAft>
              <a:buFont typeface="Symbol" panose="05050102010706020507" pitchFamily="18" charset="2"/>
              <a:buChar char=""/>
            </a:pPr>
            <a:endParaRPr lang="en-US" sz="1100" kern="100">
              <a:solidFill>
                <a:srgbClr val="FF0000"/>
              </a:solidFill>
              <a:latin typeface="+mj-lt"/>
              <a:ea typeface="Calibri" panose="020F0502020204030204" pitchFamily="34" charset="0"/>
              <a:cs typeface="Arial"/>
            </a:endParaRPr>
          </a:p>
        </p:txBody>
      </p:sp>
      <p:sp>
        <p:nvSpPr>
          <p:cNvPr id="4" name="Slide Number Placeholder 3"/>
          <p:cNvSpPr>
            <a:spLocks noGrp="1"/>
          </p:cNvSpPr>
          <p:nvPr>
            <p:ph type="sldNum" sz="quarter" idx="5"/>
          </p:nvPr>
        </p:nvSpPr>
        <p:spPr/>
        <p:txBody>
          <a:bodyPr/>
          <a:lstStyle/>
          <a:p>
            <a:fld id="{16FD2B2F-8105-4F54-9770-8645183AA3F2}" type="slidenum">
              <a:rPr lang="en-US" smtClean="0"/>
              <a:t>13</a:t>
            </a:fld>
            <a:endParaRPr lang="en-US"/>
          </a:p>
        </p:txBody>
      </p:sp>
    </p:spTree>
    <p:extLst>
      <p:ext uri="{BB962C8B-B14F-4D97-AF65-F5344CB8AC3E}">
        <p14:creationId xmlns:p14="http://schemas.microsoft.com/office/powerpoint/2010/main" val="15832564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8413D-139F-4211-91C7-5A583F9B4A6A}"/>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B5B579E3-D948-3BDD-3FEA-AFA80454F0A3}"/>
              </a:ext>
            </a:extLst>
          </p:cNvPr>
          <p:cNvSpPr>
            <a:spLocks noGrp="1"/>
          </p:cNvSpPr>
          <p:nvPr>
            <p:ph type="body" sz="quarter" idx="10" hasCustomPrompt="1"/>
          </p:nvPr>
        </p:nvSpPr>
        <p:spPr>
          <a:xfrm>
            <a:off x="458154" y="4437581"/>
            <a:ext cx="8281035" cy="186128"/>
          </a:xfrm>
        </p:spPr>
        <p:txBody>
          <a:bodyPr wrap="square" lIns="45720" rIns="45720">
            <a:spAutoFit/>
          </a:bodyPr>
          <a:lstStyle>
            <a:lvl1pPr>
              <a:defRPr sz="600" b="0" i="1"/>
            </a:lvl1pPr>
          </a:lstStyle>
          <a:p>
            <a:pPr lvl="0"/>
            <a:r>
              <a:rPr lang="en-US"/>
              <a:t>Source:</a:t>
            </a:r>
          </a:p>
        </p:txBody>
      </p:sp>
      <p:sp>
        <p:nvSpPr>
          <p:cNvPr id="6" name="PageSubtitle">
            <a:extLst>
              <a:ext uri="{FF2B5EF4-FFF2-40B4-BE49-F238E27FC236}">
                <a16:creationId xmlns:a16="http://schemas.microsoft.com/office/drawing/2014/main" id="{DC502021-DAE1-FD8F-F372-7AC4103A366D}"/>
              </a:ext>
            </a:extLst>
          </p:cNvPr>
          <p:cNvSpPr>
            <a:spLocks noGrp="1"/>
          </p:cNvSpPr>
          <p:nvPr>
            <p:ph type="subTitle" sz="quarter" idx="12" hasCustomPrompt="1"/>
          </p:nvPr>
        </p:nvSpPr>
        <p:spPr>
          <a:xfrm>
            <a:off x="458155" y="880110"/>
            <a:ext cx="8257220" cy="240030"/>
          </a:xfrm>
          <a:prstGeom prst="rect">
            <a:avLst/>
          </a:prstGeom>
        </p:spPr>
        <p:txBody>
          <a:bodyPr vert="horz" wrap="square" lIns="0" tIns="0" rIns="0" bIns="0" anchor="t">
            <a:noAutofit/>
          </a:bodyPr>
          <a:lstStyle>
            <a:lvl1pPr marL="0" indent="0" algn="l">
              <a:lnSpc>
                <a:spcPct val="110000"/>
              </a:lnSpc>
              <a:spcBef>
                <a:spcPts val="625"/>
              </a:spcBef>
              <a:buFontTx/>
              <a:buNone/>
              <a:defRPr sz="1201" b="0" i="0">
                <a:solidFill>
                  <a:schemeClr val="accent3"/>
                </a:solidFill>
                <a:latin typeface="Arial" panose="020B0604020202020204" pitchFamily="34" charset="0"/>
              </a:defRPr>
            </a:lvl1pPr>
            <a:lvl2pPr marL="285738" indent="0" algn="ctr">
              <a:buNone/>
            </a:lvl2pPr>
            <a:lvl3pPr marL="571477" indent="0" algn="ctr">
              <a:buNone/>
            </a:lvl3pPr>
            <a:lvl4pPr marL="857215" indent="0" algn="ctr">
              <a:buNone/>
            </a:lvl4pPr>
            <a:lvl5pPr marL="1142953" indent="0" algn="ctr">
              <a:buNone/>
            </a:lvl5pPr>
            <a:lvl6pPr marL="1428693" indent="0" algn="ctr">
              <a:buNone/>
            </a:lvl6pPr>
            <a:lvl7pPr marL="1714431" indent="0" algn="ctr">
              <a:buNone/>
            </a:lvl7pPr>
            <a:lvl8pPr marL="2000169" indent="0" algn="ctr">
              <a:buNone/>
            </a:lvl8pPr>
            <a:lvl9pPr marL="2285908" indent="0" algn="ctr">
              <a:buNone/>
            </a:lvl9pPr>
          </a:lstStyle>
          <a:p>
            <a:r>
              <a:rPr lang="en-US"/>
              <a:t>Click to edit Page Subtitle</a:t>
            </a:r>
          </a:p>
        </p:txBody>
      </p:sp>
    </p:spTree>
    <p:extLst>
      <p:ext uri="{BB962C8B-B14F-4D97-AF65-F5344CB8AC3E}">
        <p14:creationId xmlns:p14="http://schemas.microsoft.com/office/powerpoint/2010/main" val="3954288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pic>
        <p:nvPicPr>
          <p:cNvPr id="8" name="Picture 7" descr="A close-up of several circles&#10;&#10;Description automatically generated">
            <a:extLst>
              <a:ext uri="{FF2B5EF4-FFF2-40B4-BE49-F238E27FC236}">
                <a16:creationId xmlns:a16="http://schemas.microsoft.com/office/drawing/2014/main" id="{99263672-0B65-9575-7E59-1AD7E5E5BFB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68" y="2"/>
            <a:ext cx="9141064" cy="5143500"/>
          </a:xfrm>
          <a:prstGeom prst="rect">
            <a:avLst/>
          </a:prstGeom>
        </p:spPr>
      </p:pic>
      <p:pic>
        <p:nvPicPr>
          <p:cNvPr id="3" name="Picture 2" descr="A blue and white logo&#10;&#10;Description automatically generated">
            <a:extLst>
              <a:ext uri="{FF2B5EF4-FFF2-40B4-BE49-F238E27FC236}">
                <a16:creationId xmlns:a16="http://schemas.microsoft.com/office/drawing/2014/main" id="{05CC8C6C-0522-AE31-47C1-7C7611560F4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82855" y="4319638"/>
            <a:ext cx="2335080" cy="709864"/>
          </a:xfrm>
          <a:prstGeom prst="rect">
            <a:avLst/>
          </a:prstGeom>
        </p:spPr>
      </p:pic>
      <p:sp>
        <p:nvSpPr>
          <p:cNvPr id="6" name="Text Placeholder 5">
            <a:extLst>
              <a:ext uri="{FF2B5EF4-FFF2-40B4-BE49-F238E27FC236}">
                <a16:creationId xmlns:a16="http://schemas.microsoft.com/office/drawing/2014/main" id="{2E9835AC-AB01-519D-24DE-23EDF4C8DA2A}"/>
              </a:ext>
            </a:extLst>
          </p:cNvPr>
          <p:cNvSpPr>
            <a:spLocks noGrp="1"/>
          </p:cNvSpPr>
          <p:nvPr>
            <p:ph type="body" sz="quarter" idx="10"/>
          </p:nvPr>
        </p:nvSpPr>
        <p:spPr>
          <a:xfrm>
            <a:off x="536304" y="4271963"/>
            <a:ext cx="4864371" cy="411724"/>
          </a:xfrm>
        </p:spPr>
        <p:txBody>
          <a:bodyPr>
            <a:noAutofit/>
          </a:bodyPr>
          <a:lstStyle>
            <a:lvl1pPr>
              <a:defRPr sz="2400"/>
            </a:lvl1pPr>
            <a:lvl2pPr marL="0" indent="0">
              <a:buNone/>
              <a:defRPr sz="1050"/>
            </a:lvl2pPr>
            <a:lvl3pPr marL="571477" indent="0">
              <a:buNone/>
              <a:defRPr sz="1100"/>
            </a:lvl3pPr>
            <a:lvl4pPr>
              <a:defRPr sz="1100"/>
            </a:lvl4pPr>
            <a:lvl5pPr>
              <a:defRPr sz="1100"/>
            </a:lvl5pPr>
          </a:lstStyle>
          <a:p>
            <a:pPr lvl="0"/>
            <a:r>
              <a:rPr lang="en-US"/>
              <a:t>Click to edit Master text styles</a:t>
            </a:r>
          </a:p>
        </p:txBody>
      </p:sp>
      <p:sp>
        <p:nvSpPr>
          <p:cNvPr id="7" name="Text Placeholder 5">
            <a:extLst>
              <a:ext uri="{FF2B5EF4-FFF2-40B4-BE49-F238E27FC236}">
                <a16:creationId xmlns:a16="http://schemas.microsoft.com/office/drawing/2014/main" id="{AED73B3D-8A35-D6E9-D838-0A31BAF0B3DD}"/>
              </a:ext>
            </a:extLst>
          </p:cNvPr>
          <p:cNvSpPr>
            <a:spLocks noGrp="1"/>
          </p:cNvSpPr>
          <p:nvPr>
            <p:ph type="body" sz="quarter" idx="11"/>
          </p:nvPr>
        </p:nvSpPr>
        <p:spPr>
          <a:xfrm>
            <a:off x="536303" y="4698206"/>
            <a:ext cx="4864371" cy="254794"/>
          </a:xfrm>
        </p:spPr>
        <p:txBody>
          <a:bodyPr>
            <a:noAutofit/>
          </a:bodyPr>
          <a:lstStyle>
            <a:lvl1pPr>
              <a:defRPr sz="1050" b="0"/>
            </a:lvl1pPr>
            <a:lvl2pPr marL="0" indent="0">
              <a:buNone/>
              <a:defRPr sz="1050"/>
            </a:lvl2pPr>
            <a:lvl3pPr marL="571477" indent="0">
              <a:buNone/>
              <a:defRPr sz="1100"/>
            </a:lvl3pPr>
            <a:lvl4pPr>
              <a:defRPr sz="1100"/>
            </a:lvl4pPr>
            <a:lvl5pPr>
              <a:defRPr sz="1100"/>
            </a:lvl5pPr>
          </a:lstStyle>
          <a:p>
            <a:pPr lvl="0"/>
            <a:r>
              <a:rPr lang="en-US"/>
              <a:t>Click to edit Master text styles</a:t>
            </a:r>
          </a:p>
        </p:txBody>
      </p:sp>
    </p:spTree>
    <p:extLst>
      <p:ext uri="{BB962C8B-B14F-4D97-AF65-F5344CB8AC3E}">
        <p14:creationId xmlns:p14="http://schemas.microsoft.com/office/powerpoint/2010/main" val="15350523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hree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9501D-0EB0-B488-A879-124F7887DA52}"/>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74E80040-E351-CF34-AE18-2E13808BEB46}"/>
              </a:ext>
            </a:extLst>
          </p:cNvPr>
          <p:cNvSpPr>
            <a:spLocks noGrp="1"/>
          </p:cNvSpPr>
          <p:nvPr>
            <p:ph type="body" sz="quarter" idx="11" hasCustomPrompt="1"/>
          </p:nvPr>
        </p:nvSpPr>
        <p:spPr>
          <a:xfrm>
            <a:off x="458154" y="4437581"/>
            <a:ext cx="8281035" cy="184666"/>
          </a:xfrm>
        </p:spPr>
        <p:txBody>
          <a:bodyPr vert="horz" wrap="square" lIns="45720" tIns="45720" rIns="45720" bIns="45720" rtlCol="0">
            <a:spAutoFit/>
          </a:bodyPr>
          <a:lstStyle>
            <a:lvl1pPr>
              <a:defRPr lang="en-US" sz="600" b="0" i="1"/>
            </a:lvl1pPr>
          </a:lstStyle>
          <a:p>
            <a:pPr lvl="0">
              <a:lnSpc>
                <a:spcPct val="100000"/>
              </a:lnSpc>
              <a:spcBef>
                <a:spcPts val="0"/>
              </a:spcBef>
            </a:pPr>
            <a:r>
              <a:rPr lang="en-US"/>
              <a:t>Source:</a:t>
            </a:r>
          </a:p>
        </p:txBody>
      </p:sp>
      <p:sp>
        <p:nvSpPr>
          <p:cNvPr id="17" name="Text Placeholder 15">
            <a:extLst>
              <a:ext uri="{FF2B5EF4-FFF2-40B4-BE49-F238E27FC236}">
                <a16:creationId xmlns:a16="http://schemas.microsoft.com/office/drawing/2014/main" id="{5CB979DF-E55A-8933-58F1-BB76EF54B462}"/>
              </a:ext>
            </a:extLst>
          </p:cNvPr>
          <p:cNvSpPr>
            <a:spLocks noGrp="1"/>
          </p:cNvSpPr>
          <p:nvPr>
            <p:ph type="body" sz="quarter" idx="18"/>
          </p:nvPr>
        </p:nvSpPr>
        <p:spPr>
          <a:xfrm>
            <a:off x="458154" y="1005840"/>
            <a:ext cx="2651760" cy="277812"/>
          </a:xfrm>
          <a:solidFill>
            <a:schemeClr val="bg1"/>
          </a:solidFill>
          <a:effectLst>
            <a:outerShdw dist="12700" dir="5400000" algn="ctr" rotWithShape="0">
              <a:schemeClr val="accent1"/>
            </a:outerShdw>
          </a:effectLst>
        </p:spPr>
        <p:txBody>
          <a:bodyPr/>
          <a:lstStyle>
            <a:lvl1pPr>
              <a:defRPr>
                <a:solidFill>
                  <a:schemeClr val="accent1"/>
                </a:solidFill>
              </a:defRPr>
            </a:lvl1pPr>
          </a:lstStyle>
          <a:p>
            <a:pPr lvl="0"/>
            <a:r>
              <a:rPr lang="en-US"/>
              <a:t>Click to edit Master text styles</a:t>
            </a:r>
          </a:p>
        </p:txBody>
      </p:sp>
      <p:sp>
        <p:nvSpPr>
          <p:cNvPr id="19" name="Text Placeholder 18">
            <a:extLst>
              <a:ext uri="{FF2B5EF4-FFF2-40B4-BE49-F238E27FC236}">
                <a16:creationId xmlns:a16="http://schemas.microsoft.com/office/drawing/2014/main" id="{97B01FFC-5EAD-683E-1666-1142A83E34FF}"/>
              </a:ext>
            </a:extLst>
          </p:cNvPr>
          <p:cNvSpPr>
            <a:spLocks noGrp="1"/>
          </p:cNvSpPr>
          <p:nvPr>
            <p:ph type="body" sz="quarter" idx="19"/>
          </p:nvPr>
        </p:nvSpPr>
        <p:spPr>
          <a:xfrm>
            <a:off x="458153" y="1283652"/>
            <a:ext cx="2651760" cy="274320"/>
          </a:xfrm>
        </p:spPr>
        <p:txBody>
          <a:bodyPr>
            <a:noAutofit/>
          </a:bodyPr>
          <a:lstStyle>
            <a:lvl1pPr>
              <a:defRPr sz="1000" b="0" i="1">
                <a:solidFill>
                  <a:schemeClr val="accent4"/>
                </a:solidFill>
              </a:defRPr>
            </a:lvl1pPr>
          </a:lstStyle>
          <a:p>
            <a:pPr lvl="0"/>
            <a:r>
              <a:rPr lang="en-US"/>
              <a:t>Click to edit Master text styles</a:t>
            </a:r>
          </a:p>
        </p:txBody>
      </p:sp>
      <p:sp>
        <p:nvSpPr>
          <p:cNvPr id="23" name="Content Placeholder 22">
            <a:extLst>
              <a:ext uri="{FF2B5EF4-FFF2-40B4-BE49-F238E27FC236}">
                <a16:creationId xmlns:a16="http://schemas.microsoft.com/office/drawing/2014/main" id="{B8A398C3-69FD-5B1C-A8A7-D4CF04DE0C9C}"/>
              </a:ext>
            </a:extLst>
          </p:cNvPr>
          <p:cNvSpPr>
            <a:spLocks noGrp="1"/>
          </p:cNvSpPr>
          <p:nvPr>
            <p:ph sz="quarter" idx="20"/>
          </p:nvPr>
        </p:nvSpPr>
        <p:spPr>
          <a:xfrm>
            <a:off x="458153" y="1557219"/>
            <a:ext cx="2651760" cy="2880360"/>
          </a:xfrm>
        </p:spPr>
        <p:txBody>
          <a:bodyPr/>
          <a:lstStyle/>
          <a:p>
            <a:pPr lvl="0"/>
            <a:r>
              <a:rPr lang="en-US"/>
              <a:t>Click to edit Master text styles</a:t>
            </a:r>
          </a:p>
        </p:txBody>
      </p:sp>
      <p:sp>
        <p:nvSpPr>
          <p:cNvPr id="3" name="Text Placeholder 15">
            <a:extLst>
              <a:ext uri="{FF2B5EF4-FFF2-40B4-BE49-F238E27FC236}">
                <a16:creationId xmlns:a16="http://schemas.microsoft.com/office/drawing/2014/main" id="{B5ADC84F-6229-5F46-92E5-CC08F6A89C1B}"/>
              </a:ext>
            </a:extLst>
          </p:cNvPr>
          <p:cNvSpPr>
            <a:spLocks noGrp="1"/>
          </p:cNvSpPr>
          <p:nvPr>
            <p:ph type="body" sz="quarter" idx="21"/>
          </p:nvPr>
        </p:nvSpPr>
        <p:spPr>
          <a:xfrm>
            <a:off x="3272791" y="1005840"/>
            <a:ext cx="2651760" cy="277812"/>
          </a:xfrm>
          <a:solidFill>
            <a:schemeClr val="bg1"/>
          </a:solidFill>
          <a:effectLst>
            <a:outerShdw dist="12700" dir="5400000" algn="ctr" rotWithShape="0">
              <a:schemeClr val="accent1"/>
            </a:outerShdw>
          </a:effectLst>
        </p:spPr>
        <p:txBody>
          <a:bodyPr/>
          <a:lstStyle>
            <a:lvl1pPr>
              <a:defRPr>
                <a:solidFill>
                  <a:schemeClr val="accent1"/>
                </a:solidFill>
              </a:defRPr>
            </a:lvl1pPr>
          </a:lstStyle>
          <a:p>
            <a:pPr lvl="0"/>
            <a:r>
              <a:rPr lang="en-US"/>
              <a:t>Click to edit Master text styles</a:t>
            </a:r>
          </a:p>
        </p:txBody>
      </p:sp>
      <p:sp>
        <p:nvSpPr>
          <p:cNvPr id="5" name="Text Placeholder 18">
            <a:extLst>
              <a:ext uri="{FF2B5EF4-FFF2-40B4-BE49-F238E27FC236}">
                <a16:creationId xmlns:a16="http://schemas.microsoft.com/office/drawing/2014/main" id="{1AF376CA-0BF7-6093-7DE6-6F5CDFB9497F}"/>
              </a:ext>
            </a:extLst>
          </p:cNvPr>
          <p:cNvSpPr>
            <a:spLocks noGrp="1"/>
          </p:cNvSpPr>
          <p:nvPr>
            <p:ph type="body" sz="quarter" idx="22"/>
          </p:nvPr>
        </p:nvSpPr>
        <p:spPr>
          <a:xfrm>
            <a:off x="3272790" y="1283652"/>
            <a:ext cx="2651760" cy="274320"/>
          </a:xfrm>
        </p:spPr>
        <p:txBody>
          <a:bodyPr>
            <a:noAutofit/>
          </a:bodyPr>
          <a:lstStyle>
            <a:lvl1pPr>
              <a:defRPr sz="1000" b="0" i="1">
                <a:solidFill>
                  <a:schemeClr val="accent4"/>
                </a:solidFill>
              </a:defRPr>
            </a:lvl1pPr>
          </a:lstStyle>
          <a:p>
            <a:pPr lvl="0"/>
            <a:r>
              <a:rPr lang="en-US"/>
              <a:t>Click to edit Master text styles</a:t>
            </a:r>
          </a:p>
        </p:txBody>
      </p:sp>
      <p:sp>
        <p:nvSpPr>
          <p:cNvPr id="7" name="Content Placeholder 22">
            <a:extLst>
              <a:ext uri="{FF2B5EF4-FFF2-40B4-BE49-F238E27FC236}">
                <a16:creationId xmlns:a16="http://schemas.microsoft.com/office/drawing/2014/main" id="{358831E3-D81C-045C-1D2E-A918E201956B}"/>
              </a:ext>
            </a:extLst>
          </p:cNvPr>
          <p:cNvSpPr>
            <a:spLocks noGrp="1"/>
          </p:cNvSpPr>
          <p:nvPr>
            <p:ph sz="quarter" idx="23"/>
          </p:nvPr>
        </p:nvSpPr>
        <p:spPr>
          <a:xfrm>
            <a:off x="3272790" y="1557219"/>
            <a:ext cx="2651760" cy="2880360"/>
          </a:xfrm>
        </p:spPr>
        <p:txBody>
          <a:bodyPr/>
          <a:lstStyle/>
          <a:p>
            <a:pPr lvl="0"/>
            <a:r>
              <a:rPr lang="en-US"/>
              <a:t>Click to edit Master text styles</a:t>
            </a:r>
          </a:p>
        </p:txBody>
      </p:sp>
      <p:sp>
        <p:nvSpPr>
          <p:cNvPr id="4" name="Text Placeholder 15">
            <a:extLst>
              <a:ext uri="{FF2B5EF4-FFF2-40B4-BE49-F238E27FC236}">
                <a16:creationId xmlns:a16="http://schemas.microsoft.com/office/drawing/2014/main" id="{5E4BC3B5-3ADB-0F13-A9C2-72BB373BCEDA}"/>
              </a:ext>
            </a:extLst>
          </p:cNvPr>
          <p:cNvSpPr>
            <a:spLocks noGrp="1"/>
          </p:cNvSpPr>
          <p:nvPr>
            <p:ph type="body" sz="quarter" idx="24"/>
          </p:nvPr>
        </p:nvSpPr>
        <p:spPr>
          <a:xfrm>
            <a:off x="6087430" y="1005841"/>
            <a:ext cx="2651760" cy="277812"/>
          </a:xfrm>
          <a:solidFill>
            <a:schemeClr val="bg1"/>
          </a:solidFill>
          <a:effectLst>
            <a:outerShdw dist="12700" dir="5400000" algn="ctr" rotWithShape="0">
              <a:schemeClr val="accent1"/>
            </a:outerShdw>
          </a:effectLst>
        </p:spPr>
        <p:txBody>
          <a:bodyPr/>
          <a:lstStyle>
            <a:lvl1pPr>
              <a:defRPr>
                <a:solidFill>
                  <a:schemeClr val="accent1"/>
                </a:solidFill>
              </a:defRPr>
            </a:lvl1pPr>
          </a:lstStyle>
          <a:p>
            <a:pPr lvl="0"/>
            <a:r>
              <a:rPr lang="en-US"/>
              <a:t>Click to edit Master text styles</a:t>
            </a:r>
          </a:p>
        </p:txBody>
      </p:sp>
      <p:sp>
        <p:nvSpPr>
          <p:cNvPr id="8" name="Text Placeholder 18">
            <a:extLst>
              <a:ext uri="{FF2B5EF4-FFF2-40B4-BE49-F238E27FC236}">
                <a16:creationId xmlns:a16="http://schemas.microsoft.com/office/drawing/2014/main" id="{76119C32-2A2E-828F-A80B-92B159F91C29}"/>
              </a:ext>
            </a:extLst>
          </p:cNvPr>
          <p:cNvSpPr>
            <a:spLocks noGrp="1"/>
          </p:cNvSpPr>
          <p:nvPr>
            <p:ph type="body" sz="quarter" idx="25"/>
          </p:nvPr>
        </p:nvSpPr>
        <p:spPr>
          <a:xfrm>
            <a:off x="6087429" y="1283653"/>
            <a:ext cx="2651760" cy="274320"/>
          </a:xfrm>
        </p:spPr>
        <p:txBody>
          <a:bodyPr>
            <a:noAutofit/>
          </a:bodyPr>
          <a:lstStyle>
            <a:lvl1pPr>
              <a:defRPr sz="1000" b="0" i="1">
                <a:solidFill>
                  <a:schemeClr val="accent4"/>
                </a:solidFill>
              </a:defRPr>
            </a:lvl1pPr>
          </a:lstStyle>
          <a:p>
            <a:pPr lvl="0"/>
            <a:r>
              <a:rPr lang="en-US"/>
              <a:t>Click to edit Master text styles</a:t>
            </a:r>
          </a:p>
        </p:txBody>
      </p:sp>
      <p:sp>
        <p:nvSpPr>
          <p:cNvPr id="9" name="Content Placeholder 22">
            <a:extLst>
              <a:ext uri="{FF2B5EF4-FFF2-40B4-BE49-F238E27FC236}">
                <a16:creationId xmlns:a16="http://schemas.microsoft.com/office/drawing/2014/main" id="{BDCE2E8F-0BD2-302E-276E-989403AE3E7F}"/>
              </a:ext>
            </a:extLst>
          </p:cNvPr>
          <p:cNvSpPr>
            <a:spLocks noGrp="1"/>
          </p:cNvSpPr>
          <p:nvPr>
            <p:ph sz="quarter" idx="26"/>
          </p:nvPr>
        </p:nvSpPr>
        <p:spPr>
          <a:xfrm>
            <a:off x="6087429" y="1557220"/>
            <a:ext cx="2651760" cy="2880360"/>
          </a:xfrm>
        </p:spPr>
        <p:txBody>
          <a:bodyPr/>
          <a:lstStyle/>
          <a:p>
            <a:pPr lvl="0"/>
            <a:r>
              <a:rPr lang="en-US"/>
              <a:t>Click to edit Master text styles</a:t>
            </a:r>
          </a:p>
        </p:txBody>
      </p:sp>
    </p:spTree>
    <p:extLst>
      <p:ext uri="{BB962C8B-B14F-4D97-AF65-F5344CB8AC3E}">
        <p14:creationId xmlns:p14="http://schemas.microsoft.com/office/powerpoint/2010/main" val="7568637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Slide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8413D-139F-4211-91C7-5A583F9B4A6A}"/>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7511209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5DFEE-BA38-4B64-A7AA-73258E378FA6}"/>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p>
        </p:txBody>
      </p:sp>
      <p:sp>
        <p:nvSpPr>
          <p:cNvPr id="3" name="PageSubtitle">
            <a:extLst>
              <a:ext uri="{FF2B5EF4-FFF2-40B4-BE49-F238E27FC236}">
                <a16:creationId xmlns:a16="http://schemas.microsoft.com/office/drawing/2014/main" id="{341F4757-10F2-426C-8AED-5830840042D1}"/>
              </a:ext>
            </a:extLst>
          </p:cNvPr>
          <p:cNvSpPr>
            <a:spLocks noGrp="1"/>
          </p:cNvSpPr>
          <p:nvPr>
            <p:ph type="subTitle" idx="10" hasCustomPrompt="1"/>
          </p:nvPr>
        </p:nvSpPr>
        <p:spPr>
          <a:xfrm>
            <a:off x="458155" y="880110"/>
            <a:ext cx="8257220" cy="240030"/>
          </a:xfrm>
        </p:spPr>
        <p:txBody>
          <a:bodyPr vert="horz" wrap="square" lIns="0" tIns="0" rIns="0" bIns="0" rtlCol="0" anchor="t">
            <a:noAutofit/>
          </a:bodyPr>
          <a:lstStyle>
            <a:lvl1pPr>
              <a:defRPr lang="en-US" sz="1200">
                <a:solidFill>
                  <a:schemeClr val="accent3"/>
                </a:solidFill>
                <a:latin typeface="Arial" panose="020B0604020202020204" pitchFamily="34" charset="0"/>
              </a:defRPr>
            </a:lvl1pPr>
          </a:lstStyle>
          <a:p>
            <a:pPr marL="0" lvl="0" indent="0">
              <a:spcBef>
                <a:spcPts val="625"/>
              </a:spcBef>
            </a:pPr>
            <a:r>
              <a:rPr lang="en-US"/>
              <a:t>Click to edit Page Subtitle</a:t>
            </a:r>
          </a:p>
        </p:txBody>
      </p:sp>
    </p:spTree>
    <p:extLst>
      <p:ext uri="{BB962C8B-B14F-4D97-AF65-F5344CB8AC3E}">
        <p14:creationId xmlns:p14="http://schemas.microsoft.com/office/powerpoint/2010/main" val="14838843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9501D-0EB0-B488-A879-124F7887DA5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D14FB9C-0CE6-3038-1DA1-F7EC9D5EF612}"/>
              </a:ext>
            </a:extLst>
          </p:cNvPr>
          <p:cNvSpPr>
            <a:spLocks noGrp="1"/>
          </p:cNvSpPr>
          <p:nvPr>
            <p:ph type="body" sz="quarter" idx="10"/>
          </p:nvPr>
        </p:nvSpPr>
        <p:spPr>
          <a:xfrm>
            <a:off x="458788" y="1006461"/>
            <a:ext cx="8280400" cy="3465429"/>
          </a:xfrm>
        </p:spPr>
        <p:txBody>
          <a:bodyPr lIns="45720" r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74E80040-E351-CF34-AE18-2E13808BEB46}"/>
              </a:ext>
            </a:extLst>
          </p:cNvPr>
          <p:cNvSpPr>
            <a:spLocks noGrp="1"/>
          </p:cNvSpPr>
          <p:nvPr>
            <p:ph type="body" sz="quarter" idx="11" hasCustomPrompt="1"/>
          </p:nvPr>
        </p:nvSpPr>
        <p:spPr>
          <a:xfrm>
            <a:off x="458154" y="4437581"/>
            <a:ext cx="8281035" cy="186128"/>
          </a:xfrm>
        </p:spPr>
        <p:txBody>
          <a:bodyPr wrap="square" lIns="45720" rIns="45720">
            <a:spAutoFit/>
          </a:bodyPr>
          <a:lstStyle>
            <a:lvl1pPr>
              <a:defRPr sz="600" b="0" i="1"/>
            </a:lvl1pPr>
          </a:lstStyle>
          <a:p>
            <a:pPr lvl="0"/>
            <a:r>
              <a:rPr lang="en-US"/>
              <a:t>Source:</a:t>
            </a:r>
          </a:p>
        </p:txBody>
      </p:sp>
    </p:spTree>
    <p:extLst>
      <p:ext uri="{BB962C8B-B14F-4D97-AF65-F5344CB8AC3E}">
        <p14:creationId xmlns:p14="http://schemas.microsoft.com/office/powerpoint/2010/main" val="1338119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Left Char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9501D-0EB0-B488-A879-124F7887DA5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D14FB9C-0CE6-3038-1DA1-F7EC9D5EF612}"/>
              </a:ext>
            </a:extLst>
          </p:cNvPr>
          <p:cNvSpPr>
            <a:spLocks noGrp="1"/>
          </p:cNvSpPr>
          <p:nvPr>
            <p:ph type="body" sz="quarter" idx="10"/>
          </p:nvPr>
        </p:nvSpPr>
        <p:spPr>
          <a:xfrm>
            <a:off x="458789" y="1361807"/>
            <a:ext cx="3886200" cy="3075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74E80040-E351-CF34-AE18-2E13808BEB46}"/>
              </a:ext>
            </a:extLst>
          </p:cNvPr>
          <p:cNvSpPr>
            <a:spLocks noGrp="1"/>
          </p:cNvSpPr>
          <p:nvPr>
            <p:ph type="body" sz="quarter" idx="11" hasCustomPrompt="1"/>
          </p:nvPr>
        </p:nvSpPr>
        <p:spPr>
          <a:xfrm>
            <a:off x="458154" y="4437581"/>
            <a:ext cx="8281035" cy="186128"/>
          </a:xfrm>
        </p:spPr>
        <p:txBody>
          <a:bodyPr wrap="square" lIns="45720" rIns="45720">
            <a:spAutoFit/>
          </a:bodyPr>
          <a:lstStyle>
            <a:lvl1pPr>
              <a:defRPr sz="600" b="0" i="1"/>
            </a:lvl1pPr>
          </a:lstStyle>
          <a:p>
            <a:pPr lvl="0"/>
            <a:r>
              <a:rPr lang="en-US"/>
              <a:t>Source:</a:t>
            </a:r>
          </a:p>
        </p:txBody>
      </p:sp>
      <p:sp>
        <p:nvSpPr>
          <p:cNvPr id="16" name="Text Placeholder 15">
            <a:extLst>
              <a:ext uri="{FF2B5EF4-FFF2-40B4-BE49-F238E27FC236}">
                <a16:creationId xmlns:a16="http://schemas.microsoft.com/office/drawing/2014/main" id="{ABA318AE-1F52-E374-F768-A8A355EF682F}"/>
              </a:ext>
            </a:extLst>
          </p:cNvPr>
          <p:cNvSpPr>
            <a:spLocks noGrp="1"/>
          </p:cNvSpPr>
          <p:nvPr>
            <p:ph type="body" sz="quarter" idx="17"/>
          </p:nvPr>
        </p:nvSpPr>
        <p:spPr>
          <a:xfrm>
            <a:off x="458788" y="1005840"/>
            <a:ext cx="3886200" cy="277812"/>
          </a:xfrm>
          <a:solidFill>
            <a:schemeClr val="bg1"/>
          </a:solidFill>
          <a:effectLst>
            <a:outerShdw dist="12700" dir="5400000" algn="ctr" rotWithShape="0">
              <a:schemeClr val="accent1"/>
            </a:outerShdw>
          </a:effectLst>
        </p:spPr>
        <p:txBody>
          <a:bodyPr/>
          <a:lstStyle>
            <a:lvl1pPr>
              <a:defRPr>
                <a:solidFill>
                  <a:schemeClr val="accent1"/>
                </a:solidFill>
              </a:defRPr>
            </a:lvl1pPr>
          </a:lstStyle>
          <a:p>
            <a:pPr lvl="0"/>
            <a:r>
              <a:rPr lang="en-US"/>
              <a:t>Click to edit Master text styles</a:t>
            </a:r>
          </a:p>
        </p:txBody>
      </p:sp>
      <p:sp>
        <p:nvSpPr>
          <p:cNvPr id="17" name="Text Placeholder 15">
            <a:extLst>
              <a:ext uri="{FF2B5EF4-FFF2-40B4-BE49-F238E27FC236}">
                <a16:creationId xmlns:a16="http://schemas.microsoft.com/office/drawing/2014/main" id="{5CB979DF-E55A-8933-58F1-BB76EF54B462}"/>
              </a:ext>
            </a:extLst>
          </p:cNvPr>
          <p:cNvSpPr>
            <a:spLocks noGrp="1"/>
          </p:cNvSpPr>
          <p:nvPr>
            <p:ph type="body" sz="quarter" idx="18"/>
          </p:nvPr>
        </p:nvSpPr>
        <p:spPr>
          <a:xfrm>
            <a:off x="4852989" y="1005840"/>
            <a:ext cx="3886200" cy="277812"/>
          </a:xfrm>
          <a:solidFill>
            <a:schemeClr val="bg1"/>
          </a:solidFill>
          <a:effectLst>
            <a:outerShdw dist="12700" dir="5400000" algn="ctr" rotWithShape="0">
              <a:schemeClr val="accent1"/>
            </a:outerShdw>
          </a:effectLst>
        </p:spPr>
        <p:txBody>
          <a:bodyPr/>
          <a:lstStyle>
            <a:lvl1pPr>
              <a:defRPr>
                <a:solidFill>
                  <a:schemeClr val="accent1"/>
                </a:solidFill>
              </a:defRPr>
            </a:lvl1pPr>
          </a:lstStyle>
          <a:p>
            <a:pPr lvl="0"/>
            <a:r>
              <a:rPr lang="en-US"/>
              <a:t>Click to edit Master text styles</a:t>
            </a:r>
          </a:p>
        </p:txBody>
      </p:sp>
      <p:sp>
        <p:nvSpPr>
          <p:cNvPr id="19" name="Text Placeholder 18">
            <a:extLst>
              <a:ext uri="{FF2B5EF4-FFF2-40B4-BE49-F238E27FC236}">
                <a16:creationId xmlns:a16="http://schemas.microsoft.com/office/drawing/2014/main" id="{97B01FFC-5EAD-683E-1666-1142A83E34FF}"/>
              </a:ext>
            </a:extLst>
          </p:cNvPr>
          <p:cNvSpPr>
            <a:spLocks noGrp="1"/>
          </p:cNvSpPr>
          <p:nvPr>
            <p:ph type="body" sz="quarter" idx="19"/>
          </p:nvPr>
        </p:nvSpPr>
        <p:spPr>
          <a:xfrm>
            <a:off x="4852988" y="1283652"/>
            <a:ext cx="3886200" cy="274320"/>
          </a:xfrm>
        </p:spPr>
        <p:txBody>
          <a:bodyPr>
            <a:noAutofit/>
          </a:bodyPr>
          <a:lstStyle>
            <a:lvl1pPr>
              <a:defRPr sz="1000" b="0" i="1">
                <a:solidFill>
                  <a:schemeClr val="accent4"/>
                </a:solidFill>
              </a:defRPr>
            </a:lvl1pPr>
          </a:lstStyle>
          <a:p>
            <a:pPr lvl="0"/>
            <a:r>
              <a:rPr lang="en-US"/>
              <a:t>Click to edit Master text styles</a:t>
            </a:r>
          </a:p>
        </p:txBody>
      </p:sp>
      <p:sp>
        <p:nvSpPr>
          <p:cNvPr id="23" name="Content Placeholder 22">
            <a:extLst>
              <a:ext uri="{FF2B5EF4-FFF2-40B4-BE49-F238E27FC236}">
                <a16:creationId xmlns:a16="http://schemas.microsoft.com/office/drawing/2014/main" id="{B8A398C3-69FD-5B1C-A8A7-D4CF04DE0C9C}"/>
              </a:ext>
            </a:extLst>
          </p:cNvPr>
          <p:cNvSpPr>
            <a:spLocks noGrp="1"/>
          </p:cNvSpPr>
          <p:nvPr>
            <p:ph sz="quarter" idx="20"/>
          </p:nvPr>
        </p:nvSpPr>
        <p:spPr>
          <a:xfrm>
            <a:off x="4852988" y="1557338"/>
            <a:ext cx="3886200" cy="2880360"/>
          </a:xfrm>
        </p:spPr>
        <p:txBody>
          <a:bodyPr/>
          <a:lstStyle/>
          <a:p>
            <a:pPr lvl="0"/>
            <a:endParaRPr lang="en-US"/>
          </a:p>
        </p:txBody>
      </p:sp>
    </p:spTree>
    <p:extLst>
      <p:ext uri="{BB962C8B-B14F-4D97-AF65-F5344CB8AC3E}">
        <p14:creationId xmlns:p14="http://schemas.microsoft.com/office/powerpoint/2010/main" val="26162103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rt Left Tex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9501D-0EB0-B488-A879-124F7887DA52}"/>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D14FB9C-0CE6-3038-1DA1-F7EC9D5EF612}"/>
              </a:ext>
            </a:extLst>
          </p:cNvPr>
          <p:cNvSpPr>
            <a:spLocks noGrp="1"/>
          </p:cNvSpPr>
          <p:nvPr>
            <p:ph type="body" sz="quarter" idx="10"/>
          </p:nvPr>
        </p:nvSpPr>
        <p:spPr>
          <a:xfrm>
            <a:off x="4852990" y="1361807"/>
            <a:ext cx="3886200" cy="3075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74E80040-E351-CF34-AE18-2E13808BEB46}"/>
              </a:ext>
            </a:extLst>
          </p:cNvPr>
          <p:cNvSpPr>
            <a:spLocks noGrp="1"/>
          </p:cNvSpPr>
          <p:nvPr>
            <p:ph type="body" sz="quarter" idx="11" hasCustomPrompt="1"/>
          </p:nvPr>
        </p:nvSpPr>
        <p:spPr>
          <a:xfrm>
            <a:off x="458154" y="4437581"/>
            <a:ext cx="8281035" cy="186128"/>
          </a:xfrm>
        </p:spPr>
        <p:txBody>
          <a:bodyPr wrap="square" lIns="45720" rIns="45720">
            <a:spAutoFit/>
          </a:bodyPr>
          <a:lstStyle>
            <a:lvl1pPr>
              <a:defRPr sz="600" b="0" i="1"/>
            </a:lvl1pPr>
          </a:lstStyle>
          <a:p>
            <a:pPr lvl="0"/>
            <a:r>
              <a:rPr lang="en-US"/>
              <a:t>Source:</a:t>
            </a:r>
          </a:p>
        </p:txBody>
      </p:sp>
      <p:sp>
        <p:nvSpPr>
          <p:cNvPr id="16" name="Text Placeholder 15">
            <a:extLst>
              <a:ext uri="{FF2B5EF4-FFF2-40B4-BE49-F238E27FC236}">
                <a16:creationId xmlns:a16="http://schemas.microsoft.com/office/drawing/2014/main" id="{ABA318AE-1F52-E374-F768-A8A355EF682F}"/>
              </a:ext>
            </a:extLst>
          </p:cNvPr>
          <p:cNvSpPr>
            <a:spLocks noGrp="1"/>
          </p:cNvSpPr>
          <p:nvPr>
            <p:ph type="body" sz="quarter" idx="17"/>
          </p:nvPr>
        </p:nvSpPr>
        <p:spPr>
          <a:xfrm>
            <a:off x="4852989" y="1005840"/>
            <a:ext cx="3886200" cy="277812"/>
          </a:xfrm>
          <a:solidFill>
            <a:schemeClr val="bg1"/>
          </a:solidFill>
          <a:effectLst>
            <a:outerShdw dist="12700" dir="5400000" algn="ctr" rotWithShape="0">
              <a:schemeClr val="accent1"/>
            </a:outerShdw>
          </a:effectLst>
        </p:spPr>
        <p:txBody>
          <a:bodyPr/>
          <a:lstStyle>
            <a:lvl1pPr>
              <a:defRPr>
                <a:solidFill>
                  <a:schemeClr val="accent1"/>
                </a:solidFill>
              </a:defRPr>
            </a:lvl1pPr>
          </a:lstStyle>
          <a:p>
            <a:pPr lvl="0"/>
            <a:r>
              <a:rPr lang="en-US"/>
              <a:t>Click to edit Master text styles</a:t>
            </a:r>
          </a:p>
        </p:txBody>
      </p:sp>
      <p:sp>
        <p:nvSpPr>
          <p:cNvPr id="17" name="Text Placeholder 15">
            <a:extLst>
              <a:ext uri="{FF2B5EF4-FFF2-40B4-BE49-F238E27FC236}">
                <a16:creationId xmlns:a16="http://schemas.microsoft.com/office/drawing/2014/main" id="{5CB979DF-E55A-8933-58F1-BB76EF54B462}"/>
              </a:ext>
            </a:extLst>
          </p:cNvPr>
          <p:cNvSpPr>
            <a:spLocks noGrp="1"/>
          </p:cNvSpPr>
          <p:nvPr>
            <p:ph type="body" sz="quarter" idx="18"/>
          </p:nvPr>
        </p:nvSpPr>
        <p:spPr>
          <a:xfrm>
            <a:off x="458154" y="1005840"/>
            <a:ext cx="3886200" cy="277812"/>
          </a:xfrm>
          <a:solidFill>
            <a:schemeClr val="bg1"/>
          </a:solidFill>
          <a:effectLst>
            <a:outerShdw dist="12700" dir="5400000" algn="ctr" rotWithShape="0">
              <a:schemeClr val="accent1"/>
            </a:outerShdw>
          </a:effectLst>
        </p:spPr>
        <p:txBody>
          <a:bodyPr/>
          <a:lstStyle>
            <a:lvl1pPr>
              <a:defRPr>
                <a:solidFill>
                  <a:schemeClr val="accent1"/>
                </a:solidFill>
              </a:defRPr>
            </a:lvl1pPr>
          </a:lstStyle>
          <a:p>
            <a:pPr lvl="0"/>
            <a:r>
              <a:rPr lang="en-US"/>
              <a:t>Click to edit Master text styles</a:t>
            </a:r>
          </a:p>
        </p:txBody>
      </p:sp>
      <p:sp>
        <p:nvSpPr>
          <p:cNvPr id="19" name="Text Placeholder 18">
            <a:extLst>
              <a:ext uri="{FF2B5EF4-FFF2-40B4-BE49-F238E27FC236}">
                <a16:creationId xmlns:a16="http://schemas.microsoft.com/office/drawing/2014/main" id="{97B01FFC-5EAD-683E-1666-1142A83E34FF}"/>
              </a:ext>
            </a:extLst>
          </p:cNvPr>
          <p:cNvSpPr>
            <a:spLocks noGrp="1"/>
          </p:cNvSpPr>
          <p:nvPr>
            <p:ph type="body" sz="quarter" idx="19"/>
          </p:nvPr>
        </p:nvSpPr>
        <p:spPr>
          <a:xfrm>
            <a:off x="458153" y="1283652"/>
            <a:ext cx="3886200" cy="274320"/>
          </a:xfrm>
        </p:spPr>
        <p:txBody>
          <a:bodyPr>
            <a:noAutofit/>
          </a:bodyPr>
          <a:lstStyle>
            <a:lvl1pPr>
              <a:defRPr sz="1000" b="0" i="1">
                <a:solidFill>
                  <a:schemeClr val="accent4"/>
                </a:solidFill>
              </a:defRPr>
            </a:lvl1pPr>
          </a:lstStyle>
          <a:p>
            <a:pPr lvl="0"/>
            <a:r>
              <a:rPr lang="en-US"/>
              <a:t>Click to edit Master text styles</a:t>
            </a:r>
          </a:p>
        </p:txBody>
      </p:sp>
      <p:sp>
        <p:nvSpPr>
          <p:cNvPr id="23" name="Content Placeholder 22">
            <a:extLst>
              <a:ext uri="{FF2B5EF4-FFF2-40B4-BE49-F238E27FC236}">
                <a16:creationId xmlns:a16="http://schemas.microsoft.com/office/drawing/2014/main" id="{B8A398C3-69FD-5B1C-A8A7-D4CF04DE0C9C}"/>
              </a:ext>
            </a:extLst>
          </p:cNvPr>
          <p:cNvSpPr>
            <a:spLocks noGrp="1"/>
          </p:cNvSpPr>
          <p:nvPr>
            <p:ph sz="quarter" idx="20"/>
          </p:nvPr>
        </p:nvSpPr>
        <p:spPr>
          <a:xfrm>
            <a:off x="458153" y="1557219"/>
            <a:ext cx="3886200" cy="2880360"/>
          </a:xfrm>
        </p:spPr>
        <p:txBody>
          <a:bodyPr/>
          <a:lstStyle/>
          <a:p>
            <a:pPr lvl="0"/>
            <a:endParaRPr lang="en-US"/>
          </a:p>
        </p:txBody>
      </p:sp>
    </p:spTree>
    <p:extLst>
      <p:ext uri="{BB962C8B-B14F-4D97-AF65-F5344CB8AC3E}">
        <p14:creationId xmlns:p14="http://schemas.microsoft.com/office/powerpoint/2010/main" val="20575346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9501D-0EB0-B488-A879-124F7887DA52}"/>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74E80040-E351-CF34-AE18-2E13808BEB46}"/>
              </a:ext>
            </a:extLst>
          </p:cNvPr>
          <p:cNvSpPr>
            <a:spLocks noGrp="1"/>
          </p:cNvSpPr>
          <p:nvPr>
            <p:ph type="body" sz="quarter" idx="11" hasCustomPrompt="1"/>
          </p:nvPr>
        </p:nvSpPr>
        <p:spPr>
          <a:xfrm>
            <a:off x="458154" y="4437581"/>
            <a:ext cx="8281035" cy="186128"/>
          </a:xfrm>
        </p:spPr>
        <p:txBody>
          <a:bodyPr wrap="square" lIns="45720" rIns="45720">
            <a:spAutoFit/>
          </a:bodyPr>
          <a:lstStyle>
            <a:lvl1pPr>
              <a:defRPr sz="600" b="0" i="1"/>
            </a:lvl1pPr>
          </a:lstStyle>
          <a:p>
            <a:pPr lvl="0"/>
            <a:r>
              <a:rPr lang="en-US"/>
              <a:t>Source:</a:t>
            </a:r>
          </a:p>
        </p:txBody>
      </p:sp>
      <p:sp>
        <p:nvSpPr>
          <p:cNvPr id="17" name="Text Placeholder 15">
            <a:extLst>
              <a:ext uri="{FF2B5EF4-FFF2-40B4-BE49-F238E27FC236}">
                <a16:creationId xmlns:a16="http://schemas.microsoft.com/office/drawing/2014/main" id="{5CB979DF-E55A-8933-58F1-BB76EF54B462}"/>
              </a:ext>
            </a:extLst>
          </p:cNvPr>
          <p:cNvSpPr>
            <a:spLocks noGrp="1"/>
          </p:cNvSpPr>
          <p:nvPr>
            <p:ph type="body" sz="quarter" idx="18"/>
          </p:nvPr>
        </p:nvSpPr>
        <p:spPr>
          <a:xfrm>
            <a:off x="458154" y="1005840"/>
            <a:ext cx="3886200" cy="277812"/>
          </a:xfrm>
          <a:solidFill>
            <a:schemeClr val="bg1"/>
          </a:solidFill>
          <a:effectLst>
            <a:outerShdw dist="12700" dir="5400000" algn="ctr" rotWithShape="0">
              <a:schemeClr val="accent1"/>
            </a:outerShdw>
          </a:effectLst>
        </p:spPr>
        <p:txBody>
          <a:bodyPr/>
          <a:lstStyle>
            <a:lvl1pPr>
              <a:defRPr>
                <a:solidFill>
                  <a:schemeClr val="accent1"/>
                </a:solidFill>
              </a:defRPr>
            </a:lvl1pPr>
          </a:lstStyle>
          <a:p>
            <a:pPr lvl="0"/>
            <a:r>
              <a:rPr lang="en-US"/>
              <a:t>Click to edit Master text styles</a:t>
            </a:r>
          </a:p>
        </p:txBody>
      </p:sp>
      <p:sp>
        <p:nvSpPr>
          <p:cNvPr id="19" name="Text Placeholder 18">
            <a:extLst>
              <a:ext uri="{FF2B5EF4-FFF2-40B4-BE49-F238E27FC236}">
                <a16:creationId xmlns:a16="http://schemas.microsoft.com/office/drawing/2014/main" id="{97B01FFC-5EAD-683E-1666-1142A83E34FF}"/>
              </a:ext>
            </a:extLst>
          </p:cNvPr>
          <p:cNvSpPr>
            <a:spLocks noGrp="1"/>
          </p:cNvSpPr>
          <p:nvPr>
            <p:ph type="body" sz="quarter" idx="19"/>
          </p:nvPr>
        </p:nvSpPr>
        <p:spPr>
          <a:xfrm>
            <a:off x="458153" y="1283652"/>
            <a:ext cx="3886200" cy="274320"/>
          </a:xfrm>
        </p:spPr>
        <p:txBody>
          <a:bodyPr>
            <a:noAutofit/>
          </a:bodyPr>
          <a:lstStyle>
            <a:lvl1pPr>
              <a:defRPr sz="1000" b="0" i="1">
                <a:solidFill>
                  <a:schemeClr val="accent4"/>
                </a:solidFill>
              </a:defRPr>
            </a:lvl1pPr>
          </a:lstStyle>
          <a:p>
            <a:pPr lvl="0"/>
            <a:r>
              <a:rPr lang="en-US"/>
              <a:t>Click to edit Master text styles</a:t>
            </a:r>
          </a:p>
        </p:txBody>
      </p:sp>
      <p:sp>
        <p:nvSpPr>
          <p:cNvPr id="23" name="Content Placeholder 22">
            <a:extLst>
              <a:ext uri="{FF2B5EF4-FFF2-40B4-BE49-F238E27FC236}">
                <a16:creationId xmlns:a16="http://schemas.microsoft.com/office/drawing/2014/main" id="{B8A398C3-69FD-5B1C-A8A7-D4CF04DE0C9C}"/>
              </a:ext>
            </a:extLst>
          </p:cNvPr>
          <p:cNvSpPr>
            <a:spLocks noGrp="1"/>
          </p:cNvSpPr>
          <p:nvPr>
            <p:ph sz="quarter" idx="20"/>
          </p:nvPr>
        </p:nvSpPr>
        <p:spPr>
          <a:xfrm>
            <a:off x="458153" y="1557219"/>
            <a:ext cx="3886200" cy="2880360"/>
          </a:xfrm>
        </p:spPr>
        <p:txBody>
          <a:bodyPr/>
          <a:lstStyle/>
          <a:p>
            <a:pPr lvl="0"/>
            <a:endParaRPr lang="en-US"/>
          </a:p>
        </p:txBody>
      </p:sp>
      <p:sp>
        <p:nvSpPr>
          <p:cNvPr id="3" name="Text Placeholder 15">
            <a:extLst>
              <a:ext uri="{FF2B5EF4-FFF2-40B4-BE49-F238E27FC236}">
                <a16:creationId xmlns:a16="http://schemas.microsoft.com/office/drawing/2014/main" id="{B5ADC84F-6229-5F46-92E5-CC08F6A89C1B}"/>
              </a:ext>
            </a:extLst>
          </p:cNvPr>
          <p:cNvSpPr>
            <a:spLocks noGrp="1"/>
          </p:cNvSpPr>
          <p:nvPr>
            <p:ph type="body" sz="quarter" idx="21"/>
          </p:nvPr>
        </p:nvSpPr>
        <p:spPr>
          <a:xfrm>
            <a:off x="4852989" y="1005840"/>
            <a:ext cx="3886200" cy="277812"/>
          </a:xfrm>
          <a:solidFill>
            <a:schemeClr val="bg1"/>
          </a:solidFill>
          <a:effectLst>
            <a:outerShdw dist="12700" dir="5400000" algn="ctr" rotWithShape="0">
              <a:schemeClr val="accent1"/>
            </a:outerShdw>
          </a:effectLst>
        </p:spPr>
        <p:txBody>
          <a:bodyPr/>
          <a:lstStyle>
            <a:lvl1pPr>
              <a:defRPr>
                <a:solidFill>
                  <a:schemeClr val="accent1"/>
                </a:solidFill>
              </a:defRPr>
            </a:lvl1pPr>
          </a:lstStyle>
          <a:p>
            <a:pPr lvl="0"/>
            <a:r>
              <a:rPr lang="en-US"/>
              <a:t>Click to edit Master text styles</a:t>
            </a:r>
          </a:p>
        </p:txBody>
      </p:sp>
      <p:sp>
        <p:nvSpPr>
          <p:cNvPr id="5" name="Text Placeholder 18">
            <a:extLst>
              <a:ext uri="{FF2B5EF4-FFF2-40B4-BE49-F238E27FC236}">
                <a16:creationId xmlns:a16="http://schemas.microsoft.com/office/drawing/2014/main" id="{1AF376CA-0BF7-6093-7DE6-6F5CDFB9497F}"/>
              </a:ext>
            </a:extLst>
          </p:cNvPr>
          <p:cNvSpPr>
            <a:spLocks noGrp="1"/>
          </p:cNvSpPr>
          <p:nvPr>
            <p:ph type="body" sz="quarter" idx="22"/>
          </p:nvPr>
        </p:nvSpPr>
        <p:spPr>
          <a:xfrm>
            <a:off x="4852988" y="1283652"/>
            <a:ext cx="3886200" cy="274320"/>
          </a:xfrm>
        </p:spPr>
        <p:txBody>
          <a:bodyPr>
            <a:noAutofit/>
          </a:bodyPr>
          <a:lstStyle>
            <a:lvl1pPr>
              <a:defRPr sz="1000" b="0" i="1">
                <a:solidFill>
                  <a:schemeClr val="accent4"/>
                </a:solidFill>
              </a:defRPr>
            </a:lvl1pPr>
          </a:lstStyle>
          <a:p>
            <a:pPr lvl="0"/>
            <a:r>
              <a:rPr lang="en-US"/>
              <a:t>Click to edit Master text styles</a:t>
            </a:r>
          </a:p>
        </p:txBody>
      </p:sp>
      <p:sp>
        <p:nvSpPr>
          <p:cNvPr id="7" name="Content Placeholder 22">
            <a:extLst>
              <a:ext uri="{FF2B5EF4-FFF2-40B4-BE49-F238E27FC236}">
                <a16:creationId xmlns:a16="http://schemas.microsoft.com/office/drawing/2014/main" id="{358831E3-D81C-045C-1D2E-A918E201956B}"/>
              </a:ext>
            </a:extLst>
          </p:cNvPr>
          <p:cNvSpPr>
            <a:spLocks noGrp="1"/>
          </p:cNvSpPr>
          <p:nvPr>
            <p:ph sz="quarter" idx="23"/>
          </p:nvPr>
        </p:nvSpPr>
        <p:spPr>
          <a:xfrm>
            <a:off x="4852988" y="1557219"/>
            <a:ext cx="3886200" cy="2880360"/>
          </a:xfrm>
        </p:spPr>
        <p:txBody>
          <a:bodyPr/>
          <a:lstStyle/>
          <a:p>
            <a:pPr lvl="0"/>
            <a:endParaRPr lang="en-US"/>
          </a:p>
        </p:txBody>
      </p:sp>
    </p:spTree>
    <p:extLst>
      <p:ext uri="{BB962C8B-B14F-4D97-AF65-F5344CB8AC3E}">
        <p14:creationId xmlns:p14="http://schemas.microsoft.com/office/powerpoint/2010/main" val="247833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Acc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2B3F9-96E5-DB89-E680-C7FCA2DB4AD9}"/>
              </a:ext>
            </a:extLst>
          </p:cNvPr>
          <p:cNvSpPr>
            <a:spLocks noGrp="1"/>
          </p:cNvSpPr>
          <p:nvPr>
            <p:ph type="title"/>
          </p:nvPr>
        </p:nvSpPr>
        <p:spPr>
          <a:xfrm>
            <a:off x="458156" y="397182"/>
            <a:ext cx="6120445" cy="451485"/>
          </a:xfrm>
        </p:spPr>
        <p:txBody>
          <a:bodyPr/>
          <a:lstStyle>
            <a:lvl1pPr>
              <a:defRPr>
                <a:latin typeface="Arial" panose="020B0604020202020204" pitchFamily="34" charset="0"/>
              </a:defRPr>
            </a:lvl1pPr>
          </a:lstStyle>
          <a:p>
            <a:r>
              <a:rPr lang="en-US"/>
              <a:t>Click to edit Master title style</a:t>
            </a:r>
            <a:endParaRPr lang="en-GB"/>
          </a:p>
        </p:txBody>
      </p:sp>
      <p:sp>
        <p:nvSpPr>
          <p:cNvPr id="4" name="Picture Placeholder 3">
            <a:extLst>
              <a:ext uri="{FF2B5EF4-FFF2-40B4-BE49-F238E27FC236}">
                <a16:creationId xmlns:a16="http://schemas.microsoft.com/office/drawing/2014/main" id="{3F5240C7-0D8E-894B-7295-CCC63872EEBC}"/>
              </a:ext>
            </a:extLst>
          </p:cNvPr>
          <p:cNvSpPr>
            <a:spLocks noGrp="1"/>
          </p:cNvSpPr>
          <p:nvPr>
            <p:ph type="pic" sz="quarter" idx="10"/>
          </p:nvPr>
        </p:nvSpPr>
        <p:spPr>
          <a:xfrm>
            <a:off x="6578600" y="0"/>
            <a:ext cx="2565400" cy="4651071"/>
          </a:xfrm>
          <a:prstGeom prst="rect">
            <a:avLst/>
          </a:prstGeom>
        </p:spPr>
        <p:txBody>
          <a:bodyPr/>
          <a:lstStyle/>
          <a:p>
            <a:endParaRPr lang="en-GB"/>
          </a:p>
        </p:txBody>
      </p:sp>
      <p:sp>
        <p:nvSpPr>
          <p:cNvPr id="5" name="Rectangle: Rounded Corners 4">
            <a:extLst>
              <a:ext uri="{FF2B5EF4-FFF2-40B4-BE49-F238E27FC236}">
                <a16:creationId xmlns:a16="http://schemas.microsoft.com/office/drawing/2014/main" id="{FDCFE369-28E2-58ED-6E2A-C753E5FA5692}"/>
              </a:ext>
            </a:extLst>
          </p:cNvPr>
          <p:cNvSpPr/>
          <p:nvPr userDrawn="1"/>
        </p:nvSpPr>
        <p:spPr>
          <a:xfrm>
            <a:off x="5001080" y="846031"/>
            <a:ext cx="2742803" cy="3805042"/>
          </a:xfrm>
          <a:prstGeom prst="roundRect">
            <a:avLst>
              <a:gd name="adj" fmla="val 11802"/>
            </a:avLst>
          </a:prstGeom>
          <a:solidFill>
            <a:srgbClr val="27338B">
              <a:alpha val="9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96" tIns="45748" rIns="91496" bIns="45748" numCol="1" spcCol="0" rtlCol="0" fromWordArt="0" anchor="ctr" anchorCtr="0" forceAA="0" compatLnSpc="0">
            <a:prstTxWarp prst="textNoShape">
              <a:avLst/>
            </a:prstTxWarp>
            <a:noAutofit/>
          </a:bodyPr>
          <a:lstStyle/>
          <a:p>
            <a:pPr algn="ctr">
              <a:lnSpc>
                <a:spcPct val="110000"/>
              </a:lnSpc>
              <a:spcBef>
                <a:spcPts val="600"/>
              </a:spcBef>
            </a:pPr>
            <a:endParaRPr lang="en-GB" sz="1201">
              <a:solidFill>
                <a:schemeClr val="bg1"/>
              </a:solidFill>
              <a:latin typeface="Arial" panose="020B0604020202020204" pitchFamily="34" charset="0"/>
            </a:endParaRPr>
          </a:p>
        </p:txBody>
      </p:sp>
      <p:cxnSp>
        <p:nvCxnSpPr>
          <p:cNvPr id="9" name="Straight Connector 8">
            <a:extLst>
              <a:ext uri="{FF2B5EF4-FFF2-40B4-BE49-F238E27FC236}">
                <a16:creationId xmlns:a16="http://schemas.microsoft.com/office/drawing/2014/main" id="{9C005E0C-DEB3-CBE1-3A42-6DFDDE5A1099}"/>
              </a:ext>
            </a:extLst>
          </p:cNvPr>
          <p:cNvCxnSpPr/>
          <p:nvPr userDrawn="1"/>
        </p:nvCxnSpPr>
        <p:spPr>
          <a:xfrm>
            <a:off x="5217570" y="2124406"/>
            <a:ext cx="2341445" cy="0"/>
          </a:xfrm>
          <a:prstGeom prst="line">
            <a:avLst/>
          </a:prstGeom>
          <a:ln w="9525">
            <a:gradFill flip="none" rotWithShape="1">
              <a:gsLst>
                <a:gs pos="0">
                  <a:schemeClr val="accent1">
                    <a:lumMod val="5000"/>
                    <a:lumOff val="95000"/>
                    <a:alpha val="0"/>
                  </a:schemeClr>
                </a:gs>
                <a:gs pos="55000">
                  <a:schemeClr val="accent3"/>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8566163-9072-15A5-9362-9CAB7C53F351}"/>
              </a:ext>
            </a:extLst>
          </p:cNvPr>
          <p:cNvCxnSpPr/>
          <p:nvPr userDrawn="1"/>
        </p:nvCxnSpPr>
        <p:spPr>
          <a:xfrm>
            <a:off x="5321670" y="3534977"/>
            <a:ext cx="2341445" cy="0"/>
          </a:xfrm>
          <a:prstGeom prst="line">
            <a:avLst/>
          </a:prstGeom>
          <a:solidFill>
            <a:srgbClr val="3A739D"/>
          </a:solidFill>
          <a:ln>
            <a:noFill/>
          </a:ln>
        </p:spPr>
        <p:style>
          <a:lnRef idx="2">
            <a:schemeClr val="accent1">
              <a:shade val="50000"/>
            </a:schemeClr>
          </a:lnRef>
          <a:fillRef idx="1">
            <a:schemeClr val="accent1"/>
          </a:fillRef>
          <a:effectRef idx="0">
            <a:schemeClr val="accent1"/>
          </a:effectRef>
          <a:fontRef idx="minor">
            <a:schemeClr val="lt1"/>
          </a:fontRef>
        </p:style>
      </p:cxnSp>
      <p:cxnSp>
        <p:nvCxnSpPr>
          <p:cNvPr id="11" name="Straight Connector 10">
            <a:extLst>
              <a:ext uri="{FF2B5EF4-FFF2-40B4-BE49-F238E27FC236}">
                <a16:creationId xmlns:a16="http://schemas.microsoft.com/office/drawing/2014/main" id="{E54FB9A5-FE6F-972A-84CC-B890544A742E}"/>
              </a:ext>
            </a:extLst>
          </p:cNvPr>
          <p:cNvCxnSpPr/>
          <p:nvPr userDrawn="1"/>
        </p:nvCxnSpPr>
        <p:spPr>
          <a:xfrm>
            <a:off x="5217570" y="3410726"/>
            <a:ext cx="2341445" cy="0"/>
          </a:xfrm>
          <a:prstGeom prst="line">
            <a:avLst/>
          </a:prstGeom>
          <a:ln w="9525">
            <a:gradFill flip="none" rotWithShape="1">
              <a:gsLst>
                <a:gs pos="0">
                  <a:schemeClr val="accent1">
                    <a:lumMod val="5000"/>
                    <a:lumOff val="95000"/>
                    <a:alpha val="0"/>
                  </a:schemeClr>
                </a:gs>
                <a:gs pos="55000">
                  <a:schemeClr val="accent3"/>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9" name="Picture Placeholder 15">
            <a:extLst>
              <a:ext uri="{FF2B5EF4-FFF2-40B4-BE49-F238E27FC236}">
                <a16:creationId xmlns:a16="http://schemas.microsoft.com/office/drawing/2014/main" id="{E0A51F48-4F08-B956-D615-6FD25BA729CD}"/>
              </a:ext>
            </a:extLst>
          </p:cNvPr>
          <p:cNvSpPr>
            <a:spLocks noGrp="1"/>
          </p:cNvSpPr>
          <p:nvPr>
            <p:ph type="pic" sz="quarter" idx="13"/>
          </p:nvPr>
        </p:nvSpPr>
        <p:spPr>
          <a:xfrm>
            <a:off x="5112183" y="3672173"/>
            <a:ext cx="481013" cy="481013"/>
          </a:xfrm>
        </p:spPr>
        <p:txBody>
          <a:bodyPr/>
          <a:lstStyle/>
          <a:p>
            <a:endParaRPr lang="en-US"/>
          </a:p>
        </p:txBody>
      </p:sp>
      <p:sp>
        <p:nvSpPr>
          <p:cNvPr id="21" name="Text Placeholder 20">
            <a:extLst>
              <a:ext uri="{FF2B5EF4-FFF2-40B4-BE49-F238E27FC236}">
                <a16:creationId xmlns:a16="http://schemas.microsoft.com/office/drawing/2014/main" id="{B3D69ACF-DC9C-6564-30D1-DCC57FCEEF6A}"/>
              </a:ext>
            </a:extLst>
          </p:cNvPr>
          <p:cNvSpPr>
            <a:spLocks noGrp="1"/>
          </p:cNvSpPr>
          <p:nvPr>
            <p:ph type="body" sz="quarter" idx="14"/>
          </p:nvPr>
        </p:nvSpPr>
        <p:spPr>
          <a:xfrm>
            <a:off x="5618955" y="3672173"/>
            <a:ext cx="1919287" cy="481012"/>
          </a:xfrm>
        </p:spPr>
        <p:txBody>
          <a:bodyPr>
            <a:noAutofit/>
          </a:bodyPr>
          <a:lstStyle>
            <a:lvl1pPr>
              <a:defRPr sz="1200" b="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p:txBody>
      </p:sp>
      <p:sp>
        <p:nvSpPr>
          <p:cNvPr id="22" name="Picture Placeholder 15">
            <a:extLst>
              <a:ext uri="{FF2B5EF4-FFF2-40B4-BE49-F238E27FC236}">
                <a16:creationId xmlns:a16="http://schemas.microsoft.com/office/drawing/2014/main" id="{B05028F8-E187-F9A9-61F4-EBBEAEF5E4E4}"/>
              </a:ext>
            </a:extLst>
          </p:cNvPr>
          <p:cNvSpPr>
            <a:spLocks noGrp="1"/>
          </p:cNvSpPr>
          <p:nvPr>
            <p:ph type="pic" sz="quarter" idx="15"/>
          </p:nvPr>
        </p:nvSpPr>
        <p:spPr>
          <a:xfrm>
            <a:off x="5112183" y="2500415"/>
            <a:ext cx="481013" cy="481013"/>
          </a:xfrm>
        </p:spPr>
        <p:txBody>
          <a:bodyPr/>
          <a:lstStyle/>
          <a:p>
            <a:endParaRPr lang="en-US"/>
          </a:p>
        </p:txBody>
      </p:sp>
      <p:sp>
        <p:nvSpPr>
          <p:cNvPr id="23" name="Text Placeholder 20">
            <a:extLst>
              <a:ext uri="{FF2B5EF4-FFF2-40B4-BE49-F238E27FC236}">
                <a16:creationId xmlns:a16="http://schemas.microsoft.com/office/drawing/2014/main" id="{96BDF2BF-EEE5-7BC0-A93D-D642DD7076BD}"/>
              </a:ext>
            </a:extLst>
          </p:cNvPr>
          <p:cNvSpPr>
            <a:spLocks noGrp="1"/>
          </p:cNvSpPr>
          <p:nvPr>
            <p:ph type="body" sz="quarter" idx="16"/>
          </p:nvPr>
        </p:nvSpPr>
        <p:spPr>
          <a:xfrm>
            <a:off x="5618955" y="2500415"/>
            <a:ext cx="1919287" cy="481012"/>
          </a:xfrm>
        </p:spPr>
        <p:txBody>
          <a:bodyPr>
            <a:noAutofit/>
          </a:bodyPr>
          <a:lstStyle>
            <a:lvl1pPr>
              <a:defRPr sz="1200" b="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p:txBody>
      </p:sp>
      <p:sp>
        <p:nvSpPr>
          <p:cNvPr id="24" name="Picture Placeholder 15">
            <a:extLst>
              <a:ext uri="{FF2B5EF4-FFF2-40B4-BE49-F238E27FC236}">
                <a16:creationId xmlns:a16="http://schemas.microsoft.com/office/drawing/2014/main" id="{5BA6BC7B-FA78-F92F-F452-B792930C9BC1}"/>
              </a:ext>
            </a:extLst>
          </p:cNvPr>
          <p:cNvSpPr>
            <a:spLocks noGrp="1"/>
          </p:cNvSpPr>
          <p:nvPr>
            <p:ph type="pic" sz="quarter" idx="17"/>
          </p:nvPr>
        </p:nvSpPr>
        <p:spPr>
          <a:xfrm>
            <a:off x="5112183" y="1402890"/>
            <a:ext cx="481013" cy="481013"/>
          </a:xfrm>
        </p:spPr>
        <p:txBody>
          <a:bodyPr/>
          <a:lstStyle/>
          <a:p>
            <a:endParaRPr lang="en-US"/>
          </a:p>
        </p:txBody>
      </p:sp>
      <p:sp>
        <p:nvSpPr>
          <p:cNvPr id="25" name="Text Placeholder 20">
            <a:extLst>
              <a:ext uri="{FF2B5EF4-FFF2-40B4-BE49-F238E27FC236}">
                <a16:creationId xmlns:a16="http://schemas.microsoft.com/office/drawing/2014/main" id="{54B0DD11-7500-C76B-2F8D-0D412C696A7A}"/>
              </a:ext>
            </a:extLst>
          </p:cNvPr>
          <p:cNvSpPr>
            <a:spLocks noGrp="1"/>
          </p:cNvSpPr>
          <p:nvPr>
            <p:ph type="body" sz="quarter" idx="18"/>
          </p:nvPr>
        </p:nvSpPr>
        <p:spPr>
          <a:xfrm>
            <a:off x="5618955" y="1402890"/>
            <a:ext cx="1919287" cy="481012"/>
          </a:xfrm>
        </p:spPr>
        <p:txBody>
          <a:bodyPr>
            <a:noAutofit/>
          </a:bodyPr>
          <a:lstStyle>
            <a:lvl1pPr>
              <a:defRPr sz="1200" b="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p:txBody>
      </p:sp>
      <p:sp>
        <p:nvSpPr>
          <p:cNvPr id="26" name="Text Placeholder 3">
            <a:extLst>
              <a:ext uri="{FF2B5EF4-FFF2-40B4-BE49-F238E27FC236}">
                <a16:creationId xmlns:a16="http://schemas.microsoft.com/office/drawing/2014/main" id="{22CAD76E-0D11-C893-E25C-1AADB46BA866}"/>
              </a:ext>
            </a:extLst>
          </p:cNvPr>
          <p:cNvSpPr>
            <a:spLocks noGrp="1"/>
          </p:cNvSpPr>
          <p:nvPr>
            <p:ph type="body" sz="quarter" idx="11" hasCustomPrompt="1"/>
          </p:nvPr>
        </p:nvSpPr>
        <p:spPr>
          <a:xfrm>
            <a:off x="458154" y="4437581"/>
            <a:ext cx="8281035" cy="186128"/>
          </a:xfrm>
        </p:spPr>
        <p:txBody>
          <a:bodyPr wrap="square" lIns="45720" rIns="45720">
            <a:spAutoFit/>
          </a:bodyPr>
          <a:lstStyle>
            <a:lvl1pPr>
              <a:defRPr sz="600" b="0" i="1"/>
            </a:lvl1pPr>
          </a:lstStyle>
          <a:p>
            <a:pPr lvl="0"/>
            <a:r>
              <a:rPr lang="en-US"/>
              <a:t>Source:</a:t>
            </a:r>
          </a:p>
        </p:txBody>
      </p:sp>
    </p:spTree>
    <p:extLst>
      <p:ext uri="{BB962C8B-B14F-4D97-AF65-F5344CB8AC3E}">
        <p14:creationId xmlns:p14="http://schemas.microsoft.com/office/powerpoint/2010/main" val="1402522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pic>
        <p:nvPicPr>
          <p:cNvPr id="6" name="Picture 5" descr="A close-up of a person in a tunnel&#10;&#10;Description automatically generated">
            <a:extLst>
              <a:ext uri="{FF2B5EF4-FFF2-40B4-BE49-F238E27FC236}">
                <a16:creationId xmlns:a16="http://schemas.microsoft.com/office/drawing/2014/main" id="{EA50F693-AAD0-F43C-7782-3BB9CE94B95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68" y="2"/>
            <a:ext cx="9141064" cy="5143500"/>
          </a:xfrm>
          <a:prstGeom prst="rect">
            <a:avLst/>
          </a:prstGeom>
        </p:spPr>
      </p:pic>
      <p:pic>
        <p:nvPicPr>
          <p:cNvPr id="9" name="Picture 8" descr="A picture containing text, font, logo, graphics&#10;&#10;Description automatically generated">
            <a:extLst>
              <a:ext uri="{FF2B5EF4-FFF2-40B4-BE49-F238E27FC236}">
                <a16:creationId xmlns:a16="http://schemas.microsoft.com/office/drawing/2014/main" id="{89B074B6-C4A2-4CDF-6013-2ECDE08C4A5F}"/>
              </a:ext>
            </a:extLst>
          </p:cNvPr>
          <p:cNvPicPr>
            <a:picLocks noChangeAspect="1"/>
          </p:cNvPicPr>
          <p:nvPr userDrawn="1"/>
        </p:nvPicPr>
        <p:blipFill rotWithShape="1">
          <a:blip r:embed="rId3">
            <a:clrChange>
              <a:clrFrom>
                <a:srgbClr val="FFFFFF"/>
              </a:clrFrom>
              <a:clrTo>
                <a:srgbClr val="FFFFFF">
                  <a:alpha val="0"/>
                </a:srgbClr>
              </a:clrTo>
            </a:clrChange>
          </a:blip>
          <a:srcRect l="7812" t="22449" r="7501" b="11225"/>
          <a:stretch/>
        </p:blipFill>
        <p:spPr>
          <a:xfrm>
            <a:off x="433388" y="4497995"/>
            <a:ext cx="1902949" cy="453353"/>
          </a:xfrm>
          <a:prstGeom prst="rect">
            <a:avLst/>
          </a:prstGeom>
        </p:spPr>
      </p:pic>
      <p:sp>
        <p:nvSpPr>
          <p:cNvPr id="17" name="Text Placeholder 16">
            <a:extLst>
              <a:ext uri="{FF2B5EF4-FFF2-40B4-BE49-F238E27FC236}">
                <a16:creationId xmlns:a16="http://schemas.microsoft.com/office/drawing/2014/main" id="{1AAFDC3B-DF48-C93C-FC55-DC865FC23861}"/>
              </a:ext>
            </a:extLst>
          </p:cNvPr>
          <p:cNvSpPr>
            <a:spLocks noGrp="1"/>
          </p:cNvSpPr>
          <p:nvPr>
            <p:ph type="body" sz="quarter" idx="11" hasCustomPrompt="1"/>
          </p:nvPr>
        </p:nvSpPr>
        <p:spPr>
          <a:xfrm>
            <a:off x="433389" y="2132553"/>
            <a:ext cx="2871787" cy="1310179"/>
          </a:xfrm>
          <a:prstGeom prst="rect">
            <a:avLst/>
          </a:prstGeom>
        </p:spPr>
        <p:txBody>
          <a:bodyPr/>
          <a:lstStyle>
            <a:lvl1pPr>
              <a:defRPr sz="3202" b="1">
                <a:solidFill>
                  <a:srgbClr val="0167BB"/>
                </a:solidFill>
              </a:defRPr>
            </a:lvl1pPr>
            <a:lvl2pPr>
              <a:defRPr>
                <a:solidFill>
                  <a:srgbClr val="0167BB"/>
                </a:solidFill>
              </a:defRPr>
            </a:lvl2pPr>
            <a:lvl3pPr>
              <a:defRPr>
                <a:solidFill>
                  <a:srgbClr val="0167BB"/>
                </a:solidFill>
              </a:defRPr>
            </a:lvl3pPr>
            <a:lvl4pPr>
              <a:defRPr>
                <a:solidFill>
                  <a:srgbClr val="0167BB"/>
                </a:solidFill>
              </a:defRPr>
            </a:lvl4pPr>
            <a:lvl5pPr>
              <a:defRPr>
                <a:solidFill>
                  <a:srgbClr val="0167BB"/>
                </a:solidFill>
              </a:defRPr>
            </a:lvl5pPr>
          </a:lstStyle>
          <a:p>
            <a:pPr lvl="0"/>
            <a:r>
              <a:rPr lang="en-US"/>
              <a:t>Section</a:t>
            </a:r>
            <a:br>
              <a:rPr lang="en-US"/>
            </a:br>
            <a:r>
              <a:rPr lang="en-US"/>
              <a:t>Divider</a:t>
            </a:r>
          </a:p>
        </p:txBody>
      </p:sp>
      <p:grpSp>
        <p:nvGrpSpPr>
          <p:cNvPr id="22" name="Group 21">
            <a:extLst>
              <a:ext uri="{FF2B5EF4-FFF2-40B4-BE49-F238E27FC236}">
                <a16:creationId xmlns:a16="http://schemas.microsoft.com/office/drawing/2014/main" id="{6B4202C9-9384-EB01-07A4-363702241826}"/>
              </a:ext>
            </a:extLst>
          </p:cNvPr>
          <p:cNvGrpSpPr/>
          <p:nvPr userDrawn="1"/>
        </p:nvGrpSpPr>
        <p:grpSpPr>
          <a:xfrm>
            <a:off x="-104700" y="0"/>
            <a:ext cx="3882048" cy="1982424"/>
            <a:chOff x="-104700" y="0"/>
            <a:chExt cx="3882048" cy="1981200"/>
          </a:xfrm>
        </p:grpSpPr>
        <p:pic>
          <p:nvPicPr>
            <p:cNvPr id="21" name="Picture 20">
              <a:extLst>
                <a:ext uri="{FF2B5EF4-FFF2-40B4-BE49-F238E27FC236}">
                  <a16:creationId xmlns:a16="http://schemas.microsoft.com/office/drawing/2014/main" id="{3AAC9827-8346-5A7E-FED9-022E7D1DAE53}"/>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62791"/>
            <a:stretch/>
          </p:blipFill>
          <p:spPr>
            <a:xfrm>
              <a:off x="-104700" y="9827"/>
              <a:ext cx="2867025" cy="1066801"/>
            </a:xfrm>
            <a:prstGeom prst="rect">
              <a:avLst/>
            </a:prstGeom>
          </p:spPr>
        </p:pic>
        <p:sp>
          <p:nvSpPr>
            <p:cNvPr id="20" name="Freeform 12">
              <a:extLst>
                <a:ext uri="{FF2B5EF4-FFF2-40B4-BE49-F238E27FC236}">
                  <a16:creationId xmlns:a16="http://schemas.microsoft.com/office/drawing/2014/main" id="{90410F36-5FBC-AA84-9B53-4E33AA049CBB}"/>
                </a:ext>
              </a:extLst>
            </p:cNvPr>
            <p:cNvSpPr/>
            <p:nvPr userDrawn="1"/>
          </p:nvSpPr>
          <p:spPr>
            <a:xfrm>
              <a:off x="1136395" y="0"/>
              <a:ext cx="2640953" cy="1981200"/>
            </a:xfrm>
            <a:custGeom>
              <a:avLst/>
              <a:gdLst>
                <a:gd name="connsiteX0" fmla="*/ 160166 w 2306204"/>
                <a:gd name="connsiteY0" fmla="*/ 0 h 1730077"/>
                <a:gd name="connsiteX1" fmla="*/ 2146038 w 2306204"/>
                <a:gd name="connsiteY1" fmla="*/ 0 h 1730077"/>
                <a:gd name="connsiteX2" fmla="*/ 2215588 w 2306204"/>
                <a:gd name="connsiteY2" fmla="*/ 128136 h 1730077"/>
                <a:gd name="connsiteX3" fmla="*/ 2306204 w 2306204"/>
                <a:gd name="connsiteY3" fmla="*/ 576975 h 1730077"/>
                <a:gd name="connsiteX4" fmla="*/ 1153102 w 2306204"/>
                <a:gd name="connsiteY4" fmla="*/ 1730077 h 1730077"/>
                <a:gd name="connsiteX5" fmla="*/ 0 w 2306204"/>
                <a:gd name="connsiteY5" fmla="*/ 576975 h 1730077"/>
                <a:gd name="connsiteX6" fmla="*/ 90617 w 2306204"/>
                <a:gd name="connsiteY6" fmla="*/ 128136 h 1730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6204" h="1730077">
                  <a:moveTo>
                    <a:pt x="160166" y="0"/>
                  </a:moveTo>
                  <a:lnTo>
                    <a:pt x="2146038" y="0"/>
                  </a:lnTo>
                  <a:lnTo>
                    <a:pt x="2215588" y="128136"/>
                  </a:lnTo>
                  <a:cubicBezTo>
                    <a:pt x="2273938" y="266091"/>
                    <a:pt x="2306204" y="417765"/>
                    <a:pt x="2306204" y="576975"/>
                  </a:cubicBezTo>
                  <a:cubicBezTo>
                    <a:pt x="2306204" y="1213816"/>
                    <a:pt x="1789943" y="1730077"/>
                    <a:pt x="1153102" y="1730077"/>
                  </a:cubicBezTo>
                  <a:cubicBezTo>
                    <a:pt x="516261" y="1730077"/>
                    <a:pt x="0" y="1213816"/>
                    <a:pt x="0" y="576975"/>
                  </a:cubicBezTo>
                  <a:cubicBezTo>
                    <a:pt x="0" y="417765"/>
                    <a:pt x="32267" y="266091"/>
                    <a:pt x="90617" y="128136"/>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sz="1352"/>
            </a:p>
          </p:txBody>
        </p:sp>
      </p:grpSp>
      <p:sp>
        <p:nvSpPr>
          <p:cNvPr id="8" name="Text Placeholder 7">
            <a:extLst>
              <a:ext uri="{FF2B5EF4-FFF2-40B4-BE49-F238E27FC236}">
                <a16:creationId xmlns:a16="http://schemas.microsoft.com/office/drawing/2014/main" id="{53638C28-DF46-3EB3-B2D0-4B6F19CBC773}"/>
              </a:ext>
            </a:extLst>
          </p:cNvPr>
          <p:cNvSpPr>
            <a:spLocks noGrp="1"/>
          </p:cNvSpPr>
          <p:nvPr>
            <p:ph type="body" sz="quarter" idx="10" hasCustomPrompt="1"/>
          </p:nvPr>
        </p:nvSpPr>
        <p:spPr>
          <a:xfrm>
            <a:off x="5071705" y="906071"/>
            <a:ext cx="1066800" cy="1159591"/>
          </a:xfrm>
          <a:prstGeom prst="rect">
            <a:avLst/>
          </a:prstGeom>
        </p:spPr>
        <p:txBody>
          <a:bodyPr anchor="ctr"/>
          <a:lstStyle>
            <a:lvl1pPr algn="ctr">
              <a:defRPr sz="6004">
                <a:solidFill>
                  <a:schemeClr val="bg1"/>
                </a:solidFill>
              </a:defRPr>
            </a:lvl1pPr>
            <a:lvl2pPr>
              <a:defRPr sz="3002"/>
            </a:lvl2pPr>
            <a:lvl3pPr>
              <a:defRPr sz="3002"/>
            </a:lvl3pPr>
            <a:lvl4pPr>
              <a:defRPr sz="3002"/>
            </a:lvl4pPr>
            <a:lvl5pPr>
              <a:defRPr sz="3002"/>
            </a:lvl5pPr>
          </a:lstStyle>
          <a:p>
            <a:pPr lvl="0"/>
            <a:r>
              <a:rPr lang="en-US"/>
              <a:t>#</a:t>
            </a:r>
            <a:endParaRPr lang="en-GB"/>
          </a:p>
        </p:txBody>
      </p:sp>
      <p:sp>
        <p:nvSpPr>
          <p:cNvPr id="4" name="Text Placeholder 16">
            <a:extLst>
              <a:ext uri="{FF2B5EF4-FFF2-40B4-BE49-F238E27FC236}">
                <a16:creationId xmlns:a16="http://schemas.microsoft.com/office/drawing/2014/main" id="{F530D97A-ADC3-AAB2-8C5A-C4DD5191E681}"/>
              </a:ext>
            </a:extLst>
          </p:cNvPr>
          <p:cNvSpPr>
            <a:spLocks noGrp="1"/>
          </p:cNvSpPr>
          <p:nvPr>
            <p:ph type="body" sz="quarter" idx="12" hasCustomPrompt="1"/>
          </p:nvPr>
        </p:nvSpPr>
        <p:spPr>
          <a:xfrm>
            <a:off x="433389" y="3442732"/>
            <a:ext cx="2871787" cy="1310179"/>
          </a:xfrm>
          <a:prstGeom prst="rect">
            <a:avLst/>
          </a:prstGeom>
        </p:spPr>
        <p:txBody>
          <a:bodyPr/>
          <a:lstStyle>
            <a:lvl1pPr>
              <a:lnSpc>
                <a:spcPct val="100000"/>
              </a:lnSpc>
              <a:defRPr sz="2001" b="1">
                <a:solidFill>
                  <a:schemeClr val="tx2"/>
                </a:solidFill>
              </a:defRPr>
            </a:lvl1pPr>
            <a:lvl2pPr>
              <a:defRPr>
                <a:solidFill>
                  <a:srgbClr val="0167BB"/>
                </a:solidFill>
              </a:defRPr>
            </a:lvl2pPr>
            <a:lvl3pPr>
              <a:defRPr>
                <a:solidFill>
                  <a:srgbClr val="0167BB"/>
                </a:solidFill>
              </a:defRPr>
            </a:lvl3pPr>
            <a:lvl4pPr>
              <a:defRPr>
                <a:solidFill>
                  <a:srgbClr val="0167BB"/>
                </a:solidFill>
              </a:defRPr>
            </a:lvl4pPr>
            <a:lvl5pPr>
              <a:defRPr>
                <a:solidFill>
                  <a:srgbClr val="0167BB"/>
                </a:solidFill>
              </a:defRPr>
            </a:lvl5pPr>
          </a:lstStyle>
          <a:p>
            <a:pPr lvl="0"/>
            <a:r>
              <a:rPr lang="en-US"/>
              <a:t>Speaker</a:t>
            </a:r>
          </a:p>
        </p:txBody>
      </p:sp>
    </p:spTree>
    <p:extLst>
      <p:ext uri="{BB962C8B-B14F-4D97-AF65-F5344CB8AC3E}">
        <p14:creationId xmlns:p14="http://schemas.microsoft.com/office/powerpoint/2010/main" val="27277781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65C3C7A-5CF5-0545-75AD-B0D4CD97A60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467" y="2"/>
            <a:ext cx="9141064" cy="5143500"/>
          </a:xfrm>
          <a:prstGeom prst="rect">
            <a:avLst/>
          </a:prstGeom>
        </p:spPr>
      </p:pic>
      <p:pic>
        <p:nvPicPr>
          <p:cNvPr id="9" name="Picture 8" descr="A picture containing text, font, logo, graphics&#10;&#10;Description automatically generated">
            <a:extLst>
              <a:ext uri="{FF2B5EF4-FFF2-40B4-BE49-F238E27FC236}">
                <a16:creationId xmlns:a16="http://schemas.microsoft.com/office/drawing/2014/main" id="{89B074B6-C4A2-4CDF-6013-2ECDE08C4A5F}"/>
              </a:ext>
            </a:extLst>
          </p:cNvPr>
          <p:cNvPicPr>
            <a:picLocks noChangeAspect="1"/>
          </p:cNvPicPr>
          <p:nvPr userDrawn="1"/>
        </p:nvPicPr>
        <p:blipFill rotWithShape="1">
          <a:blip r:embed="rId3">
            <a:clrChange>
              <a:clrFrom>
                <a:srgbClr val="FFFFFF"/>
              </a:clrFrom>
              <a:clrTo>
                <a:srgbClr val="FFFFFF">
                  <a:alpha val="0"/>
                </a:srgbClr>
              </a:clrTo>
            </a:clrChange>
          </a:blip>
          <a:srcRect l="7812" t="22449" r="7501" b="11225"/>
          <a:stretch/>
        </p:blipFill>
        <p:spPr>
          <a:xfrm>
            <a:off x="433388" y="4497995"/>
            <a:ext cx="1902949" cy="453353"/>
          </a:xfrm>
          <a:prstGeom prst="rect">
            <a:avLst/>
          </a:prstGeom>
        </p:spPr>
      </p:pic>
      <p:sp>
        <p:nvSpPr>
          <p:cNvPr id="8" name="Text Placeholder 7">
            <a:extLst>
              <a:ext uri="{FF2B5EF4-FFF2-40B4-BE49-F238E27FC236}">
                <a16:creationId xmlns:a16="http://schemas.microsoft.com/office/drawing/2014/main" id="{53638C28-DF46-3EB3-B2D0-4B6F19CBC773}"/>
              </a:ext>
            </a:extLst>
          </p:cNvPr>
          <p:cNvSpPr>
            <a:spLocks noGrp="1"/>
          </p:cNvSpPr>
          <p:nvPr>
            <p:ph type="body" sz="quarter" idx="10" hasCustomPrompt="1"/>
          </p:nvPr>
        </p:nvSpPr>
        <p:spPr>
          <a:xfrm>
            <a:off x="5074921" y="875572"/>
            <a:ext cx="1066800" cy="1159591"/>
          </a:xfrm>
          <a:prstGeom prst="rect">
            <a:avLst/>
          </a:prstGeom>
        </p:spPr>
        <p:txBody>
          <a:bodyPr anchor="ctr"/>
          <a:lstStyle>
            <a:lvl1pPr algn="ctr">
              <a:defRPr sz="6004">
                <a:solidFill>
                  <a:schemeClr val="bg1"/>
                </a:solidFill>
              </a:defRPr>
            </a:lvl1pPr>
            <a:lvl2pPr>
              <a:defRPr sz="3002"/>
            </a:lvl2pPr>
            <a:lvl3pPr>
              <a:defRPr sz="3002"/>
            </a:lvl3pPr>
            <a:lvl4pPr>
              <a:defRPr sz="3002"/>
            </a:lvl4pPr>
            <a:lvl5pPr>
              <a:defRPr sz="3002"/>
            </a:lvl5pPr>
          </a:lstStyle>
          <a:p>
            <a:pPr lvl="0"/>
            <a:r>
              <a:rPr lang="en-US"/>
              <a:t>#</a:t>
            </a:r>
            <a:endParaRPr lang="en-GB"/>
          </a:p>
        </p:txBody>
      </p:sp>
      <p:sp>
        <p:nvSpPr>
          <p:cNvPr id="5" name="Freeform 12">
            <a:extLst>
              <a:ext uri="{FF2B5EF4-FFF2-40B4-BE49-F238E27FC236}">
                <a16:creationId xmlns:a16="http://schemas.microsoft.com/office/drawing/2014/main" id="{88E405E8-CE31-602A-D35F-6E40E76EDD4D}"/>
              </a:ext>
            </a:extLst>
          </p:cNvPr>
          <p:cNvSpPr/>
          <p:nvPr userDrawn="1"/>
        </p:nvSpPr>
        <p:spPr>
          <a:xfrm>
            <a:off x="1136396" y="0"/>
            <a:ext cx="2640953" cy="1982424"/>
          </a:xfrm>
          <a:custGeom>
            <a:avLst/>
            <a:gdLst>
              <a:gd name="connsiteX0" fmla="*/ 160166 w 2306204"/>
              <a:gd name="connsiteY0" fmla="*/ 0 h 1730077"/>
              <a:gd name="connsiteX1" fmla="*/ 2146038 w 2306204"/>
              <a:gd name="connsiteY1" fmla="*/ 0 h 1730077"/>
              <a:gd name="connsiteX2" fmla="*/ 2215588 w 2306204"/>
              <a:gd name="connsiteY2" fmla="*/ 128136 h 1730077"/>
              <a:gd name="connsiteX3" fmla="*/ 2306204 w 2306204"/>
              <a:gd name="connsiteY3" fmla="*/ 576975 h 1730077"/>
              <a:gd name="connsiteX4" fmla="*/ 1153102 w 2306204"/>
              <a:gd name="connsiteY4" fmla="*/ 1730077 h 1730077"/>
              <a:gd name="connsiteX5" fmla="*/ 0 w 2306204"/>
              <a:gd name="connsiteY5" fmla="*/ 576975 h 1730077"/>
              <a:gd name="connsiteX6" fmla="*/ 90617 w 2306204"/>
              <a:gd name="connsiteY6" fmla="*/ 128136 h 1730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6204" h="1730077">
                <a:moveTo>
                  <a:pt x="160166" y="0"/>
                </a:moveTo>
                <a:lnTo>
                  <a:pt x="2146038" y="0"/>
                </a:lnTo>
                <a:lnTo>
                  <a:pt x="2215588" y="128136"/>
                </a:lnTo>
                <a:cubicBezTo>
                  <a:pt x="2273938" y="266091"/>
                  <a:pt x="2306204" y="417765"/>
                  <a:pt x="2306204" y="576975"/>
                </a:cubicBezTo>
                <a:cubicBezTo>
                  <a:pt x="2306204" y="1213816"/>
                  <a:pt x="1789943" y="1730077"/>
                  <a:pt x="1153102" y="1730077"/>
                </a:cubicBezTo>
                <a:cubicBezTo>
                  <a:pt x="516261" y="1730077"/>
                  <a:pt x="0" y="1213816"/>
                  <a:pt x="0" y="576975"/>
                </a:cubicBezTo>
                <a:cubicBezTo>
                  <a:pt x="0" y="417765"/>
                  <a:pt x="32267" y="266091"/>
                  <a:pt x="90617" y="128136"/>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sz="1352"/>
          </a:p>
        </p:txBody>
      </p:sp>
      <p:pic>
        <p:nvPicPr>
          <p:cNvPr id="6" name="Picture 5">
            <a:extLst>
              <a:ext uri="{FF2B5EF4-FFF2-40B4-BE49-F238E27FC236}">
                <a16:creationId xmlns:a16="http://schemas.microsoft.com/office/drawing/2014/main" id="{5DBB4152-3C23-F54B-A6C9-7DC211C997E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62791"/>
          <a:stretch/>
        </p:blipFill>
        <p:spPr>
          <a:xfrm>
            <a:off x="-104700" y="9835"/>
            <a:ext cx="2867025" cy="1067460"/>
          </a:xfrm>
          <a:prstGeom prst="rect">
            <a:avLst/>
          </a:prstGeom>
        </p:spPr>
      </p:pic>
      <p:sp>
        <p:nvSpPr>
          <p:cNvPr id="2" name="Text Placeholder 16">
            <a:extLst>
              <a:ext uri="{FF2B5EF4-FFF2-40B4-BE49-F238E27FC236}">
                <a16:creationId xmlns:a16="http://schemas.microsoft.com/office/drawing/2014/main" id="{DABE6D90-5218-5A59-8BF3-CE1DADCEFE07}"/>
              </a:ext>
            </a:extLst>
          </p:cNvPr>
          <p:cNvSpPr>
            <a:spLocks noGrp="1"/>
          </p:cNvSpPr>
          <p:nvPr>
            <p:ph type="body" sz="quarter" idx="11" hasCustomPrompt="1"/>
          </p:nvPr>
        </p:nvSpPr>
        <p:spPr>
          <a:xfrm>
            <a:off x="433389" y="2132553"/>
            <a:ext cx="2871787" cy="1310179"/>
          </a:xfrm>
          <a:prstGeom prst="rect">
            <a:avLst/>
          </a:prstGeom>
        </p:spPr>
        <p:txBody>
          <a:bodyPr/>
          <a:lstStyle>
            <a:lvl1pPr>
              <a:defRPr sz="3202" b="1">
                <a:solidFill>
                  <a:srgbClr val="0167BB"/>
                </a:solidFill>
              </a:defRPr>
            </a:lvl1pPr>
            <a:lvl2pPr>
              <a:defRPr>
                <a:solidFill>
                  <a:srgbClr val="0167BB"/>
                </a:solidFill>
              </a:defRPr>
            </a:lvl2pPr>
            <a:lvl3pPr>
              <a:defRPr>
                <a:solidFill>
                  <a:srgbClr val="0167BB"/>
                </a:solidFill>
              </a:defRPr>
            </a:lvl3pPr>
            <a:lvl4pPr>
              <a:defRPr>
                <a:solidFill>
                  <a:srgbClr val="0167BB"/>
                </a:solidFill>
              </a:defRPr>
            </a:lvl4pPr>
            <a:lvl5pPr>
              <a:defRPr>
                <a:solidFill>
                  <a:srgbClr val="0167BB"/>
                </a:solidFill>
              </a:defRPr>
            </a:lvl5pPr>
          </a:lstStyle>
          <a:p>
            <a:pPr lvl="0"/>
            <a:r>
              <a:rPr lang="en-US"/>
              <a:t>Section</a:t>
            </a:r>
            <a:br>
              <a:rPr lang="en-US"/>
            </a:br>
            <a:r>
              <a:rPr lang="en-US"/>
              <a:t>Divider</a:t>
            </a:r>
          </a:p>
        </p:txBody>
      </p:sp>
      <p:sp>
        <p:nvSpPr>
          <p:cNvPr id="3" name="Text Placeholder 16">
            <a:extLst>
              <a:ext uri="{FF2B5EF4-FFF2-40B4-BE49-F238E27FC236}">
                <a16:creationId xmlns:a16="http://schemas.microsoft.com/office/drawing/2014/main" id="{D0318954-CC34-CAEA-AF32-BA088923E60F}"/>
              </a:ext>
            </a:extLst>
          </p:cNvPr>
          <p:cNvSpPr>
            <a:spLocks noGrp="1"/>
          </p:cNvSpPr>
          <p:nvPr>
            <p:ph type="body" sz="quarter" idx="12" hasCustomPrompt="1"/>
          </p:nvPr>
        </p:nvSpPr>
        <p:spPr>
          <a:xfrm>
            <a:off x="433389" y="3442732"/>
            <a:ext cx="2871787" cy="1310179"/>
          </a:xfrm>
          <a:prstGeom prst="rect">
            <a:avLst/>
          </a:prstGeom>
        </p:spPr>
        <p:txBody>
          <a:bodyPr/>
          <a:lstStyle>
            <a:lvl1pPr>
              <a:lnSpc>
                <a:spcPct val="100000"/>
              </a:lnSpc>
              <a:defRPr sz="2001" b="1">
                <a:solidFill>
                  <a:schemeClr val="tx2"/>
                </a:solidFill>
              </a:defRPr>
            </a:lvl1pPr>
            <a:lvl2pPr>
              <a:defRPr>
                <a:solidFill>
                  <a:srgbClr val="0167BB"/>
                </a:solidFill>
              </a:defRPr>
            </a:lvl2pPr>
            <a:lvl3pPr>
              <a:defRPr>
                <a:solidFill>
                  <a:srgbClr val="0167BB"/>
                </a:solidFill>
              </a:defRPr>
            </a:lvl3pPr>
            <a:lvl4pPr>
              <a:defRPr>
                <a:solidFill>
                  <a:srgbClr val="0167BB"/>
                </a:solidFill>
              </a:defRPr>
            </a:lvl4pPr>
            <a:lvl5pPr>
              <a:defRPr>
                <a:solidFill>
                  <a:srgbClr val="0167BB"/>
                </a:solidFill>
              </a:defRPr>
            </a:lvl5pPr>
          </a:lstStyle>
          <a:p>
            <a:pPr lvl="0"/>
            <a:r>
              <a:rPr lang="en-US"/>
              <a:t>Speaker</a:t>
            </a:r>
          </a:p>
        </p:txBody>
      </p:sp>
    </p:spTree>
    <p:extLst>
      <p:ext uri="{BB962C8B-B14F-4D97-AF65-F5344CB8AC3E}">
        <p14:creationId xmlns:p14="http://schemas.microsoft.com/office/powerpoint/2010/main" val="1523211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CA313B-2154-49E7-5856-CECA248AB1D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467" y="2"/>
            <a:ext cx="9141064" cy="5143500"/>
          </a:xfrm>
          <a:prstGeom prst="rect">
            <a:avLst/>
          </a:prstGeom>
        </p:spPr>
      </p:pic>
      <p:pic>
        <p:nvPicPr>
          <p:cNvPr id="9" name="Picture 8" descr="A picture containing text, font, logo, graphics&#10;&#10;Description automatically generated">
            <a:extLst>
              <a:ext uri="{FF2B5EF4-FFF2-40B4-BE49-F238E27FC236}">
                <a16:creationId xmlns:a16="http://schemas.microsoft.com/office/drawing/2014/main" id="{89B074B6-C4A2-4CDF-6013-2ECDE08C4A5F}"/>
              </a:ext>
            </a:extLst>
          </p:cNvPr>
          <p:cNvPicPr>
            <a:picLocks noChangeAspect="1"/>
          </p:cNvPicPr>
          <p:nvPr userDrawn="1"/>
        </p:nvPicPr>
        <p:blipFill rotWithShape="1">
          <a:blip r:embed="rId3">
            <a:clrChange>
              <a:clrFrom>
                <a:srgbClr val="FFFFFF"/>
              </a:clrFrom>
              <a:clrTo>
                <a:srgbClr val="FFFFFF">
                  <a:alpha val="0"/>
                </a:srgbClr>
              </a:clrTo>
            </a:clrChange>
          </a:blip>
          <a:srcRect l="7812" t="22449" r="7501" b="11225"/>
          <a:stretch/>
        </p:blipFill>
        <p:spPr>
          <a:xfrm>
            <a:off x="433388" y="4497995"/>
            <a:ext cx="1902949" cy="453353"/>
          </a:xfrm>
          <a:prstGeom prst="rect">
            <a:avLst/>
          </a:prstGeom>
        </p:spPr>
      </p:pic>
      <p:sp>
        <p:nvSpPr>
          <p:cNvPr id="8" name="Text Placeholder 7">
            <a:extLst>
              <a:ext uri="{FF2B5EF4-FFF2-40B4-BE49-F238E27FC236}">
                <a16:creationId xmlns:a16="http://schemas.microsoft.com/office/drawing/2014/main" id="{53638C28-DF46-3EB3-B2D0-4B6F19CBC773}"/>
              </a:ext>
            </a:extLst>
          </p:cNvPr>
          <p:cNvSpPr>
            <a:spLocks noGrp="1"/>
          </p:cNvSpPr>
          <p:nvPr>
            <p:ph type="body" sz="quarter" idx="10" hasCustomPrompt="1"/>
          </p:nvPr>
        </p:nvSpPr>
        <p:spPr>
          <a:xfrm>
            <a:off x="5074921" y="875572"/>
            <a:ext cx="1066800" cy="1159591"/>
          </a:xfrm>
          <a:prstGeom prst="rect">
            <a:avLst/>
          </a:prstGeom>
        </p:spPr>
        <p:txBody>
          <a:bodyPr anchor="ctr"/>
          <a:lstStyle>
            <a:lvl1pPr algn="ctr">
              <a:defRPr sz="6004">
                <a:solidFill>
                  <a:schemeClr val="bg1"/>
                </a:solidFill>
              </a:defRPr>
            </a:lvl1pPr>
            <a:lvl2pPr>
              <a:defRPr sz="3002"/>
            </a:lvl2pPr>
            <a:lvl3pPr>
              <a:defRPr sz="3002"/>
            </a:lvl3pPr>
            <a:lvl4pPr>
              <a:defRPr sz="3002"/>
            </a:lvl4pPr>
            <a:lvl5pPr>
              <a:defRPr sz="3002"/>
            </a:lvl5pPr>
          </a:lstStyle>
          <a:p>
            <a:pPr lvl="0"/>
            <a:r>
              <a:rPr lang="en-US"/>
              <a:t>#</a:t>
            </a:r>
            <a:endParaRPr lang="en-GB"/>
          </a:p>
        </p:txBody>
      </p:sp>
      <p:sp>
        <p:nvSpPr>
          <p:cNvPr id="5" name="Freeform 12">
            <a:extLst>
              <a:ext uri="{FF2B5EF4-FFF2-40B4-BE49-F238E27FC236}">
                <a16:creationId xmlns:a16="http://schemas.microsoft.com/office/drawing/2014/main" id="{657674E2-52B4-128D-13C6-D623176AF7B8}"/>
              </a:ext>
            </a:extLst>
          </p:cNvPr>
          <p:cNvSpPr/>
          <p:nvPr userDrawn="1"/>
        </p:nvSpPr>
        <p:spPr>
          <a:xfrm>
            <a:off x="1136396" y="0"/>
            <a:ext cx="2640953" cy="1982424"/>
          </a:xfrm>
          <a:custGeom>
            <a:avLst/>
            <a:gdLst>
              <a:gd name="connsiteX0" fmla="*/ 160166 w 2306204"/>
              <a:gd name="connsiteY0" fmla="*/ 0 h 1730077"/>
              <a:gd name="connsiteX1" fmla="*/ 2146038 w 2306204"/>
              <a:gd name="connsiteY1" fmla="*/ 0 h 1730077"/>
              <a:gd name="connsiteX2" fmla="*/ 2215588 w 2306204"/>
              <a:gd name="connsiteY2" fmla="*/ 128136 h 1730077"/>
              <a:gd name="connsiteX3" fmla="*/ 2306204 w 2306204"/>
              <a:gd name="connsiteY3" fmla="*/ 576975 h 1730077"/>
              <a:gd name="connsiteX4" fmla="*/ 1153102 w 2306204"/>
              <a:gd name="connsiteY4" fmla="*/ 1730077 h 1730077"/>
              <a:gd name="connsiteX5" fmla="*/ 0 w 2306204"/>
              <a:gd name="connsiteY5" fmla="*/ 576975 h 1730077"/>
              <a:gd name="connsiteX6" fmla="*/ 90617 w 2306204"/>
              <a:gd name="connsiteY6" fmla="*/ 128136 h 1730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6204" h="1730077">
                <a:moveTo>
                  <a:pt x="160166" y="0"/>
                </a:moveTo>
                <a:lnTo>
                  <a:pt x="2146038" y="0"/>
                </a:lnTo>
                <a:lnTo>
                  <a:pt x="2215588" y="128136"/>
                </a:lnTo>
                <a:cubicBezTo>
                  <a:pt x="2273938" y="266091"/>
                  <a:pt x="2306204" y="417765"/>
                  <a:pt x="2306204" y="576975"/>
                </a:cubicBezTo>
                <a:cubicBezTo>
                  <a:pt x="2306204" y="1213816"/>
                  <a:pt x="1789943" y="1730077"/>
                  <a:pt x="1153102" y="1730077"/>
                </a:cubicBezTo>
                <a:cubicBezTo>
                  <a:pt x="516261" y="1730077"/>
                  <a:pt x="0" y="1213816"/>
                  <a:pt x="0" y="576975"/>
                </a:cubicBezTo>
                <a:cubicBezTo>
                  <a:pt x="0" y="417765"/>
                  <a:pt x="32267" y="266091"/>
                  <a:pt x="90617" y="128136"/>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sz="1352"/>
          </a:p>
        </p:txBody>
      </p:sp>
      <p:pic>
        <p:nvPicPr>
          <p:cNvPr id="6" name="Picture 5">
            <a:extLst>
              <a:ext uri="{FF2B5EF4-FFF2-40B4-BE49-F238E27FC236}">
                <a16:creationId xmlns:a16="http://schemas.microsoft.com/office/drawing/2014/main" id="{1A98CA43-98E5-87DE-55F3-ED7AFEA9912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62791"/>
          <a:stretch/>
        </p:blipFill>
        <p:spPr>
          <a:xfrm>
            <a:off x="-104700" y="9835"/>
            <a:ext cx="2867025" cy="1067460"/>
          </a:xfrm>
          <a:prstGeom prst="rect">
            <a:avLst/>
          </a:prstGeom>
        </p:spPr>
      </p:pic>
      <p:sp>
        <p:nvSpPr>
          <p:cNvPr id="2" name="Text Placeholder 16">
            <a:extLst>
              <a:ext uri="{FF2B5EF4-FFF2-40B4-BE49-F238E27FC236}">
                <a16:creationId xmlns:a16="http://schemas.microsoft.com/office/drawing/2014/main" id="{2C1AE75E-BDB1-67B8-C54C-F6820D871EE9}"/>
              </a:ext>
            </a:extLst>
          </p:cNvPr>
          <p:cNvSpPr>
            <a:spLocks noGrp="1"/>
          </p:cNvSpPr>
          <p:nvPr>
            <p:ph type="body" sz="quarter" idx="11" hasCustomPrompt="1"/>
          </p:nvPr>
        </p:nvSpPr>
        <p:spPr>
          <a:xfrm>
            <a:off x="433389" y="2132553"/>
            <a:ext cx="2871787" cy="1310179"/>
          </a:xfrm>
          <a:prstGeom prst="rect">
            <a:avLst/>
          </a:prstGeom>
        </p:spPr>
        <p:txBody>
          <a:bodyPr/>
          <a:lstStyle>
            <a:lvl1pPr>
              <a:defRPr sz="3202" b="1">
                <a:solidFill>
                  <a:srgbClr val="0167BB"/>
                </a:solidFill>
              </a:defRPr>
            </a:lvl1pPr>
            <a:lvl2pPr>
              <a:defRPr>
                <a:solidFill>
                  <a:srgbClr val="0167BB"/>
                </a:solidFill>
              </a:defRPr>
            </a:lvl2pPr>
            <a:lvl3pPr>
              <a:defRPr>
                <a:solidFill>
                  <a:srgbClr val="0167BB"/>
                </a:solidFill>
              </a:defRPr>
            </a:lvl3pPr>
            <a:lvl4pPr>
              <a:defRPr>
                <a:solidFill>
                  <a:srgbClr val="0167BB"/>
                </a:solidFill>
              </a:defRPr>
            </a:lvl4pPr>
            <a:lvl5pPr>
              <a:defRPr>
                <a:solidFill>
                  <a:srgbClr val="0167BB"/>
                </a:solidFill>
              </a:defRPr>
            </a:lvl5pPr>
          </a:lstStyle>
          <a:p>
            <a:pPr lvl="0"/>
            <a:r>
              <a:rPr lang="en-US"/>
              <a:t>Section</a:t>
            </a:r>
            <a:br>
              <a:rPr lang="en-US"/>
            </a:br>
            <a:r>
              <a:rPr lang="en-US"/>
              <a:t>Divider</a:t>
            </a:r>
          </a:p>
        </p:txBody>
      </p:sp>
      <p:sp>
        <p:nvSpPr>
          <p:cNvPr id="4" name="Text Placeholder 16">
            <a:extLst>
              <a:ext uri="{FF2B5EF4-FFF2-40B4-BE49-F238E27FC236}">
                <a16:creationId xmlns:a16="http://schemas.microsoft.com/office/drawing/2014/main" id="{F2748873-7527-41CB-566E-E02E55EEBB82}"/>
              </a:ext>
            </a:extLst>
          </p:cNvPr>
          <p:cNvSpPr>
            <a:spLocks noGrp="1"/>
          </p:cNvSpPr>
          <p:nvPr>
            <p:ph type="body" sz="quarter" idx="12" hasCustomPrompt="1"/>
          </p:nvPr>
        </p:nvSpPr>
        <p:spPr>
          <a:xfrm>
            <a:off x="433389" y="3442732"/>
            <a:ext cx="2871787" cy="1310179"/>
          </a:xfrm>
          <a:prstGeom prst="rect">
            <a:avLst/>
          </a:prstGeom>
        </p:spPr>
        <p:txBody>
          <a:bodyPr/>
          <a:lstStyle>
            <a:lvl1pPr>
              <a:lnSpc>
                <a:spcPct val="100000"/>
              </a:lnSpc>
              <a:defRPr sz="2001" b="1">
                <a:solidFill>
                  <a:schemeClr val="tx2"/>
                </a:solidFill>
              </a:defRPr>
            </a:lvl1pPr>
            <a:lvl2pPr>
              <a:defRPr>
                <a:solidFill>
                  <a:srgbClr val="0167BB"/>
                </a:solidFill>
              </a:defRPr>
            </a:lvl2pPr>
            <a:lvl3pPr>
              <a:defRPr>
                <a:solidFill>
                  <a:srgbClr val="0167BB"/>
                </a:solidFill>
              </a:defRPr>
            </a:lvl3pPr>
            <a:lvl4pPr>
              <a:defRPr>
                <a:solidFill>
                  <a:srgbClr val="0167BB"/>
                </a:solidFill>
              </a:defRPr>
            </a:lvl4pPr>
            <a:lvl5pPr>
              <a:defRPr>
                <a:solidFill>
                  <a:srgbClr val="0167BB"/>
                </a:solidFill>
              </a:defRPr>
            </a:lvl5pPr>
          </a:lstStyle>
          <a:p>
            <a:pPr lvl="0"/>
            <a:r>
              <a:rPr lang="en-US"/>
              <a:t>Speaker</a:t>
            </a:r>
          </a:p>
        </p:txBody>
      </p:sp>
    </p:spTree>
    <p:extLst>
      <p:ext uri="{BB962C8B-B14F-4D97-AF65-F5344CB8AC3E}">
        <p14:creationId xmlns:p14="http://schemas.microsoft.com/office/powerpoint/2010/main" val="40710004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062BDC6-1503-D079-9323-9973EEE2B6B8}"/>
              </a:ext>
            </a:extLst>
          </p:cNvPr>
          <p:cNvGraphicFramePr>
            <a:graphicFrameLocks noChangeAspect="1"/>
          </p:cNvGraphicFramePr>
          <p:nvPr userDrawn="1">
            <p:custDataLst>
              <p:tags r:id="rId15"/>
            </p:custDataLst>
            <p:extLst>
              <p:ext uri="{D42A27DB-BD31-4B8C-83A1-F6EECF244321}">
                <p14:modId xmlns:p14="http://schemas.microsoft.com/office/powerpoint/2010/main" val="4204886097"/>
              </p:ext>
            </p:extLst>
          </p:nvPr>
        </p:nvGraphicFramePr>
        <p:xfrm>
          <a:off x="1589" y="1589"/>
          <a:ext cx="1588" cy="1589"/>
        </p:xfrm>
        <a:graphic>
          <a:graphicData uri="http://schemas.openxmlformats.org/presentationml/2006/ole">
            <mc:AlternateContent xmlns:mc="http://schemas.openxmlformats.org/markup-compatibility/2006">
              <mc:Choice xmlns:v="urn:schemas-microsoft-com:vml" Requires="v">
                <p:oleObj name="Diapositive think-cell" r:id="rId18" imgW="347" imgH="348" progId="TCLayout.ActiveDocument.1">
                  <p:embed/>
                </p:oleObj>
              </mc:Choice>
              <mc:Fallback>
                <p:oleObj name="Diapositive think-cell" r:id="rId18" imgW="347" imgH="348" progId="TCLayout.ActiveDocument.1">
                  <p:embed/>
                  <p:pic>
                    <p:nvPicPr>
                      <p:cNvPr id="6" name="think-cell data - do not delete" hidden="1">
                        <a:extLst>
                          <a:ext uri="{FF2B5EF4-FFF2-40B4-BE49-F238E27FC236}">
                            <a16:creationId xmlns:a16="http://schemas.microsoft.com/office/drawing/2014/main" id="{F062BDC6-1503-D079-9323-9973EEE2B6B8}"/>
                          </a:ext>
                        </a:extLst>
                      </p:cNvPr>
                      <p:cNvPicPr/>
                      <p:nvPr/>
                    </p:nvPicPr>
                    <p:blipFill>
                      <a:blip r:embed="rId19"/>
                      <a:stretch>
                        <a:fillRect/>
                      </a:stretch>
                    </p:blipFill>
                    <p:spPr>
                      <a:xfrm>
                        <a:off x="1589" y="1589"/>
                        <a:ext cx="1588" cy="1589"/>
                      </a:xfrm>
                      <a:prstGeom prst="rect">
                        <a:avLst/>
                      </a:prstGeom>
                    </p:spPr>
                  </p:pic>
                </p:oleObj>
              </mc:Fallback>
            </mc:AlternateContent>
          </a:graphicData>
        </a:graphic>
      </p:graphicFrame>
      <p:grpSp>
        <p:nvGrpSpPr>
          <p:cNvPr id="23" name="Group 22">
            <a:extLst>
              <a:ext uri="{FF2B5EF4-FFF2-40B4-BE49-F238E27FC236}">
                <a16:creationId xmlns:a16="http://schemas.microsoft.com/office/drawing/2014/main" id="{EB15AF5D-7A8A-D0B5-5AEE-9959F73ACA20}"/>
              </a:ext>
            </a:extLst>
          </p:cNvPr>
          <p:cNvGrpSpPr/>
          <p:nvPr userDrawn="1"/>
        </p:nvGrpSpPr>
        <p:grpSpPr>
          <a:xfrm>
            <a:off x="8409927" y="4660602"/>
            <a:ext cx="444211" cy="482898"/>
            <a:chOff x="8395637" y="4657725"/>
            <a:chExt cx="444211" cy="482600"/>
          </a:xfrm>
        </p:grpSpPr>
        <p:sp>
          <p:nvSpPr>
            <p:cNvPr id="19" name="Freeform 9">
              <a:extLst>
                <a:ext uri="{FF2B5EF4-FFF2-40B4-BE49-F238E27FC236}">
                  <a16:creationId xmlns:a16="http://schemas.microsoft.com/office/drawing/2014/main" id="{B07CD49D-EE3D-60E9-D9D7-DDA49AD330EB}"/>
                </a:ext>
              </a:extLst>
            </p:cNvPr>
            <p:cNvSpPr>
              <a:spLocks/>
            </p:cNvSpPr>
            <p:nvPr userDrawn="1"/>
          </p:nvSpPr>
          <p:spPr bwMode="auto">
            <a:xfrm>
              <a:off x="8395637" y="4657725"/>
              <a:ext cx="369124" cy="482600"/>
            </a:xfrm>
            <a:custGeom>
              <a:avLst/>
              <a:gdLst>
                <a:gd name="T0" fmla="*/ 0 w 951"/>
                <a:gd name="T1" fmla="*/ 0 h 1244"/>
                <a:gd name="T2" fmla="*/ 526 w 951"/>
                <a:gd name="T3" fmla="*/ 0 h 1244"/>
                <a:gd name="T4" fmla="*/ 951 w 951"/>
                <a:gd name="T5" fmla="*/ 774 h 1244"/>
                <a:gd name="T6" fmla="*/ 702 w 951"/>
                <a:gd name="T7" fmla="*/ 1244 h 1244"/>
                <a:gd name="T8" fmla="*/ 0 w 951"/>
                <a:gd name="T9" fmla="*/ 0 h 1244"/>
              </a:gdLst>
              <a:ahLst/>
              <a:cxnLst>
                <a:cxn ang="0">
                  <a:pos x="T0" y="T1"/>
                </a:cxn>
                <a:cxn ang="0">
                  <a:pos x="T2" y="T3"/>
                </a:cxn>
                <a:cxn ang="0">
                  <a:pos x="T4" y="T5"/>
                </a:cxn>
                <a:cxn ang="0">
                  <a:pos x="T6" y="T7"/>
                </a:cxn>
                <a:cxn ang="0">
                  <a:pos x="T8" y="T9"/>
                </a:cxn>
              </a:cxnLst>
              <a:rect l="0" t="0" r="r" b="b"/>
              <a:pathLst>
                <a:path w="951" h="1244">
                  <a:moveTo>
                    <a:pt x="0" y="0"/>
                  </a:moveTo>
                  <a:lnTo>
                    <a:pt x="526" y="0"/>
                  </a:lnTo>
                  <a:lnTo>
                    <a:pt x="951" y="774"/>
                  </a:lnTo>
                  <a:lnTo>
                    <a:pt x="702" y="1244"/>
                  </a:lnTo>
                  <a:lnTo>
                    <a:pt x="0" y="0"/>
                  </a:lnTo>
                  <a:close/>
                </a:path>
              </a:pathLst>
            </a:custGeom>
            <a:solidFill>
              <a:schemeClr val="bg1">
                <a:lumMod val="85000"/>
                <a:alpha val="42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687"/>
            </a:p>
          </p:txBody>
        </p:sp>
        <p:sp>
          <p:nvSpPr>
            <p:cNvPr id="20" name="Oval 19">
              <a:extLst>
                <a:ext uri="{FF2B5EF4-FFF2-40B4-BE49-F238E27FC236}">
                  <a16:creationId xmlns:a16="http://schemas.microsoft.com/office/drawing/2014/main" id="{3F29275D-FC05-1755-0163-2614732736E9}"/>
                </a:ext>
              </a:extLst>
            </p:cNvPr>
            <p:cNvSpPr/>
            <p:nvPr userDrawn="1"/>
          </p:nvSpPr>
          <p:spPr>
            <a:xfrm>
              <a:off x="8692155" y="4668955"/>
              <a:ext cx="147693" cy="147693"/>
            </a:xfrm>
            <a:prstGeom prst="ellipse">
              <a:avLst/>
            </a:prstGeom>
            <a:solidFill>
              <a:schemeClr val="bg1">
                <a:lumMod val="85000"/>
                <a:alpha val="4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1">
                <a:solidFill>
                  <a:schemeClr val="tx2"/>
                </a:solidFill>
              </a:endParaRPr>
            </a:p>
          </p:txBody>
        </p:sp>
      </p:grpSp>
      <p:sp>
        <p:nvSpPr>
          <p:cNvPr id="4" name="PageNumber">
            <a:extLst>
              <a:ext uri="{FF2B5EF4-FFF2-40B4-BE49-F238E27FC236}">
                <a16:creationId xmlns:a16="http://schemas.microsoft.com/office/drawing/2014/main" id="{F5C99E8F-12D1-4DA0-A83E-BD6F0C2B8248}"/>
              </a:ext>
            </a:extLst>
          </p:cNvPr>
          <p:cNvSpPr txBox="1"/>
          <p:nvPr userDrawn="1"/>
        </p:nvSpPr>
        <p:spPr>
          <a:xfrm>
            <a:off x="8323071" y="4798259"/>
            <a:ext cx="348615" cy="87835"/>
          </a:xfrm>
          <a:prstGeom prst="rect">
            <a:avLst/>
          </a:prstGeom>
          <a:noFill/>
        </p:spPr>
        <p:txBody>
          <a:bodyPr vert="horz" wrap="square" lIns="0" tIns="0" rIns="0" bIns="0" rtlCol="0" anchor="ctr">
            <a:spAutoFit/>
          </a:bodyPr>
          <a:lstStyle/>
          <a:p>
            <a:pPr algn="r">
              <a:lnSpc>
                <a:spcPct val="110000"/>
              </a:lnSpc>
            </a:pPr>
            <a:endParaRPr lang="en-GB" sz="562" b="0" i="0">
              <a:solidFill>
                <a:schemeClr val="tx2"/>
              </a:solidFill>
              <a:latin typeface="Arial" panose="020B0604020202020204" pitchFamily="34" charset="0"/>
            </a:endParaRPr>
          </a:p>
        </p:txBody>
      </p:sp>
      <p:sp>
        <p:nvSpPr>
          <p:cNvPr id="7" name="Confidential" hidden="1">
            <a:extLst>
              <a:ext uri="{FF2B5EF4-FFF2-40B4-BE49-F238E27FC236}">
                <a16:creationId xmlns:a16="http://schemas.microsoft.com/office/drawing/2014/main" id="{6E291D3D-C91E-4342-B9BD-81858FD0A4B8}"/>
              </a:ext>
            </a:extLst>
          </p:cNvPr>
          <p:cNvSpPr txBox="1"/>
          <p:nvPr userDrawn="1">
            <p:custDataLst>
              <p:tags r:id="rId16"/>
            </p:custDataLst>
          </p:nvPr>
        </p:nvSpPr>
        <p:spPr>
          <a:xfrm>
            <a:off x="2188845" y="165735"/>
            <a:ext cx="6526530" cy="126038"/>
          </a:xfrm>
          <a:prstGeom prst="rect">
            <a:avLst/>
          </a:prstGeom>
          <a:noFill/>
        </p:spPr>
        <p:txBody>
          <a:bodyPr vert="horz" wrap="square" lIns="0" tIns="28575" rIns="0" bIns="28575" rtlCol="0" anchor="t">
            <a:spAutoFit/>
          </a:bodyPr>
          <a:lstStyle/>
          <a:p>
            <a:pPr algn="r">
              <a:lnSpc>
                <a:spcPct val="110000"/>
              </a:lnSpc>
            </a:pPr>
            <a:r>
              <a:rPr lang="en-GB" sz="437" b="0" i="0" cap="all" spc="131">
                <a:solidFill>
                  <a:schemeClr val="tx2"/>
                </a:solidFill>
                <a:latin typeface="Arial" panose="020B0604020202020204" pitchFamily="34" charset="0"/>
              </a:rPr>
              <a:t>Confidential</a:t>
            </a:r>
          </a:p>
        </p:txBody>
      </p:sp>
      <p:sp>
        <p:nvSpPr>
          <p:cNvPr id="8" name="SubsectionTracker">
            <a:extLst>
              <a:ext uri="{FF2B5EF4-FFF2-40B4-BE49-F238E27FC236}">
                <a16:creationId xmlns:a16="http://schemas.microsoft.com/office/drawing/2014/main" id="{11658878-2D16-4681-83E7-AFDC4FF96BF8}"/>
              </a:ext>
            </a:extLst>
          </p:cNvPr>
          <p:cNvSpPr txBox="1"/>
          <p:nvPr userDrawn="1"/>
        </p:nvSpPr>
        <p:spPr>
          <a:xfrm>
            <a:off x="8677337" y="4803102"/>
            <a:ext cx="65" cy="78146"/>
          </a:xfrm>
          <a:prstGeom prst="rect">
            <a:avLst/>
          </a:prstGeom>
          <a:noFill/>
        </p:spPr>
        <p:txBody>
          <a:bodyPr vert="horz" wrap="square" lIns="0" tIns="0" rIns="0" bIns="0" rtlCol="0" anchor="ctr">
            <a:spAutoFit/>
          </a:bodyPr>
          <a:lstStyle/>
          <a:p>
            <a:pPr algn="r">
              <a:lnSpc>
                <a:spcPct val="110000"/>
              </a:lnSpc>
            </a:pPr>
            <a:endParaRPr lang="en-GB" sz="500" b="0" i="0">
              <a:solidFill>
                <a:schemeClr val="bg2"/>
              </a:solidFill>
              <a:latin typeface="Arial" panose="020B0604020202020204" pitchFamily="34" charset="0"/>
            </a:endParaRPr>
          </a:p>
        </p:txBody>
      </p:sp>
      <p:sp>
        <p:nvSpPr>
          <p:cNvPr id="12" name="ClientName">
            <a:extLst>
              <a:ext uri="{FF2B5EF4-FFF2-40B4-BE49-F238E27FC236}">
                <a16:creationId xmlns:a16="http://schemas.microsoft.com/office/drawing/2014/main" id="{14C73B3D-05A5-45FB-BB46-28A6932AD27C}"/>
              </a:ext>
            </a:extLst>
          </p:cNvPr>
          <p:cNvSpPr txBox="1"/>
          <p:nvPr userDrawn="1">
            <p:custDataLst>
              <p:tags r:id="rId17"/>
            </p:custDataLst>
          </p:nvPr>
        </p:nvSpPr>
        <p:spPr>
          <a:xfrm>
            <a:off x="4514850" y="4796455"/>
            <a:ext cx="3800475" cy="9144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p>
            <a:pPr algn="r">
              <a:lnSpc>
                <a:spcPct val="110000"/>
              </a:lnSpc>
            </a:pPr>
            <a:endParaRPr lang="en-GB" sz="562" b="0" i="0" cap="all" spc="94">
              <a:solidFill>
                <a:schemeClr val="tx2"/>
              </a:solidFill>
              <a:latin typeface="Arial" panose="020B0604020202020204" pitchFamily="34" charset="0"/>
            </a:endParaRPr>
          </a:p>
        </p:txBody>
      </p:sp>
      <p:sp>
        <p:nvSpPr>
          <p:cNvPr id="17" name="TextBox 16">
            <a:extLst>
              <a:ext uri="{FF2B5EF4-FFF2-40B4-BE49-F238E27FC236}">
                <a16:creationId xmlns:a16="http://schemas.microsoft.com/office/drawing/2014/main" id="{6B28C0EE-0A99-D397-9D33-457652F20C15}"/>
              </a:ext>
            </a:extLst>
          </p:cNvPr>
          <p:cNvSpPr txBox="1"/>
          <p:nvPr userDrawn="1"/>
        </p:nvSpPr>
        <p:spPr>
          <a:xfrm>
            <a:off x="8496301" y="4750678"/>
            <a:ext cx="228600" cy="182993"/>
          </a:xfrm>
          <a:prstGeom prst="rect">
            <a:avLst/>
          </a:prstGeom>
          <a:noFill/>
        </p:spPr>
        <p:txBody>
          <a:bodyPr vert="horz" wrap="none" lIns="0" tIns="0" rIns="0" bIns="0" rtlCol="0" anchor="ctr" anchorCtr="0">
            <a:noAutofit/>
          </a:bodyPr>
          <a:lstStyle/>
          <a:p>
            <a:pPr algn="ctr">
              <a:lnSpc>
                <a:spcPct val="110000"/>
              </a:lnSpc>
            </a:pPr>
            <a:fld id="{6A73FF54-BEB6-4ECD-AD54-543B6C6D21FC}" type="slidenum">
              <a:rPr kumimoji="0" lang="en-GB" sz="901" b="0" i="0" u="none" baseline="0" smtClean="0">
                <a:solidFill>
                  <a:schemeClr val="tx1"/>
                </a:solidFill>
                <a:latin typeface="Arial" panose="020B0604020202020204" pitchFamily="34" charset="0"/>
              </a:rPr>
              <a:pPr algn="ctr">
                <a:lnSpc>
                  <a:spcPct val="110000"/>
                </a:lnSpc>
              </a:pPr>
              <a:t>‹N°›</a:t>
            </a:fld>
            <a:endParaRPr kumimoji="0" lang="en-GB" sz="901" b="0" i="0" u="none" baseline="0">
              <a:solidFill>
                <a:schemeClr val="tx1"/>
              </a:solidFill>
              <a:latin typeface="Arial" panose="020B0604020202020204" pitchFamily="34" charset="0"/>
            </a:endParaRPr>
          </a:p>
        </p:txBody>
      </p:sp>
      <p:sp>
        <p:nvSpPr>
          <p:cNvPr id="2" name="PlaceholderTitle">
            <a:extLst>
              <a:ext uri="{FF2B5EF4-FFF2-40B4-BE49-F238E27FC236}">
                <a16:creationId xmlns:a16="http://schemas.microsoft.com/office/drawing/2014/main" id="{790055FD-F372-41E7-A22C-40F8090803EB}"/>
              </a:ext>
            </a:extLst>
          </p:cNvPr>
          <p:cNvSpPr>
            <a:spLocks noGrp="1"/>
          </p:cNvSpPr>
          <p:nvPr userDrawn="1">
            <p:ph type="title"/>
          </p:nvPr>
        </p:nvSpPr>
        <p:spPr>
          <a:xfrm>
            <a:off x="458155" y="397182"/>
            <a:ext cx="8281035" cy="451485"/>
          </a:xfrm>
          <a:prstGeom prst="rect">
            <a:avLst/>
          </a:prstGeom>
        </p:spPr>
        <p:txBody>
          <a:bodyPr vert="horz" wrap="square" lIns="0" tIns="0" rIns="0" bIns="0" rtlCol="0" anchor="t">
            <a:noAutofit/>
          </a:bodyPr>
          <a:lstStyle/>
          <a:p>
            <a:r>
              <a:rPr lang="en-US"/>
              <a:t>Click to edit Master title style</a:t>
            </a:r>
          </a:p>
        </p:txBody>
      </p:sp>
      <p:cxnSp>
        <p:nvCxnSpPr>
          <p:cNvPr id="134" name="Straight Connector 133">
            <a:extLst>
              <a:ext uri="{FF2B5EF4-FFF2-40B4-BE49-F238E27FC236}">
                <a16:creationId xmlns:a16="http://schemas.microsoft.com/office/drawing/2014/main" id="{4FE138F7-3B2C-9421-DB09-DB4F2F19A1D0}"/>
              </a:ext>
            </a:extLst>
          </p:cNvPr>
          <p:cNvCxnSpPr>
            <a:cxnSpLocks/>
          </p:cNvCxnSpPr>
          <p:nvPr userDrawn="1"/>
        </p:nvCxnSpPr>
        <p:spPr>
          <a:xfrm>
            <a:off x="662819" y="851952"/>
            <a:ext cx="8076371" cy="0"/>
          </a:xfrm>
          <a:prstGeom prst="line">
            <a:avLst/>
          </a:prstGeom>
          <a:ln w="9525">
            <a:gradFill flip="none" rotWithShape="1">
              <a:gsLst>
                <a:gs pos="0">
                  <a:schemeClr val="accent1">
                    <a:lumMod val="5000"/>
                    <a:lumOff val="95000"/>
                  </a:schemeClr>
                </a:gs>
                <a:gs pos="100000">
                  <a:schemeClr val="accent2"/>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F4C36762-331D-88F2-BCB0-28FA0B62336A}"/>
              </a:ext>
            </a:extLst>
          </p:cNvPr>
          <p:cNvSpPr/>
          <p:nvPr userDrawn="1"/>
        </p:nvSpPr>
        <p:spPr>
          <a:xfrm>
            <a:off x="459643" y="829079"/>
            <a:ext cx="45719" cy="4574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96" tIns="45748" rIns="91496" bIns="45748" numCol="1" spcCol="0" rtlCol="0" fromWordArt="0" anchor="ctr" anchorCtr="0" forceAA="0" compatLnSpc="0">
            <a:prstTxWarp prst="textNoShape">
              <a:avLst/>
            </a:prstTxWarp>
            <a:noAutofit/>
          </a:bodyPr>
          <a:lstStyle/>
          <a:p>
            <a:pPr algn="ctr">
              <a:lnSpc>
                <a:spcPct val="110000"/>
              </a:lnSpc>
            </a:pPr>
            <a:endParaRPr lang="en-GB" sz="1201">
              <a:solidFill>
                <a:schemeClr val="tx2"/>
              </a:solidFill>
            </a:endParaRPr>
          </a:p>
        </p:txBody>
      </p:sp>
      <p:sp>
        <p:nvSpPr>
          <p:cNvPr id="11" name="Oval 10">
            <a:extLst>
              <a:ext uri="{FF2B5EF4-FFF2-40B4-BE49-F238E27FC236}">
                <a16:creationId xmlns:a16="http://schemas.microsoft.com/office/drawing/2014/main" id="{0B23BE77-1120-045E-C69F-40519B42F209}"/>
              </a:ext>
            </a:extLst>
          </p:cNvPr>
          <p:cNvSpPr/>
          <p:nvPr userDrawn="1"/>
        </p:nvSpPr>
        <p:spPr>
          <a:xfrm>
            <a:off x="518757" y="829079"/>
            <a:ext cx="45719" cy="45747"/>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96" tIns="45748" rIns="91496" bIns="45748" numCol="1" spcCol="0" rtlCol="0" fromWordArt="0" anchor="ctr" anchorCtr="0" forceAA="0" compatLnSpc="0">
            <a:prstTxWarp prst="textNoShape">
              <a:avLst/>
            </a:prstTxWarp>
            <a:noAutofit/>
          </a:bodyPr>
          <a:lstStyle/>
          <a:p>
            <a:pPr algn="ctr">
              <a:lnSpc>
                <a:spcPct val="110000"/>
              </a:lnSpc>
            </a:pPr>
            <a:endParaRPr lang="en-GB" sz="1201">
              <a:solidFill>
                <a:schemeClr val="tx2"/>
              </a:solidFill>
            </a:endParaRPr>
          </a:p>
        </p:txBody>
      </p:sp>
      <p:sp>
        <p:nvSpPr>
          <p:cNvPr id="13" name="Oval 12">
            <a:extLst>
              <a:ext uri="{FF2B5EF4-FFF2-40B4-BE49-F238E27FC236}">
                <a16:creationId xmlns:a16="http://schemas.microsoft.com/office/drawing/2014/main" id="{525A02C6-D05F-A9F5-F4CC-94E22E5E38DA}"/>
              </a:ext>
            </a:extLst>
          </p:cNvPr>
          <p:cNvSpPr/>
          <p:nvPr userDrawn="1"/>
        </p:nvSpPr>
        <p:spPr>
          <a:xfrm>
            <a:off x="576561" y="829079"/>
            <a:ext cx="45719" cy="45747"/>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96" tIns="45748" rIns="91496" bIns="45748" numCol="1" spcCol="0" rtlCol="0" fromWordArt="0" anchor="ctr" anchorCtr="0" forceAA="0" compatLnSpc="0">
            <a:prstTxWarp prst="textNoShape">
              <a:avLst/>
            </a:prstTxWarp>
            <a:noAutofit/>
          </a:bodyPr>
          <a:lstStyle/>
          <a:p>
            <a:pPr algn="ctr">
              <a:lnSpc>
                <a:spcPct val="110000"/>
              </a:lnSpc>
            </a:pPr>
            <a:endParaRPr lang="en-GB" sz="1201">
              <a:solidFill>
                <a:schemeClr val="tx2"/>
              </a:solidFill>
            </a:endParaRPr>
          </a:p>
        </p:txBody>
      </p:sp>
      <p:pic>
        <p:nvPicPr>
          <p:cNvPr id="5" name="Picture 2">
            <a:extLst>
              <a:ext uri="{FF2B5EF4-FFF2-40B4-BE49-F238E27FC236}">
                <a16:creationId xmlns:a16="http://schemas.microsoft.com/office/drawing/2014/main" id="{CE1CF18F-0F04-7DAE-B252-33213723DD42}"/>
              </a:ext>
            </a:extLst>
          </p:cNvPr>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434100" y="4711276"/>
            <a:ext cx="1190109" cy="273894"/>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13">
            <a:extLst>
              <a:ext uri="{FF2B5EF4-FFF2-40B4-BE49-F238E27FC236}">
                <a16:creationId xmlns:a16="http://schemas.microsoft.com/office/drawing/2014/main" id="{CA99CFEC-ED8F-B3D3-50AC-8F11C17FB2E1}"/>
              </a:ext>
            </a:extLst>
          </p:cNvPr>
          <p:cNvSpPr>
            <a:spLocks noGrp="1"/>
          </p:cNvSpPr>
          <p:nvPr>
            <p:ph type="body" idx="1"/>
          </p:nvPr>
        </p:nvSpPr>
        <p:spPr>
          <a:xfrm>
            <a:off x="458156" y="1006463"/>
            <a:ext cx="7886700" cy="3262739"/>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1214409"/>
      </p:ext>
    </p:extLst>
  </p:cSld>
  <p:clrMap bg1="lt1" tx1="dk1" bg2="lt2" tx2="dk2" accent1="accent1" accent2="accent2" accent3="accent3" accent4="accent4" accent5="accent5" accent6="accent6" hlink="hlink" folHlink="folHlink"/>
  <p:sldLayoutIdLst>
    <p:sldLayoutId id="2147483653" r:id="rId1"/>
    <p:sldLayoutId id="2147483852" r:id="rId2"/>
    <p:sldLayoutId id="2147483853" r:id="rId3"/>
    <p:sldLayoutId id="2147483854" r:id="rId4"/>
    <p:sldLayoutId id="2147483855" r:id="rId5"/>
    <p:sldLayoutId id="2147483674" r:id="rId6"/>
    <p:sldLayoutId id="2147483675" r:id="rId7"/>
    <p:sldLayoutId id="2147483681" r:id="rId8"/>
    <p:sldLayoutId id="2147483682" r:id="rId9"/>
    <p:sldLayoutId id="2147483850" r:id="rId10"/>
    <p:sldLayoutId id="2147483858" r:id="rId11"/>
    <p:sldLayoutId id="2147483859" r:id="rId12"/>
    <p:sldLayoutId id="2147483860" r:id="rId13"/>
  </p:sldLayoutIdLst>
  <p:hf hdr="0" ftr="0" dt="0"/>
  <p:txStyles>
    <p:titleStyle>
      <a:lvl1pPr algn="l" defTabSz="571477" rtl="0" eaLnBrk="1" latinLnBrk="0" hangingPunct="1">
        <a:spcBef>
          <a:spcPct val="0"/>
        </a:spcBef>
        <a:buFontTx/>
        <a:buNone/>
        <a:defRPr sz="2001" b="1" i="0" kern="1200">
          <a:solidFill>
            <a:schemeClr val="tx2"/>
          </a:solidFill>
          <a:latin typeface="Arial" panose="020B0604020202020204" pitchFamily="34" charset="0"/>
          <a:ea typeface="+mj-ea"/>
          <a:cs typeface="+mj-cs"/>
        </a:defRPr>
      </a:lvl1pPr>
    </p:titleStyle>
    <p:bodyStyle>
      <a:lvl1pPr marL="6350" indent="-4366" algn="l" defTabSz="571477" rtl="0" eaLnBrk="1" latinLnBrk="0" hangingPunct="1">
        <a:lnSpc>
          <a:spcPct val="110000"/>
        </a:lnSpc>
        <a:spcBef>
          <a:spcPts val="568"/>
        </a:spcBef>
        <a:spcAft>
          <a:spcPct val="0"/>
        </a:spcAft>
        <a:buFontTx/>
        <a:buNone/>
        <a:defRPr sz="1201" b="1" i="0" kern="1200">
          <a:solidFill>
            <a:schemeClr val="tx2"/>
          </a:solidFill>
          <a:latin typeface="Arial" panose="020B0604020202020204" pitchFamily="34" charset="0"/>
          <a:ea typeface="+mn-ea"/>
          <a:cs typeface="+mn-cs"/>
        </a:defRPr>
      </a:lvl1pPr>
      <a:lvl2pPr marL="457292" indent="-171553" algn="l" defTabSz="571477" rtl="0" eaLnBrk="1" latinLnBrk="0" hangingPunct="1">
        <a:lnSpc>
          <a:spcPct val="110000"/>
        </a:lnSpc>
        <a:spcBef>
          <a:spcPts val="375"/>
        </a:spcBef>
        <a:spcAft>
          <a:spcPct val="0"/>
        </a:spcAft>
        <a:buClr>
          <a:schemeClr val="bg2">
            <a:lumMod val="100000"/>
          </a:schemeClr>
        </a:buClr>
        <a:buSzPct val="140000"/>
        <a:buFont typeface="Arial" panose="020B0604020202020204" pitchFamily="34" charset="0"/>
        <a:buChar char="•"/>
        <a:defRPr sz="1201" b="0" i="0" kern="1200">
          <a:solidFill>
            <a:schemeClr val="tx2"/>
          </a:solidFill>
          <a:latin typeface="Arial" panose="020B0604020202020204" pitchFamily="34" charset="0"/>
          <a:ea typeface="+mn-ea"/>
          <a:cs typeface="+mn-cs"/>
        </a:defRPr>
      </a:lvl2pPr>
      <a:lvl3pPr marL="743030" indent="-171553" algn="l" defTabSz="571477" rtl="0" eaLnBrk="1" latinLnBrk="0" hangingPunct="1">
        <a:lnSpc>
          <a:spcPct val="110000"/>
        </a:lnSpc>
        <a:spcBef>
          <a:spcPts val="187"/>
        </a:spcBef>
        <a:spcAft>
          <a:spcPct val="0"/>
        </a:spcAft>
        <a:buClr>
          <a:schemeClr val="accent4"/>
        </a:buClr>
        <a:buSzPct val="140000"/>
        <a:buFont typeface="Arial" panose="020B0604020202020204" pitchFamily="34" charset="0"/>
        <a:buChar char="•"/>
        <a:defRPr sz="1001" b="0" i="0" kern="1200">
          <a:solidFill>
            <a:schemeClr val="tx2"/>
          </a:solidFill>
          <a:latin typeface="Arial" panose="020B0604020202020204" pitchFamily="34" charset="0"/>
          <a:ea typeface="+mn-ea"/>
          <a:cs typeface="+mn-cs"/>
        </a:defRPr>
      </a:lvl3pPr>
      <a:lvl4pPr marL="1028768" indent="-171553" algn="l" defTabSz="571477" rtl="0" eaLnBrk="1" latinLnBrk="0" hangingPunct="1">
        <a:lnSpc>
          <a:spcPct val="110000"/>
        </a:lnSpc>
        <a:spcBef>
          <a:spcPts val="62"/>
        </a:spcBef>
        <a:spcAft>
          <a:spcPct val="0"/>
        </a:spcAft>
        <a:buClr>
          <a:schemeClr val="tx2"/>
        </a:buClr>
        <a:buSzPct val="140000"/>
        <a:buFont typeface="Arial" panose="020B0604020202020204" pitchFamily="34" charset="0"/>
        <a:buChar char="–"/>
        <a:defRPr sz="1001" b="0" i="0" kern="1200">
          <a:solidFill>
            <a:schemeClr val="tx2"/>
          </a:solidFill>
          <a:latin typeface="Arial" panose="020B0604020202020204" pitchFamily="34" charset="0"/>
          <a:ea typeface="+mn-ea"/>
          <a:cs typeface="+mn-cs"/>
        </a:defRPr>
      </a:lvl4pPr>
      <a:lvl5pPr marL="1314506" indent="-171553" algn="l" defTabSz="571477" rtl="0" eaLnBrk="1" latinLnBrk="0" hangingPunct="1">
        <a:lnSpc>
          <a:spcPct val="110000"/>
        </a:lnSpc>
        <a:spcBef>
          <a:spcPts val="0"/>
        </a:spcBef>
        <a:spcAft>
          <a:spcPct val="0"/>
        </a:spcAft>
        <a:buClr>
          <a:schemeClr val="accent5"/>
        </a:buClr>
        <a:buSzPct val="140000"/>
        <a:buFont typeface="Arial" panose="020B0604020202020204" pitchFamily="34" charset="0"/>
        <a:buChar char="•"/>
        <a:defRPr sz="1001" b="0" i="0" kern="1200">
          <a:solidFill>
            <a:schemeClr val="tx2"/>
          </a:solidFill>
          <a:latin typeface="Arial" panose="020B0604020202020204" pitchFamily="34" charset="0"/>
          <a:ea typeface="+mn-ea"/>
          <a:cs typeface="+mn-cs"/>
        </a:defRPr>
      </a:lvl5pPr>
      <a:lvl6pPr marL="1571561" indent="-142870" algn="l" defTabSz="571477" rtl="0" eaLnBrk="1" latinLnBrk="0" hangingPunct="1">
        <a:spcBef>
          <a:spcPct val="20000"/>
        </a:spcBef>
        <a:buFont typeface="Arial" panose="020B0604020202020204" pitchFamily="34" charset="0"/>
        <a:buChar char="•"/>
        <a:defRPr sz="1250" kern="1200">
          <a:solidFill>
            <a:schemeClr val="tx1"/>
          </a:solidFill>
          <a:latin typeface="+mn-lt"/>
          <a:ea typeface="+mn-ea"/>
          <a:cs typeface="+mn-cs"/>
        </a:defRPr>
      </a:lvl6pPr>
      <a:lvl7pPr marL="1857300" indent="-142870" algn="l" defTabSz="571477" rtl="0" eaLnBrk="1" latinLnBrk="0" hangingPunct="1">
        <a:spcBef>
          <a:spcPct val="20000"/>
        </a:spcBef>
        <a:buFont typeface="Arial" panose="020B0604020202020204" pitchFamily="34" charset="0"/>
        <a:buChar char="•"/>
        <a:defRPr sz="1250" kern="1200">
          <a:solidFill>
            <a:schemeClr val="tx1"/>
          </a:solidFill>
          <a:latin typeface="+mn-lt"/>
          <a:ea typeface="+mn-ea"/>
          <a:cs typeface="+mn-cs"/>
        </a:defRPr>
      </a:lvl7pPr>
      <a:lvl8pPr marL="2143038" indent="-142870" algn="l" defTabSz="571477" rtl="0" eaLnBrk="1" latinLnBrk="0" hangingPunct="1">
        <a:spcBef>
          <a:spcPct val="20000"/>
        </a:spcBef>
        <a:buFont typeface="Arial" panose="020B0604020202020204" pitchFamily="34" charset="0"/>
        <a:buChar char="•"/>
        <a:defRPr sz="1250" kern="1200">
          <a:solidFill>
            <a:schemeClr val="tx1"/>
          </a:solidFill>
          <a:latin typeface="+mn-lt"/>
          <a:ea typeface="+mn-ea"/>
          <a:cs typeface="+mn-cs"/>
        </a:defRPr>
      </a:lvl8pPr>
      <a:lvl9pPr marL="2428777" indent="-142870" algn="l" defTabSz="571477" rtl="0" eaLnBrk="1" latinLnBrk="0" hangingPunct="1">
        <a:spcBef>
          <a:spcPct val="20000"/>
        </a:spcBef>
        <a:buFont typeface="Arial" panose="020B0604020202020204" pitchFamily="34" charset="0"/>
        <a:buChar char="•"/>
        <a:defRPr sz="1250" kern="1200">
          <a:solidFill>
            <a:schemeClr val="tx1"/>
          </a:solidFill>
          <a:latin typeface="+mn-lt"/>
          <a:ea typeface="+mn-ea"/>
          <a:cs typeface="+mn-cs"/>
        </a:defRPr>
      </a:lvl9pPr>
    </p:bodyStyle>
    <p:otherStyle>
      <a:defPPr>
        <a:defRPr lang="en-US"/>
      </a:defPPr>
      <a:lvl1pPr marL="7620" indent="-5635" algn="l" defTabSz="571477" rtl="0" eaLnBrk="1" fontAlgn="b" latinLnBrk="0" hangingPunct="1">
        <a:lnSpc>
          <a:spcPct val="100000"/>
        </a:lnSpc>
        <a:spcBef>
          <a:spcPts val="166"/>
        </a:spcBef>
        <a:spcAft>
          <a:spcPct val="0"/>
        </a:spcAft>
        <a:buFontTx/>
        <a:buNone/>
        <a:defRPr sz="562" b="0" i="0" kern="1200">
          <a:solidFill>
            <a:schemeClr val="tx2"/>
          </a:solidFill>
          <a:latin typeface="+mn-lt"/>
          <a:ea typeface="Arial Unicode MS"/>
          <a:cs typeface="+mn-cs"/>
        </a:defRPr>
      </a:lvl1pPr>
      <a:lvl2pPr marL="131440" indent="-131440" algn="l" defTabSz="571477" rtl="0" eaLnBrk="1" fontAlgn="b" latinLnBrk="0" hangingPunct="1">
        <a:lnSpc>
          <a:spcPct val="100000"/>
        </a:lnSpc>
        <a:spcBef>
          <a:spcPts val="166"/>
        </a:spcBef>
        <a:spcAft>
          <a:spcPct val="0"/>
        </a:spcAft>
        <a:buClr>
          <a:schemeClr val="bg2"/>
        </a:buClr>
        <a:buSzPct val="92000"/>
        <a:buFont typeface="Wingdings"/>
        <a:buChar char="n"/>
        <a:defRPr sz="562" b="0" i="0" kern="1200">
          <a:solidFill>
            <a:schemeClr val="tx2"/>
          </a:solidFill>
          <a:latin typeface="+mn-lt"/>
          <a:ea typeface="Arial Unicode MS"/>
          <a:cs typeface="+mn-cs"/>
        </a:defRPr>
      </a:lvl2pPr>
      <a:lvl3pPr marL="262880" indent="-131440" algn="l" defTabSz="571477" rtl="0" eaLnBrk="1" fontAlgn="b" latinLnBrk="0" hangingPunct="1">
        <a:lnSpc>
          <a:spcPct val="100000"/>
        </a:lnSpc>
        <a:spcBef>
          <a:spcPts val="166"/>
        </a:spcBef>
        <a:spcAft>
          <a:spcPct val="0"/>
        </a:spcAft>
        <a:buClr>
          <a:schemeClr val="tx2"/>
        </a:buClr>
        <a:buSzPct val="92000"/>
        <a:buFont typeface="Wingdings"/>
        <a:buChar char="n"/>
        <a:defRPr sz="562" b="0" i="0" kern="1200">
          <a:solidFill>
            <a:schemeClr val="tx2"/>
          </a:solidFill>
          <a:latin typeface="+mn-lt"/>
          <a:ea typeface="Arial Unicode MS"/>
          <a:cs typeface="+mn-cs"/>
        </a:defRPr>
      </a:lvl3pPr>
      <a:lvl4pPr marL="405748" indent="-142870" algn="l" defTabSz="571477" rtl="0" eaLnBrk="1" fontAlgn="b" latinLnBrk="0" hangingPunct="1">
        <a:lnSpc>
          <a:spcPct val="100000"/>
        </a:lnSpc>
        <a:spcBef>
          <a:spcPts val="166"/>
        </a:spcBef>
        <a:spcAft>
          <a:spcPct val="0"/>
        </a:spcAft>
        <a:buClr>
          <a:schemeClr val="tx2"/>
        </a:buClr>
        <a:buSzPct val="100000"/>
        <a:buFont typeface="Arial"/>
        <a:buChar char="–"/>
        <a:defRPr sz="562" b="0" i="0" kern="1200">
          <a:solidFill>
            <a:schemeClr val="tx2"/>
          </a:solidFill>
          <a:latin typeface="+mn-lt"/>
          <a:ea typeface="Arial Unicode MS"/>
          <a:cs typeface="+mn-cs"/>
        </a:defRPr>
      </a:lvl4pPr>
      <a:lvl5pPr marL="548618" indent="-142870" algn="l" defTabSz="571477" rtl="0" eaLnBrk="1" fontAlgn="b" latinLnBrk="0" hangingPunct="1">
        <a:lnSpc>
          <a:spcPct val="100000"/>
        </a:lnSpc>
        <a:spcBef>
          <a:spcPts val="166"/>
        </a:spcBef>
        <a:spcAft>
          <a:spcPct val="0"/>
        </a:spcAft>
        <a:buClr>
          <a:schemeClr val="tx2"/>
        </a:buClr>
        <a:buSzPct val="100000"/>
        <a:buFont typeface="Arial"/>
        <a:buChar char="–"/>
        <a:defRPr sz="562" b="0" i="0" kern="1200">
          <a:solidFill>
            <a:schemeClr val="tx2"/>
          </a:solidFill>
          <a:latin typeface="+mn-lt"/>
          <a:ea typeface="Arial Unicode MS"/>
          <a:cs typeface="+mn-cs"/>
        </a:defRPr>
      </a:lvl5pPr>
    </p:otherStyle>
  </p:txStyles>
  <p:extLst>
    <p:ext uri="{27BBF7A9-308A-43DC-89C8-2F10F3537804}">
      <p15:sldGuideLst xmlns:p15="http://schemas.microsoft.com/office/powerpoint/2012/main">
        <p15:guide id="1" orient="horz" pos="689">
          <p15:clr>
            <a:srgbClr val="F26B43"/>
          </p15:clr>
        </p15:guide>
        <p15:guide id="2" pos="273">
          <p15:clr>
            <a:srgbClr val="F26B43"/>
          </p15:clr>
        </p15:guide>
        <p15:guide id="3" pos="5496">
          <p15:clr>
            <a:srgbClr val="F26B43"/>
          </p15:clr>
        </p15:guide>
        <p15:guide id="4" orient="horz" pos="293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5.xml"/><Relationship Id="rId6" Type="http://schemas.openxmlformats.org/officeDocument/2006/relationships/image" Target="../media/image4.jpeg"/><Relationship Id="rId5" Type="http://schemas.microsoft.com/office/2007/relationships/hdphoto" Target="../media/hdphoto1.wdp"/><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sv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jpeg"/></Relationships>
</file>

<file path=ppt/slides/_rels/slide12.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image" Target="../media/image24.jpeg"/><Relationship Id="rId3" Type="http://schemas.openxmlformats.org/officeDocument/2006/relationships/tags" Target="../tags/tag11.xml"/><Relationship Id="rId21" Type="http://schemas.openxmlformats.org/officeDocument/2006/relationships/image" Target="../media/image27.jpeg"/><Relationship Id="rId7" Type="http://schemas.openxmlformats.org/officeDocument/2006/relationships/tags" Target="../tags/tag15.xml"/><Relationship Id="rId12" Type="http://schemas.openxmlformats.org/officeDocument/2006/relationships/tags" Target="../tags/tag20.xml"/><Relationship Id="rId17" Type="http://schemas.microsoft.com/office/2007/relationships/hdphoto" Target="../media/hdphoto2.wdp"/><Relationship Id="rId2" Type="http://schemas.openxmlformats.org/officeDocument/2006/relationships/tags" Target="../tags/tag10.xml"/><Relationship Id="rId16" Type="http://schemas.openxmlformats.org/officeDocument/2006/relationships/image" Target="../media/image23.png"/><Relationship Id="rId20" Type="http://schemas.openxmlformats.org/officeDocument/2006/relationships/image" Target="../media/image26.svg"/><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30.png"/><Relationship Id="rId5" Type="http://schemas.openxmlformats.org/officeDocument/2006/relationships/tags" Target="../tags/tag13.xml"/><Relationship Id="rId15" Type="http://schemas.openxmlformats.org/officeDocument/2006/relationships/notesSlide" Target="../notesSlides/notesSlide8.xml"/><Relationship Id="rId23" Type="http://schemas.openxmlformats.org/officeDocument/2006/relationships/image" Target="../media/image29.jpeg"/><Relationship Id="rId10" Type="http://schemas.openxmlformats.org/officeDocument/2006/relationships/tags" Target="../tags/tag18.xml"/><Relationship Id="rId19" Type="http://schemas.openxmlformats.org/officeDocument/2006/relationships/image" Target="../media/image25.png"/><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slideLayout" Target="../slideLayouts/slideLayout1.xml"/><Relationship Id="rId22" Type="http://schemas.openxmlformats.org/officeDocument/2006/relationships/image" Target="../media/image28.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10.xml"/><Relationship Id="rId7" Type="http://schemas.openxmlformats.org/officeDocument/2006/relationships/image" Target="../media/image34.svg"/><Relationship Id="rId2" Type="http://schemas.openxmlformats.org/officeDocument/2006/relationships/slideLayout" Target="../slideLayouts/slideLayout1.xml"/><Relationship Id="rId1" Type="http://schemas.openxmlformats.org/officeDocument/2006/relationships/tags" Target="../tags/tag24.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32.sv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2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26.xml"/></Relationships>
</file>

<file path=ppt/slides/_rels/slide1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1.xml"/><Relationship Id="rId7" Type="http://schemas.openxmlformats.org/officeDocument/2006/relationships/image" Target="../media/image41.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2.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29.xml"/></Relationships>
</file>

<file path=ppt/slides/_rels/slide2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1.xml"/><Relationship Id="rId4" Type="http://schemas.openxmlformats.org/officeDocument/2006/relationships/chart" Target="../charts/chart8.xml"/></Relationships>
</file>

<file path=ppt/slides/_rels/slide2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chart" Target="../charts/chart10.xml"/></Relationships>
</file>

<file path=ppt/slides/_rels/slide2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chart" Target="../charts/chart1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3.xml"/><Relationship Id="rId1" Type="http://schemas.openxmlformats.org/officeDocument/2006/relationships/tags" Target="../tags/tag30.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image" Target="../media/image59.emf"/><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3.sv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notesSlide" Target="../notesSlides/notesSlide6.xml"/><Relationship Id="rId7" Type="http://schemas.openxmlformats.org/officeDocument/2006/relationships/chart" Target="../charts/chart2.xml"/><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D1DFC41C-7C39-7F2A-2603-412D29E81FFC}"/>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14260" y="4764134"/>
            <a:ext cx="1301115" cy="30811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blue and white logo&#10;&#10;Description automatically generated">
            <a:extLst>
              <a:ext uri="{FF2B5EF4-FFF2-40B4-BE49-F238E27FC236}">
                <a16:creationId xmlns:a16="http://schemas.microsoft.com/office/drawing/2014/main" id="{6BE8F087-205C-D48D-E818-3FC2FDF6366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81736" y="4318559"/>
            <a:ext cx="2333639" cy="709426"/>
          </a:xfrm>
          <a:prstGeom prst="rect">
            <a:avLst/>
          </a:prstGeom>
        </p:spPr>
      </p:pic>
      <p:cxnSp>
        <p:nvCxnSpPr>
          <p:cNvPr id="8" name="Straight Connector 7">
            <a:extLst>
              <a:ext uri="{FF2B5EF4-FFF2-40B4-BE49-F238E27FC236}">
                <a16:creationId xmlns:a16="http://schemas.microsoft.com/office/drawing/2014/main" id="{C93DC329-7E17-4053-67B5-3110D30A8B47}"/>
              </a:ext>
            </a:extLst>
          </p:cNvPr>
          <p:cNvCxnSpPr/>
          <p:nvPr/>
        </p:nvCxnSpPr>
        <p:spPr>
          <a:xfrm>
            <a:off x="539765" y="4775148"/>
            <a:ext cx="3568700" cy="0"/>
          </a:xfrm>
          <a:prstGeom prst="line">
            <a:avLst/>
          </a:prstGeom>
          <a:ln w="3175">
            <a:solidFill>
              <a:srgbClr val="0167BB"/>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58721042-0A67-E559-DC62-304C8B49E5F4}"/>
              </a:ext>
            </a:extLst>
          </p:cNvPr>
          <p:cNvSpPr>
            <a:spLocks noGrp="1"/>
          </p:cNvSpPr>
          <p:nvPr>
            <p:ph type="body" sz="quarter" idx="10"/>
          </p:nvPr>
        </p:nvSpPr>
        <p:spPr>
          <a:xfrm>
            <a:off x="536304" y="4374107"/>
            <a:ext cx="4864371" cy="411724"/>
          </a:xfrm>
        </p:spPr>
        <p:txBody>
          <a:bodyPr/>
          <a:lstStyle/>
          <a:p>
            <a:r>
              <a:rPr lang="en-US"/>
              <a:t>Investor Presentation</a:t>
            </a:r>
          </a:p>
        </p:txBody>
      </p:sp>
      <p:sp>
        <p:nvSpPr>
          <p:cNvPr id="7" name="Text Placeholder 6">
            <a:extLst>
              <a:ext uri="{FF2B5EF4-FFF2-40B4-BE49-F238E27FC236}">
                <a16:creationId xmlns:a16="http://schemas.microsoft.com/office/drawing/2014/main" id="{773A5823-D9DB-8B34-79B9-173130C52823}"/>
              </a:ext>
            </a:extLst>
          </p:cNvPr>
          <p:cNvSpPr>
            <a:spLocks noGrp="1"/>
          </p:cNvSpPr>
          <p:nvPr>
            <p:ph type="body" sz="quarter" idx="11"/>
          </p:nvPr>
        </p:nvSpPr>
        <p:spPr>
          <a:xfrm>
            <a:off x="536303" y="4764466"/>
            <a:ext cx="4864371" cy="254794"/>
          </a:xfrm>
        </p:spPr>
        <p:txBody>
          <a:bodyPr/>
          <a:lstStyle/>
          <a:p>
            <a:r>
              <a:rPr lang="en-US" dirty="0"/>
              <a:t>May 2024</a:t>
            </a:r>
          </a:p>
        </p:txBody>
      </p:sp>
    </p:spTree>
    <p:custDataLst>
      <p:tags r:id="rId1"/>
    </p:custDataLst>
    <p:extLst>
      <p:ext uri="{BB962C8B-B14F-4D97-AF65-F5344CB8AC3E}">
        <p14:creationId xmlns:p14="http://schemas.microsoft.com/office/powerpoint/2010/main" val="31061119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1A879F5-35B9-E9CC-5DF7-79F65EB667D8}"/>
              </a:ext>
            </a:extLst>
          </p:cNvPr>
          <p:cNvSpPr>
            <a:spLocks noGrp="1"/>
          </p:cNvSpPr>
          <p:nvPr>
            <p:ph type="body" sz="quarter" idx="10"/>
          </p:nvPr>
        </p:nvSpPr>
        <p:spPr/>
        <p:txBody>
          <a:bodyPr>
            <a:normAutofit/>
          </a:bodyPr>
          <a:lstStyle/>
          <a:p>
            <a:r>
              <a:rPr lang="en-US"/>
              <a:t>2</a:t>
            </a:r>
          </a:p>
        </p:txBody>
      </p:sp>
      <p:sp>
        <p:nvSpPr>
          <p:cNvPr id="7" name="Text Placeholder 6">
            <a:extLst>
              <a:ext uri="{FF2B5EF4-FFF2-40B4-BE49-F238E27FC236}">
                <a16:creationId xmlns:a16="http://schemas.microsoft.com/office/drawing/2014/main" id="{928CFABD-BD70-E110-B075-80C2D2FD287C}"/>
              </a:ext>
            </a:extLst>
          </p:cNvPr>
          <p:cNvSpPr>
            <a:spLocks noGrp="1"/>
          </p:cNvSpPr>
          <p:nvPr>
            <p:ph type="body" sz="quarter" idx="11"/>
          </p:nvPr>
        </p:nvSpPr>
        <p:spPr/>
        <p:txBody>
          <a:bodyPr/>
          <a:lstStyle/>
          <a:p>
            <a:r>
              <a:rPr lang="en-US"/>
              <a:t>Operations    &amp; Financials</a:t>
            </a:r>
          </a:p>
        </p:txBody>
      </p:sp>
    </p:spTree>
    <p:extLst>
      <p:ext uri="{BB962C8B-B14F-4D97-AF65-F5344CB8AC3E}">
        <p14:creationId xmlns:p14="http://schemas.microsoft.com/office/powerpoint/2010/main" val="820604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a:extLst>
              <a:ext uri="{FF2B5EF4-FFF2-40B4-BE49-F238E27FC236}">
                <a16:creationId xmlns:a16="http://schemas.microsoft.com/office/drawing/2014/main" id="{B7DF218D-EBF2-72BC-4695-FD08034A836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33" t="-2695" r="31999" b="2695"/>
          <a:stretch/>
        </p:blipFill>
        <p:spPr bwMode="auto">
          <a:xfrm>
            <a:off x="5731825" y="1655918"/>
            <a:ext cx="3019557" cy="2693235"/>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C9CEC97-1FE5-74C5-5AF3-5FAEC3F0A051}"/>
              </a:ext>
            </a:extLst>
          </p:cNvPr>
          <p:cNvSpPr>
            <a:spLocks noGrp="1"/>
          </p:cNvSpPr>
          <p:nvPr>
            <p:ph type="title"/>
          </p:nvPr>
        </p:nvSpPr>
        <p:spPr/>
        <p:txBody>
          <a:bodyPr/>
          <a:lstStyle/>
          <a:p>
            <a:r>
              <a:rPr lang="en-US" sz="1800"/>
              <a:t>Supplier of Mission-Critical Premium Seamless Tubular Solutions</a:t>
            </a:r>
          </a:p>
        </p:txBody>
      </p:sp>
      <p:sp>
        <p:nvSpPr>
          <p:cNvPr id="25" name="Text Placeholder 24">
            <a:extLst>
              <a:ext uri="{FF2B5EF4-FFF2-40B4-BE49-F238E27FC236}">
                <a16:creationId xmlns:a16="http://schemas.microsoft.com/office/drawing/2014/main" id="{516EC40A-3773-28B2-DE0E-37197983D811}"/>
              </a:ext>
            </a:extLst>
          </p:cNvPr>
          <p:cNvSpPr>
            <a:spLocks noGrp="1"/>
          </p:cNvSpPr>
          <p:nvPr>
            <p:ph type="body" sz="quarter" idx="18"/>
          </p:nvPr>
        </p:nvSpPr>
        <p:spPr/>
        <p:txBody>
          <a:bodyPr/>
          <a:lstStyle/>
          <a:p>
            <a:r>
              <a:rPr lang="en-US"/>
              <a:t>Focused on high-end seamless tubular solution</a:t>
            </a:r>
          </a:p>
        </p:txBody>
      </p:sp>
      <p:sp>
        <p:nvSpPr>
          <p:cNvPr id="28" name="Text Placeholder 27">
            <a:extLst>
              <a:ext uri="{FF2B5EF4-FFF2-40B4-BE49-F238E27FC236}">
                <a16:creationId xmlns:a16="http://schemas.microsoft.com/office/drawing/2014/main" id="{9F664F57-ED2F-FB8A-5385-DA8F60EE9D25}"/>
              </a:ext>
            </a:extLst>
          </p:cNvPr>
          <p:cNvSpPr>
            <a:spLocks noGrp="1"/>
          </p:cNvSpPr>
          <p:nvPr>
            <p:ph type="body" sz="quarter" idx="21"/>
          </p:nvPr>
        </p:nvSpPr>
        <p:spPr/>
        <p:txBody>
          <a:bodyPr/>
          <a:lstStyle/>
          <a:p>
            <a:r>
              <a:rPr lang="en-US"/>
              <a:t>Highly demanding applications for our products</a:t>
            </a:r>
          </a:p>
        </p:txBody>
      </p:sp>
      <p:sp>
        <p:nvSpPr>
          <p:cNvPr id="16" name="Rounded Rectangle 4">
            <a:extLst>
              <a:ext uri="{FF2B5EF4-FFF2-40B4-BE49-F238E27FC236}">
                <a16:creationId xmlns:a16="http://schemas.microsoft.com/office/drawing/2014/main" id="{D0E22806-CAF5-47AF-9C2E-283EBBF7DDCF}"/>
              </a:ext>
            </a:extLst>
          </p:cNvPr>
          <p:cNvSpPr/>
          <p:nvPr/>
        </p:nvSpPr>
        <p:spPr>
          <a:xfrm>
            <a:off x="1436860" y="1648462"/>
            <a:ext cx="1370596" cy="2870198"/>
          </a:xfrm>
          <a:prstGeom prst="roundRect">
            <a:avLst>
              <a:gd name="adj" fmla="val 5038"/>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60000" rIns="0" bIns="0" numCol="1" spcCol="0" rtlCol="0" fromWordArt="0" anchor="t" anchorCtr="0" forceAA="0" compatLnSpc="0">
            <a:prstTxWarp prst="textNoShape">
              <a:avLst/>
            </a:prstTxWarp>
            <a:noAutofit/>
          </a:bodyPr>
          <a:lstStyle/>
          <a:p>
            <a:pPr>
              <a:lnSpc>
                <a:spcPct val="110000"/>
              </a:lnSpc>
            </a:pPr>
            <a:r>
              <a:rPr lang="en-GB" sz="1000" b="1">
                <a:solidFill>
                  <a:schemeClr val="bg1"/>
                </a:solidFill>
              </a:rPr>
              <a:t>Welded Tubes</a:t>
            </a:r>
          </a:p>
        </p:txBody>
      </p:sp>
      <p:sp>
        <p:nvSpPr>
          <p:cNvPr id="30" name="Rounded Rectangle 4">
            <a:extLst>
              <a:ext uri="{FF2B5EF4-FFF2-40B4-BE49-F238E27FC236}">
                <a16:creationId xmlns:a16="http://schemas.microsoft.com/office/drawing/2014/main" id="{4D46AAE9-01D4-819E-3FAE-789298FD52DA}"/>
              </a:ext>
            </a:extLst>
          </p:cNvPr>
          <p:cNvSpPr/>
          <p:nvPr/>
        </p:nvSpPr>
        <p:spPr>
          <a:xfrm>
            <a:off x="2958162" y="1648462"/>
            <a:ext cx="1370596" cy="2870198"/>
          </a:xfrm>
          <a:prstGeom prst="roundRect">
            <a:avLst>
              <a:gd name="adj" fmla="val 5038"/>
            </a:avLst>
          </a:prstGeom>
          <a:solidFill>
            <a:schemeClr val="accent2"/>
          </a:solidFill>
          <a:ln w="9525">
            <a:noFill/>
          </a:ln>
          <a:effectLst>
            <a:outerShdw blurRad="127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60000" rIns="0" bIns="0" numCol="1" spcCol="0" rtlCol="0" fromWordArt="0" anchor="t" anchorCtr="0" forceAA="0" compatLnSpc="0">
            <a:prstTxWarp prst="textNoShape">
              <a:avLst/>
            </a:prstTxWarp>
            <a:noAutofit/>
          </a:bodyPr>
          <a:lstStyle/>
          <a:p>
            <a:pPr>
              <a:lnSpc>
                <a:spcPct val="110000"/>
              </a:lnSpc>
            </a:pPr>
            <a:r>
              <a:rPr lang="en-GB" sz="1000" b="1">
                <a:solidFill>
                  <a:schemeClr val="bg1"/>
                </a:solidFill>
              </a:rPr>
              <a:t>Seamless Tubes</a:t>
            </a:r>
          </a:p>
        </p:txBody>
      </p:sp>
      <p:sp>
        <p:nvSpPr>
          <p:cNvPr id="47" name="Rectangle 46">
            <a:extLst>
              <a:ext uri="{FF2B5EF4-FFF2-40B4-BE49-F238E27FC236}">
                <a16:creationId xmlns:a16="http://schemas.microsoft.com/office/drawing/2014/main" id="{1CC8472E-6DA1-2FC9-79BB-48EF51F8479C}"/>
              </a:ext>
            </a:extLst>
          </p:cNvPr>
          <p:cNvSpPr/>
          <p:nvPr/>
        </p:nvSpPr>
        <p:spPr>
          <a:xfrm>
            <a:off x="442558" y="2209461"/>
            <a:ext cx="3884784" cy="914400"/>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48" name="Rectangle 47">
            <a:extLst>
              <a:ext uri="{FF2B5EF4-FFF2-40B4-BE49-F238E27FC236}">
                <a16:creationId xmlns:a16="http://schemas.microsoft.com/office/drawing/2014/main" id="{60C26FF7-9033-829B-A691-9407D9A2452E}"/>
              </a:ext>
            </a:extLst>
          </p:cNvPr>
          <p:cNvSpPr/>
          <p:nvPr/>
        </p:nvSpPr>
        <p:spPr>
          <a:xfrm>
            <a:off x="515194" y="2209491"/>
            <a:ext cx="770960" cy="91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t>Product Summary</a:t>
            </a:r>
          </a:p>
        </p:txBody>
      </p:sp>
      <p:sp>
        <p:nvSpPr>
          <p:cNvPr id="49" name="TextBox 48">
            <a:extLst>
              <a:ext uri="{FF2B5EF4-FFF2-40B4-BE49-F238E27FC236}">
                <a16:creationId xmlns:a16="http://schemas.microsoft.com/office/drawing/2014/main" id="{0B2CC5AD-1DD5-FAFE-A91C-98CCD103FF0A}"/>
              </a:ext>
            </a:extLst>
          </p:cNvPr>
          <p:cNvSpPr txBox="1"/>
          <p:nvPr/>
        </p:nvSpPr>
        <p:spPr>
          <a:xfrm>
            <a:off x="1436860" y="2209489"/>
            <a:ext cx="1370596" cy="914400"/>
          </a:xfrm>
          <a:prstGeom prst="rect">
            <a:avLst/>
          </a:prstGeom>
          <a:noFill/>
        </p:spPr>
        <p:txBody>
          <a:bodyPr wrap="square" rtlCol="0" anchor="ctr" anchorCtr="0">
            <a:noAutofit/>
          </a:bodyPr>
          <a:lstStyle/>
          <a:p>
            <a:pPr algn="ctr"/>
            <a:r>
              <a:rPr lang="en-GB" sz="800" b="1">
                <a:solidFill>
                  <a:schemeClr val="tx2"/>
                </a:solidFill>
              </a:rPr>
              <a:t>Lower-end </a:t>
            </a:r>
            <a:r>
              <a:rPr lang="en-GB" sz="800">
                <a:solidFill>
                  <a:schemeClr val="tx2"/>
                </a:solidFill>
              </a:rPr>
              <a:t>products made by rolling flat steel into a tube and welding the seam</a:t>
            </a:r>
          </a:p>
        </p:txBody>
      </p:sp>
      <p:sp>
        <p:nvSpPr>
          <p:cNvPr id="50" name="TextBox 49">
            <a:extLst>
              <a:ext uri="{FF2B5EF4-FFF2-40B4-BE49-F238E27FC236}">
                <a16:creationId xmlns:a16="http://schemas.microsoft.com/office/drawing/2014/main" id="{F13FC089-54EE-82E9-245F-866A296FD7BC}"/>
              </a:ext>
            </a:extLst>
          </p:cNvPr>
          <p:cNvSpPr txBox="1"/>
          <p:nvPr/>
        </p:nvSpPr>
        <p:spPr>
          <a:xfrm>
            <a:off x="2958162" y="2209491"/>
            <a:ext cx="1370596" cy="914400"/>
          </a:xfrm>
          <a:prstGeom prst="rect">
            <a:avLst/>
          </a:prstGeom>
          <a:noFill/>
        </p:spPr>
        <p:txBody>
          <a:bodyPr wrap="square" rtlCol="0" anchor="ctr" anchorCtr="0">
            <a:noAutofit/>
          </a:bodyPr>
          <a:lstStyle/>
          <a:p>
            <a:pPr algn="ctr"/>
            <a:r>
              <a:rPr lang="en-GB" sz="800" b="1">
                <a:solidFill>
                  <a:schemeClr val="tx2"/>
                </a:solidFill>
              </a:rPr>
              <a:t>Higher-end </a:t>
            </a:r>
            <a:r>
              <a:rPr lang="en-GB" sz="800">
                <a:solidFill>
                  <a:schemeClr val="tx2"/>
                </a:solidFill>
              </a:rPr>
              <a:t>products made by piercing and extending a round steel billet</a:t>
            </a:r>
            <a:endParaRPr lang="en-GB" sz="800" b="1">
              <a:solidFill>
                <a:schemeClr val="tx2"/>
              </a:solidFill>
            </a:endParaRPr>
          </a:p>
        </p:txBody>
      </p:sp>
      <p:sp>
        <p:nvSpPr>
          <p:cNvPr id="51" name="Rectangle 50">
            <a:extLst>
              <a:ext uri="{FF2B5EF4-FFF2-40B4-BE49-F238E27FC236}">
                <a16:creationId xmlns:a16="http://schemas.microsoft.com/office/drawing/2014/main" id="{0B7712D9-4C42-2D33-C43C-34333718ADE9}"/>
              </a:ext>
            </a:extLst>
          </p:cNvPr>
          <p:cNvSpPr/>
          <p:nvPr/>
        </p:nvSpPr>
        <p:spPr>
          <a:xfrm>
            <a:off x="442558" y="3415134"/>
            <a:ext cx="3884784" cy="914400"/>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2" name="Rectangle 51">
            <a:extLst>
              <a:ext uri="{FF2B5EF4-FFF2-40B4-BE49-F238E27FC236}">
                <a16:creationId xmlns:a16="http://schemas.microsoft.com/office/drawing/2014/main" id="{68EFC5B1-24FC-460F-FBFD-5E4D093C1EF8}"/>
              </a:ext>
            </a:extLst>
          </p:cNvPr>
          <p:cNvSpPr/>
          <p:nvPr/>
        </p:nvSpPr>
        <p:spPr>
          <a:xfrm>
            <a:off x="515279" y="3415165"/>
            <a:ext cx="770960" cy="91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a:t>Product Price and Complexity</a:t>
            </a:r>
          </a:p>
        </p:txBody>
      </p:sp>
      <p:sp>
        <p:nvSpPr>
          <p:cNvPr id="53" name="TextBox 52">
            <a:extLst>
              <a:ext uri="{FF2B5EF4-FFF2-40B4-BE49-F238E27FC236}">
                <a16:creationId xmlns:a16="http://schemas.microsoft.com/office/drawing/2014/main" id="{6041EAC8-6340-99AE-070C-7AC03EFBA06D}"/>
              </a:ext>
            </a:extLst>
          </p:cNvPr>
          <p:cNvSpPr txBox="1"/>
          <p:nvPr/>
        </p:nvSpPr>
        <p:spPr>
          <a:xfrm>
            <a:off x="1436860" y="3415165"/>
            <a:ext cx="1370596" cy="914400"/>
          </a:xfrm>
          <a:prstGeom prst="rect">
            <a:avLst/>
          </a:prstGeom>
          <a:noFill/>
        </p:spPr>
        <p:txBody>
          <a:bodyPr wrap="square" lIns="0" rIns="0" rtlCol="0" anchor="ctr" anchorCtr="0">
            <a:noAutofit/>
          </a:bodyPr>
          <a:lstStyle/>
          <a:p>
            <a:pPr algn="ctr"/>
            <a:r>
              <a:rPr lang="en-GB" sz="800" b="1">
                <a:solidFill>
                  <a:schemeClr val="tx2"/>
                </a:solidFill>
              </a:rPr>
              <a:t>Lower-cost</a:t>
            </a:r>
            <a:r>
              <a:rPr lang="en-GB" sz="800">
                <a:solidFill>
                  <a:schemeClr val="tx2"/>
                </a:solidFill>
              </a:rPr>
              <a:t> product with simpler manufacturing process but insufficient performance in demanding applications </a:t>
            </a:r>
          </a:p>
        </p:txBody>
      </p:sp>
      <p:sp>
        <p:nvSpPr>
          <p:cNvPr id="54" name="TextBox 53">
            <a:extLst>
              <a:ext uri="{FF2B5EF4-FFF2-40B4-BE49-F238E27FC236}">
                <a16:creationId xmlns:a16="http://schemas.microsoft.com/office/drawing/2014/main" id="{202499EE-49FB-F524-0232-D8AA20508CAE}"/>
              </a:ext>
            </a:extLst>
          </p:cNvPr>
          <p:cNvSpPr txBox="1"/>
          <p:nvPr/>
        </p:nvSpPr>
        <p:spPr>
          <a:xfrm>
            <a:off x="2958162" y="3415165"/>
            <a:ext cx="1370596" cy="942178"/>
          </a:xfrm>
          <a:prstGeom prst="rect">
            <a:avLst/>
          </a:prstGeom>
          <a:noFill/>
        </p:spPr>
        <p:txBody>
          <a:bodyPr wrap="square" rtlCol="0" anchor="ctr" anchorCtr="0">
            <a:noAutofit/>
          </a:bodyPr>
          <a:lstStyle/>
          <a:p>
            <a:pPr algn="ctr"/>
            <a:r>
              <a:rPr lang="en-GB" sz="800" b="1">
                <a:solidFill>
                  <a:schemeClr val="tx2"/>
                </a:solidFill>
              </a:rPr>
              <a:t>Higher-cost </a:t>
            </a:r>
            <a:r>
              <a:rPr lang="en-GB" sz="800">
                <a:solidFill>
                  <a:schemeClr val="tx2"/>
                </a:solidFill>
              </a:rPr>
              <a:t>product with complex manufacturing process, ability to perform in demanding applications</a:t>
            </a:r>
            <a:endParaRPr lang="en-GB" sz="800" b="1">
              <a:solidFill>
                <a:schemeClr val="accent2"/>
              </a:solidFill>
            </a:endParaRPr>
          </a:p>
        </p:txBody>
      </p:sp>
      <p:sp>
        <p:nvSpPr>
          <p:cNvPr id="55" name="Rectangle: Rounded Corners 54">
            <a:extLst>
              <a:ext uri="{FF2B5EF4-FFF2-40B4-BE49-F238E27FC236}">
                <a16:creationId xmlns:a16="http://schemas.microsoft.com/office/drawing/2014/main" id="{3FDB6E51-31A6-53A6-9311-FB029F8B0669}"/>
              </a:ext>
            </a:extLst>
          </p:cNvPr>
          <p:cNvSpPr/>
          <p:nvPr/>
        </p:nvSpPr>
        <p:spPr>
          <a:xfrm>
            <a:off x="2867893" y="1343331"/>
            <a:ext cx="1529087" cy="3251527"/>
          </a:xfrm>
          <a:prstGeom prst="roundRect">
            <a:avLst/>
          </a:prstGeom>
          <a:noFill/>
          <a:ln w="38100">
            <a:solidFill>
              <a:schemeClr val="accent6"/>
            </a:solidFill>
            <a:prstDash val="dash"/>
          </a:ln>
          <a:extLst>
            <a:ext uri="{909E8E84-426E-40DD-AFC4-6F175D3DCCD1}">
              <a14:hiddenFill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grpSp>
        <p:nvGrpSpPr>
          <p:cNvPr id="56" name="Group 55">
            <a:extLst>
              <a:ext uri="{FF2B5EF4-FFF2-40B4-BE49-F238E27FC236}">
                <a16:creationId xmlns:a16="http://schemas.microsoft.com/office/drawing/2014/main" id="{1B364C4A-6813-C0BE-B703-FC9DB2335F16}"/>
              </a:ext>
            </a:extLst>
          </p:cNvPr>
          <p:cNvGrpSpPr/>
          <p:nvPr/>
        </p:nvGrpSpPr>
        <p:grpSpPr>
          <a:xfrm>
            <a:off x="2518655" y="1582251"/>
            <a:ext cx="279601" cy="279601"/>
            <a:chOff x="-474071" y="999429"/>
            <a:chExt cx="329184" cy="329184"/>
          </a:xfrm>
        </p:grpSpPr>
        <p:sp>
          <p:nvSpPr>
            <p:cNvPr id="57" name="Oval 56">
              <a:extLst>
                <a:ext uri="{FF2B5EF4-FFF2-40B4-BE49-F238E27FC236}">
                  <a16:creationId xmlns:a16="http://schemas.microsoft.com/office/drawing/2014/main" id="{E80705AC-DDF0-A0F0-21D0-B2E4DC8ACE19}"/>
                </a:ext>
              </a:extLst>
            </p:cNvPr>
            <p:cNvSpPr/>
            <p:nvPr/>
          </p:nvSpPr>
          <p:spPr>
            <a:xfrm>
              <a:off x="-474071" y="999429"/>
              <a:ext cx="329184" cy="329184"/>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pic>
          <p:nvPicPr>
            <p:cNvPr id="58" name="Picture 2">
              <a:extLst>
                <a:ext uri="{FF2B5EF4-FFF2-40B4-BE49-F238E27FC236}">
                  <a16:creationId xmlns:a16="http://schemas.microsoft.com/office/drawing/2014/main" id="{E94BA09B-7205-E441-4A30-16287E8E5BEC}"/>
                </a:ext>
              </a:extLst>
            </p:cNvPr>
            <p:cNvPicPr>
              <a:picLocks noChangeAspect="1" noChangeArrowheads="1"/>
            </p:cNvPicPr>
            <p:nvPr/>
          </p:nvPicPr>
          <p:blipFill rotWithShape="1">
            <a:blip r:embed="rId4" cstate="print">
              <a:clrChange>
                <a:clrFrom>
                  <a:srgbClr val="F1F1F1"/>
                </a:clrFrom>
                <a:clrTo>
                  <a:srgbClr val="F1F1F1">
                    <a:alpha val="0"/>
                  </a:srgbClr>
                </a:clrTo>
              </a:clrChange>
              <a:extLst>
                <a:ext uri="{28A0092B-C50C-407E-A947-70E740481C1C}">
                  <a14:useLocalDpi xmlns:a14="http://schemas.microsoft.com/office/drawing/2010/main"/>
                </a:ext>
              </a:extLst>
            </a:blip>
            <a:srcRect/>
            <a:stretch/>
          </p:blipFill>
          <p:spPr bwMode="auto">
            <a:xfrm>
              <a:off x="-474071" y="999429"/>
              <a:ext cx="329184" cy="329184"/>
            </a:xfrm>
            <a:prstGeom prst="ellipse">
              <a:avLst/>
            </a:prstGeom>
            <a:solidFill>
              <a:srgbClr val="FFFFFF"/>
            </a:solidFill>
            <a:ln w="38100" cap="flat" cmpd="sng" algn="ctr">
              <a:noFill/>
              <a:prstDash val="solid"/>
            </a:ln>
            <a:effectLst/>
            <a:extLst>
              <a:ext uri="{91240B29-F687-4F45-9708-019B960494DF}">
                <a14:hiddenLine xmlns:a14="http://schemas.microsoft.com/office/drawing/2010/main" w="38100" cap="flat" cmpd="sng" algn="ctr">
                  <a:gradFill flip="none" rotWithShape="1">
                    <a:gsLst>
                      <a:gs pos="0">
                        <a:srgbClr val="172983"/>
                      </a:gs>
                      <a:gs pos="100000">
                        <a:srgbClr val="4962DF"/>
                      </a:gs>
                    </a:gsLst>
                    <a:lin ang="2700000" scaled="1"/>
                    <a:tileRect/>
                  </a:gradFill>
                  <a:prstDash val="solid"/>
                </a14:hiddenLine>
              </a:ext>
            </a:extLst>
          </p:spPr>
        </p:pic>
      </p:grpSp>
      <p:pic>
        <p:nvPicPr>
          <p:cNvPr id="59" name="Image 6">
            <a:extLst>
              <a:ext uri="{FF2B5EF4-FFF2-40B4-BE49-F238E27FC236}">
                <a16:creationId xmlns:a16="http://schemas.microsoft.com/office/drawing/2014/main" id="{1DAA0C40-4F3C-31E2-C102-0B98CF79A89B}"/>
              </a:ext>
            </a:extLst>
          </p:cNvPr>
          <p:cNvPicPr>
            <a:picLocks/>
          </p:cNvPicPr>
          <p:nvPr/>
        </p:nvPicPr>
        <p:blipFill rotWithShape="1">
          <a:blip r:embed="rId5" cstate="print">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4055560" y="1582249"/>
            <a:ext cx="283464" cy="283464"/>
          </a:xfrm>
          <a:prstGeom prst="ellipse">
            <a:avLst/>
          </a:prstGeom>
          <a:solidFill>
            <a:srgbClr val="FFFFFF"/>
          </a:solidFill>
          <a:ln w="12700" cap="flat" cmpd="sng" algn="ctr">
            <a:solidFill>
              <a:schemeClr val="accent2"/>
            </a:solidFill>
            <a:prstDash val="solid"/>
          </a:ln>
          <a:effectLst/>
        </p:spPr>
      </p:pic>
      <p:sp>
        <p:nvSpPr>
          <p:cNvPr id="3" name="TextBox 2">
            <a:extLst>
              <a:ext uri="{FF2B5EF4-FFF2-40B4-BE49-F238E27FC236}">
                <a16:creationId xmlns:a16="http://schemas.microsoft.com/office/drawing/2014/main" id="{FE0BAC41-F8DC-4773-0AEC-CFA9ECEF6348}"/>
              </a:ext>
            </a:extLst>
          </p:cNvPr>
          <p:cNvSpPr txBox="1"/>
          <p:nvPr/>
        </p:nvSpPr>
        <p:spPr>
          <a:xfrm>
            <a:off x="3052272" y="1343331"/>
            <a:ext cx="1182376" cy="261610"/>
          </a:xfrm>
          <a:prstGeom prst="rect">
            <a:avLst/>
          </a:prstGeom>
        </p:spPr>
        <p:txBody>
          <a:bodyPr wrap="none" lIns="45720" rIns="45720" rtlCol="0" anchor="t" anchorCtr="0">
            <a:spAutoFit/>
          </a:bodyPr>
          <a:lstStyle>
            <a:defPPr>
              <a:defRPr lang="fr-FR"/>
            </a:defPPr>
            <a:lvl1pPr algn="ctr">
              <a:defRPr sz="1050" b="1">
                <a:solidFill>
                  <a:schemeClr val="tx2"/>
                </a:solidFill>
              </a:defRPr>
            </a:lvl1pPr>
          </a:lstStyle>
          <a:p>
            <a:r>
              <a:rPr lang="en-US" sz="1100"/>
              <a:t>Vallourec Focus</a:t>
            </a:r>
            <a:endParaRPr lang="en-US" sz="1100" i="1"/>
          </a:p>
        </p:txBody>
      </p:sp>
      <p:grpSp>
        <p:nvGrpSpPr>
          <p:cNvPr id="4" name="Group 3">
            <a:extLst>
              <a:ext uri="{FF2B5EF4-FFF2-40B4-BE49-F238E27FC236}">
                <a16:creationId xmlns:a16="http://schemas.microsoft.com/office/drawing/2014/main" id="{1D4A3995-4E5F-BC2E-D14D-C1626BAEBAB5}"/>
              </a:ext>
            </a:extLst>
          </p:cNvPr>
          <p:cNvGrpSpPr/>
          <p:nvPr/>
        </p:nvGrpSpPr>
        <p:grpSpPr>
          <a:xfrm>
            <a:off x="5444178" y="1965328"/>
            <a:ext cx="2862072" cy="2404872"/>
            <a:chOff x="806436" y="1770565"/>
            <a:chExt cx="2862072" cy="2404872"/>
          </a:xfrm>
        </p:grpSpPr>
        <p:sp>
          <p:nvSpPr>
            <p:cNvPr id="5" name="Arc 4">
              <a:extLst>
                <a:ext uri="{FF2B5EF4-FFF2-40B4-BE49-F238E27FC236}">
                  <a16:creationId xmlns:a16="http://schemas.microsoft.com/office/drawing/2014/main" id="{B6016232-4D4C-0F66-38D2-4D4873CDB979}"/>
                </a:ext>
              </a:extLst>
            </p:cNvPr>
            <p:cNvSpPr/>
            <p:nvPr/>
          </p:nvSpPr>
          <p:spPr>
            <a:xfrm rot="10800000">
              <a:off x="806436" y="3472702"/>
              <a:ext cx="914400" cy="702735"/>
            </a:xfrm>
            <a:prstGeom prst="arc">
              <a:avLst>
                <a:gd name="adj1" fmla="val 16200000"/>
                <a:gd name="adj2" fmla="val 110860"/>
              </a:avLst>
            </a:prstGeom>
            <a:ln w="381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A3ABD8D6-2011-B87B-72CE-7903BA3857A5}"/>
                </a:ext>
              </a:extLst>
            </p:cNvPr>
            <p:cNvCxnSpPr>
              <a:cxnSpLocks/>
            </p:cNvCxnSpPr>
            <p:nvPr/>
          </p:nvCxnSpPr>
          <p:spPr>
            <a:xfrm>
              <a:off x="806436" y="1770565"/>
              <a:ext cx="0" cy="2053504"/>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8607D68-C8EA-35DC-62AD-5ADEF5B0648C}"/>
                </a:ext>
              </a:extLst>
            </p:cNvPr>
            <p:cNvCxnSpPr>
              <a:cxnSpLocks/>
            </p:cNvCxnSpPr>
            <p:nvPr/>
          </p:nvCxnSpPr>
          <p:spPr>
            <a:xfrm flipH="1">
              <a:off x="1263636" y="4175437"/>
              <a:ext cx="2404872"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8" name="TextBox 7">
            <a:extLst>
              <a:ext uri="{FF2B5EF4-FFF2-40B4-BE49-F238E27FC236}">
                <a16:creationId xmlns:a16="http://schemas.microsoft.com/office/drawing/2014/main" id="{BD4F0FCF-2B5D-53C9-3CCA-97CB5F86346B}"/>
              </a:ext>
            </a:extLst>
          </p:cNvPr>
          <p:cNvSpPr txBox="1"/>
          <p:nvPr/>
        </p:nvSpPr>
        <p:spPr>
          <a:xfrm>
            <a:off x="6559130" y="1302986"/>
            <a:ext cx="1256113" cy="538609"/>
          </a:xfrm>
          <a:prstGeom prst="rect">
            <a:avLst/>
          </a:prstGeom>
        </p:spPr>
        <p:txBody>
          <a:bodyPr wrap="none" lIns="45720" rIns="45720" rtlCol="0" anchor="t" anchorCtr="0">
            <a:spAutoFit/>
          </a:bodyPr>
          <a:lstStyle/>
          <a:p>
            <a:pPr algn="ctr"/>
            <a:r>
              <a:rPr lang="en-US" sz="1000" b="1">
                <a:solidFill>
                  <a:schemeClr val="tx2"/>
                </a:solidFill>
              </a:rPr>
              <a:t>Commercial Airline</a:t>
            </a:r>
          </a:p>
          <a:p>
            <a:pPr algn="ctr"/>
            <a:r>
              <a:rPr lang="en-US" sz="1000" b="1">
                <a:solidFill>
                  <a:schemeClr val="tx2"/>
                </a:solidFill>
              </a:rPr>
              <a:t>Cruising Altitude</a:t>
            </a:r>
          </a:p>
          <a:p>
            <a:pPr algn="ctr"/>
            <a:r>
              <a:rPr lang="en-US" sz="800" b="1">
                <a:solidFill>
                  <a:schemeClr val="tx2"/>
                </a:solidFill>
              </a:rPr>
              <a:t>~</a:t>
            </a:r>
            <a:r>
              <a:rPr lang="en-US" sz="800" b="1" i="1">
                <a:solidFill>
                  <a:schemeClr val="tx2"/>
                </a:solidFill>
              </a:rPr>
              <a:t>10,000 meters</a:t>
            </a:r>
            <a:endParaRPr lang="en-US" sz="900" b="1">
              <a:solidFill>
                <a:schemeClr val="tx2"/>
              </a:solidFill>
            </a:endParaRPr>
          </a:p>
        </p:txBody>
      </p:sp>
      <p:sp>
        <p:nvSpPr>
          <p:cNvPr id="9" name="TextBox 8">
            <a:extLst>
              <a:ext uri="{FF2B5EF4-FFF2-40B4-BE49-F238E27FC236}">
                <a16:creationId xmlns:a16="http://schemas.microsoft.com/office/drawing/2014/main" id="{D605F61B-895D-6A59-034D-7DA10CE0CFA3}"/>
              </a:ext>
            </a:extLst>
          </p:cNvPr>
          <p:cNvSpPr txBox="1"/>
          <p:nvPr/>
        </p:nvSpPr>
        <p:spPr>
          <a:xfrm>
            <a:off x="6700194" y="1906237"/>
            <a:ext cx="973985" cy="369332"/>
          </a:xfrm>
          <a:prstGeom prst="rect">
            <a:avLst/>
          </a:prstGeom>
        </p:spPr>
        <p:txBody>
          <a:bodyPr wrap="none" lIns="45720" rIns="45720" rtlCol="0" anchor="t" anchorCtr="0">
            <a:spAutoFit/>
          </a:bodyPr>
          <a:lstStyle>
            <a:defPPr>
              <a:defRPr lang="fr-FR"/>
            </a:defPPr>
            <a:lvl1pPr algn="ctr">
              <a:defRPr sz="1050" b="1">
                <a:solidFill>
                  <a:schemeClr val="tx2"/>
                </a:solidFill>
              </a:defRPr>
            </a:lvl1pPr>
          </a:lstStyle>
          <a:p>
            <a:r>
              <a:rPr lang="en-US" sz="1000"/>
              <a:t>Mount Everest</a:t>
            </a:r>
          </a:p>
          <a:p>
            <a:r>
              <a:rPr lang="en-US" sz="800" i="1"/>
              <a:t>8,849 meters</a:t>
            </a:r>
          </a:p>
        </p:txBody>
      </p:sp>
      <p:sp>
        <p:nvSpPr>
          <p:cNvPr id="10" name="TextBox 9">
            <a:extLst>
              <a:ext uri="{FF2B5EF4-FFF2-40B4-BE49-F238E27FC236}">
                <a16:creationId xmlns:a16="http://schemas.microsoft.com/office/drawing/2014/main" id="{C5A4960B-9275-CF6C-A947-449F8F4E0257}"/>
              </a:ext>
            </a:extLst>
          </p:cNvPr>
          <p:cNvSpPr txBox="1"/>
          <p:nvPr/>
        </p:nvSpPr>
        <p:spPr>
          <a:xfrm>
            <a:off x="4910698" y="1302986"/>
            <a:ext cx="1066959" cy="523220"/>
          </a:xfrm>
          <a:prstGeom prst="rect">
            <a:avLst/>
          </a:prstGeom>
        </p:spPr>
        <p:txBody>
          <a:bodyPr wrap="none" lIns="45720" rIns="45720" rtlCol="0" anchor="t" anchorCtr="0">
            <a:spAutoFit/>
          </a:bodyPr>
          <a:lstStyle/>
          <a:p>
            <a:pPr algn="ctr"/>
            <a:r>
              <a:rPr lang="en-US" sz="1000" b="1">
                <a:solidFill>
                  <a:schemeClr val="tx2"/>
                </a:solidFill>
              </a:rPr>
              <a:t>Vertical Well</a:t>
            </a:r>
          </a:p>
          <a:p>
            <a:pPr algn="ctr"/>
            <a:r>
              <a:rPr lang="en-US" sz="1000" b="1">
                <a:solidFill>
                  <a:schemeClr val="tx2"/>
                </a:solidFill>
              </a:rPr>
              <a:t>Section</a:t>
            </a:r>
          </a:p>
          <a:p>
            <a:pPr algn="ctr"/>
            <a:r>
              <a:rPr lang="en-US" sz="800" b="1" i="1">
                <a:solidFill>
                  <a:schemeClr val="tx2"/>
                </a:solidFill>
              </a:rPr>
              <a:t>Up to 10,000 meters</a:t>
            </a:r>
            <a:endParaRPr lang="en-US" sz="900" b="1">
              <a:solidFill>
                <a:schemeClr val="tx2"/>
              </a:solidFill>
            </a:endParaRPr>
          </a:p>
        </p:txBody>
      </p:sp>
      <p:sp>
        <p:nvSpPr>
          <p:cNvPr id="11" name="TextBox 10">
            <a:extLst>
              <a:ext uri="{FF2B5EF4-FFF2-40B4-BE49-F238E27FC236}">
                <a16:creationId xmlns:a16="http://schemas.microsoft.com/office/drawing/2014/main" id="{DCECE495-901D-DD32-C860-2A212332FA92}"/>
              </a:ext>
            </a:extLst>
          </p:cNvPr>
          <p:cNvSpPr txBox="1"/>
          <p:nvPr/>
        </p:nvSpPr>
        <p:spPr>
          <a:xfrm>
            <a:off x="6653707" y="4389589"/>
            <a:ext cx="1066959" cy="523220"/>
          </a:xfrm>
          <a:prstGeom prst="rect">
            <a:avLst/>
          </a:prstGeom>
        </p:spPr>
        <p:txBody>
          <a:bodyPr wrap="none" lIns="45720" rIns="45720" rtlCol="0" anchor="t" anchorCtr="0">
            <a:spAutoFit/>
          </a:bodyPr>
          <a:lstStyle/>
          <a:p>
            <a:pPr algn="ctr"/>
            <a:r>
              <a:rPr lang="en-US" sz="1000" b="1">
                <a:solidFill>
                  <a:schemeClr val="tx2"/>
                </a:solidFill>
              </a:rPr>
              <a:t>Horizontal Well</a:t>
            </a:r>
          </a:p>
          <a:p>
            <a:pPr algn="ctr"/>
            <a:r>
              <a:rPr lang="en-US" sz="1000" b="1">
                <a:solidFill>
                  <a:schemeClr val="tx2"/>
                </a:solidFill>
              </a:rPr>
              <a:t>Section</a:t>
            </a:r>
          </a:p>
          <a:p>
            <a:pPr algn="ctr"/>
            <a:r>
              <a:rPr lang="en-US" sz="800" b="1" i="1">
                <a:solidFill>
                  <a:schemeClr val="tx2"/>
                </a:solidFill>
              </a:rPr>
              <a:t>Up to 10,000 meters</a:t>
            </a:r>
            <a:endParaRPr lang="en-US" sz="900" b="1">
              <a:solidFill>
                <a:schemeClr val="tx2"/>
              </a:solidFill>
            </a:endParaRPr>
          </a:p>
        </p:txBody>
      </p:sp>
      <p:sp>
        <p:nvSpPr>
          <p:cNvPr id="12" name="TextBox 11">
            <a:extLst>
              <a:ext uri="{FF2B5EF4-FFF2-40B4-BE49-F238E27FC236}">
                <a16:creationId xmlns:a16="http://schemas.microsoft.com/office/drawing/2014/main" id="{CF3AA986-0F2E-450A-4D5E-8CA6413207E4}"/>
              </a:ext>
            </a:extLst>
          </p:cNvPr>
          <p:cNvSpPr txBox="1"/>
          <p:nvPr/>
        </p:nvSpPr>
        <p:spPr>
          <a:xfrm>
            <a:off x="5737080" y="2307725"/>
            <a:ext cx="914400" cy="914400"/>
          </a:xfrm>
          <a:prstGeom prst="rect">
            <a:avLst/>
          </a:prstGeom>
        </p:spPr>
        <p:txBody>
          <a:bodyPr wrap="none" lIns="45720" rIns="45720" rtlCol="0" anchor="ctr" anchorCtr="0">
            <a:noAutofit/>
          </a:bodyPr>
          <a:lstStyle/>
          <a:p>
            <a:pPr algn="ctr"/>
            <a:r>
              <a:rPr lang="en-US" sz="1100" b="1">
                <a:solidFill>
                  <a:schemeClr val="accent2"/>
                </a:solidFill>
              </a:rPr>
              <a:t>Vallourec</a:t>
            </a:r>
          </a:p>
          <a:p>
            <a:pPr algn="ctr"/>
            <a:r>
              <a:rPr lang="en-US" sz="1100" b="1">
                <a:solidFill>
                  <a:schemeClr val="accent2"/>
                </a:solidFill>
              </a:rPr>
              <a:t>Tubes</a:t>
            </a:r>
          </a:p>
        </p:txBody>
      </p:sp>
      <p:cxnSp>
        <p:nvCxnSpPr>
          <p:cNvPr id="13" name="Straight Arrow Connector 12">
            <a:extLst>
              <a:ext uri="{FF2B5EF4-FFF2-40B4-BE49-F238E27FC236}">
                <a16:creationId xmlns:a16="http://schemas.microsoft.com/office/drawing/2014/main" id="{34556256-3FB6-0365-DA1D-03C7A6C7E22A}"/>
              </a:ext>
            </a:extLst>
          </p:cNvPr>
          <p:cNvCxnSpPr>
            <a:cxnSpLocks/>
          </p:cNvCxnSpPr>
          <p:nvPr/>
        </p:nvCxnSpPr>
        <p:spPr>
          <a:xfrm>
            <a:off x="6194280" y="2992080"/>
            <a:ext cx="0" cy="1178829"/>
          </a:xfrm>
          <a:prstGeom prst="straightConnector1">
            <a:avLst/>
          </a:prstGeom>
          <a:ln w="12700">
            <a:solidFill>
              <a:schemeClr val="accent2"/>
            </a:solidFill>
            <a:tailEnd type="triangle"/>
          </a:ln>
          <a:effectLst>
            <a:outerShdw blurRad="63500" sx="102000" sy="1020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2680B37-1599-13CF-768C-AEF604985D33}"/>
              </a:ext>
            </a:extLst>
          </p:cNvPr>
          <p:cNvCxnSpPr>
            <a:cxnSpLocks/>
          </p:cNvCxnSpPr>
          <p:nvPr/>
        </p:nvCxnSpPr>
        <p:spPr>
          <a:xfrm flipH="1">
            <a:off x="5548099" y="2791234"/>
            <a:ext cx="353279" cy="0"/>
          </a:xfrm>
          <a:prstGeom prst="straightConnector1">
            <a:avLst/>
          </a:prstGeom>
          <a:ln w="12700">
            <a:solidFill>
              <a:schemeClr val="accent2"/>
            </a:solidFill>
            <a:tailEnd type="triangle"/>
          </a:ln>
          <a:effectLst>
            <a:outerShdw blurRad="63500" sx="102000" sy="102000" algn="ctr" rotWithShape="0">
              <a:schemeClr val="bg1">
                <a:alpha val="40000"/>
              </a:schemeClr>
            </a:outerShdw>
          </a:effectLst>
        </p:spPr>
        <p:style>
          <a:lnRef idx="1">
            <a:schemeClr val="accent1"/>
          </a:lnRef>
          <a:fillRef idx="0">
            <a:schemeClr val="accent1"/>
          </a:fillRef>
          <a:effectRef idx="0">
            <a:schemeClr val="accent1"/>
          </a:effectRef>
          <a:fontRef idx="minor">
            <a:schemeClr val="tx1"/>
          </a:fontRef>
        </p:style>
      </p:cxnSp>
      <p:pic>
        <p:nvPicPr>
          <p:cNvPr id="15" name="Graphic 14" descr="Take Off with solid fill">
            <a:extLst>
              <a:ext uri="{FF2B5EF4-FFF2-40B4-BE49-F238E27FC236}">
                <a16:creationId xmlns:a16="http://schemas.microsoft.com/office/drawing/2014/main" id="{0282020B-D759-9BDE-E2DD-31A7FFFDC62C}"/>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b="39414"/>
          <a:stretch/>
        </p:blipFill>
        <p:spPr>
          <a:xfrm flipH="1">
            <a:off x="6999609" y="1778171"/>
            <a:ext cx="375155" cy="195828"/>
          </a:xfrm>
          <a:prstGeom prst="rect">
            <a:avLst/>
          </a:prstGeom>
        </p:spPr>
      </p:pic>
    </p:spTree>
    <p:extLst>
      <p:ext uri="{BB962C8B-B14F-4D97-AF65-F5344CB8AC3E}">
        <p14:creationId xmlns:p14="http://schemas.microsoft.com/office/powerpoint/2010/main" val="19935300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 name="Rectangle 1473">
            <a:extLst>
              <a:ext uri="{FF2B5EF4-FFF2-40B4-BE49-F238E27FC236}">
                <a16:creationId xmlns:a16="http://schemas.microsoft.com/office/drawing/2014/main" id="{55984EA4-B278-F1E2-E2D9-1812D1C07966}"/>
              </a:ext>
            </a:extLst>
          </p:cNvPr>
          <p:cNvSpPr/>
          <p:nvPr/>
        </p:nvSpPr>
        <p:spPr>
          <a:xfrm>
            <a:off x="396240" y="1483253"/>
            <a:ext cx="2876832" cy="836638"/>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a:solidFill>
                <a:schemeClr val="tx2"/>
              </a:solidFill>
            </a:endParaRPr>
          </a:p>
        </p:txBody>
      </p:sp>
      <p:sp>
        <p:nvSpPr>
          <p:cNvPr id="1052" name="Rectangle 1051">
            <a:extLst>
              <a:ext uri="{FF2B5EF4-FFF2-40B4-BE49-F238E27FC236}">
                <a16:creationId xmlns:a16="http://schemas.microsoft.com/office/drawing/2014/main" id="{A9B22153-1521-9792-E09B-30A5C83E6025}"/>
              </a:ext>
            </a:extLst>
          </p:cNvPr>
          <p:cNvSpPr/>
          <p:nvPr/>
        </p:nvSpPr>
        <p:spPr>
          <a:xfrm>
            <a:off x="396240" y="2350839"/>
            <a:ext cx="2876832" cy="1561595"/>
          </a:xfrm>
          <a:prstGeom prst="rect">
            <a:avLst/>
          </a:prstGeom>
          <a:solidFill>
            <a:srgbClr val="EDF8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a:solidFill>
                <a:schemeClr val="tx2"/>
              </a:solidFill>
            </a:endParaRPr>
          </a:p>
        </p:txBody>
      </p:sp>
      <p:sp>
        <p:nvSpPr>
          <p:cNvPr id="2" name="Title 1">
            <a:extLst>
              <a:ext uri="{FF2B5EF4-FFF2-40B4-BE49-F238E27FC236}">
                <a16:creationId xmlns:a16="http://schemas.microsoft.com/office/drawing/2014/main" id="{C3C3CFF6-A98A-CD6B-655A-9D981A8BAF8E}"/>
              </a:ext>
            </a:extLst>
          </p:cNvPr>
          <p:cNvSpPr>
            <a:spLocks noGrp="1"/>
          </p:cNvSpPr>
          <p:nvPr>
            <p:ph type="title"/>
          </p:nvPr>
        </p:nvSpPr>
        <p:spPr/>
        <p:txBody>
          <a:bodyPr/>
          <a:lstStyle/>
          <a:p>
            <a:r>
              <a:rPr lang="en-GB"/>
              <a:t>The Seamless Tube Production Process</a:t>
            </a:r>
            <a:endParaRPr lang="en-US"/>
          </a:p>
        </p:txBody>
      </p:sp>
      <p:sp>
        <p:nvSpPr>
          <p:cNvPr id="18" name="Rounded Rectangle 4">
            <a:extLst>
              <a:ext uri="{FF2B5EF4-FFF2-40B4-BE49-F238E27FC236}">
                <a16:creationId xmlns:a16="http://schemas.microsoft.com/office/drawing/2014/main" id="{7F04F4FD-568A-8019-4E1C-4650F0C40C00}"/>
              </a:ext>
            </a:extLst>
          </p:cNvPr>
          <p:cNvSpPr/>
          <p:nvPr>
            <p:custDataLst>
              <p:tags r:id="rId2"/>
            </p:custDataLst>
          </p:nvPr>
        </p:nvSpPr>
        <p:spPr>
          <a:xfrm>
            <a:off x="2784596" y="4259217"/>
            <a:ext cx="3574808" cy="324110"/>
          </a:xfrm>
          <a:prstGeom prst="roundRect">
            <a:avLst>
              <a:gd name="adj" fmla="val 0"/>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0">
            <a:prstTxWarp prst="textNoShape">
              <a:avLst/>
            </a:prstTxWarp>
            <a:spAutoFit/>
          </a:bodyPr>
          <a:lstStyle/>
          <a:p>
            <a:pPr marL="0" lvl="1" algn="ctr">
              <a:lnSpc>
                <a:spcPct val="110000"/>
              </a:lnSpc>
              <a:spcBef>
                <a:spcPts val="600"/>
              </a:spcBef>
              <a:spcAft>
                <a:spcPct val="0"/>
              </a:spcAft>
              <a:buClr>
                <a:schemeClr val="accent1">
                  <a:lumMod val="100000"/>
                </a:schemeClr>
              </a:buClr>
              <a:buSzPct val="92000"/>
            </a:pPr>
            <a:r>
              <a:rPr lang="en-GB" sz="1200" b="1">
                <a:solidFill>
                  <a:schemeClr val="accent3"/>
                </a:solidFill>
                <a:latin typeface="Arial" panose="020B0604020202020204" pitchFamily="34" charset="0"/>
              </a:rPr>
              <a:t>Increasing Value-Add</a:t>
            </a:r>
          </a:p>
        </p:txBody>
      </p:sp>
      <p:sp>
        <p:nvSpPr>
          <p:cNvPr id="22" name="Rounded Rectangle 4">
            <a:extLst>
              <a:ext uri="{FF2B5EF4-FFF2-40B4-BE49-F238E27FC236}">
                <a16:creationId xmlns:a16="http://schemas.microsoft.com/office/drawing/2014/main" id="{40FF6A4D-1949-3B2C-6DC9-2A700C2C428A}"/>
              </a:ext>
            </a:extLst>
          </p:cNvPr>
          <p:cNvSpPr/>
          <p:nvPr>
            <p:custDataLst>
              <p:tags r:id="rId3"/>
            </p:custDataLst>
          </p:nvPr>
        </p:nvSpPr>
        <p:spPr>
          <a:xfrm>
            <a:off x="403486" y="3515405"/>
            <a:ext cx="2869587" cy="264478"/>
          </a:xfrm>
          <a:prstGeom prst="roundRect">
            <a:avLst>
              <a:gd name="adj" fmla="val 0"/>
            </a:avLst>
          </a:prstGeom>
          <a:noFill/>
          <a:ln w="9525">
            <a:noFill/>
          </a:ln>
          <a:effectLst>
            <a:outerShdw blurRad="127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0">
            <a:prstTxWarp prst="textNoShape">
              <a:avLst/>
            </a:prstTxWarp>
            <a:spAutoFit/>
          </a:bodyPr>
          <a:lstStyle/>
          <a:p>
            <a:pPr marL="0" lvl="1" algn="ctr">
              <a:lnSpc>
                <a:spcPct val="110000"/>
              </a:lnSpc>
              <a:spcAft>
                <a:spcPct val="0"/>
              </a:spcAft>
              <a:buClr>
                <a:schemeClr val="accent1">
                  <a:lumMod val="100000"/>
                </a:schemeClr>
              </a:buClr>
              <a:buSzPct val="92000"/>
            </a:pPr>
            <a:r>
              <a:rPr lang="en-GB" sz="800" i="1">
                <a:solidFill>
                  <a:schemeClr val="tx1"/>
                </a:solidFill>
                <a:latin typeface="Arial" panose="020B0604020202020204" pitchFamily="34" charset="0"/>
              </a:rPr>
              <a:t>Internally-sourced iron ore &amp; green charcoal</a:t>
            </a:r>
          </a:p>
        </p:txBody>
      </p:sp>
      <p:sp>
        <p:nvSpPr>
          <p:cNvPr id="41" name="ObjectTitle">
            <a:extLst>
              <a:ext uri="{FF2B5EF4-FFF2-40B4-BE49-F238E27FC236}">
                <a16:creationId xmlns:a16="http://schemas.microsoft.com/office/drawing/2014/main" id="{39A26081-45D3-8C42-AA80-AD2417819CAF}"/>
              </a:ext>
            </a:extLst>
          </p:cNvPr>
          <p:cNvSpPr/>
          <p:nvPr>
            <p:custDataLst>
              <p:tags r:id="rId4"/>
            </p:custDataLst>
          </p:nvPr>
        </p:nvSpPr>
        <p:spPr>
          <a:xfrm>
            <a:off x="403485" y="1218060"/>
            <a:ext cx="2869588" cy="246888"/>
          </a:xfrm>
          <a:prstGeom prst="rect">
            <a:avLst/>
          </a:prstGeom>
          <a:solidFill>
            <a:schemeClr val="bg1"/>
          </a:solidFill>
          <a:ln w="9525" cap="flat" cmpd="sng" algn="ctr">
            <a:noFill/>
            <a:prstDash val="solid"/>
          </a:ln>
          <a:effectLst>
            <a:outerShdw dist="12700" dir="5400000" algn="t"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27432" numCol="1" spcCol="0" rtlCol="0" fromWordArt="0" anchor="ctr" anchorCtr="0" forceAA="0" compatLnSpc="0">
            <a:prstTxWarp prst="textNoShape">
              <a:avLst/>
            </a:prstTxWarp>
            <a:noAutofit/>
          </a:bodyPr>
          <a:lstStyle/>
          <a:p>
            <a:pPr algn="ctr"/>
            <a:r>
              <a:rPr lang="en-GB" sz="1200" b="1">
                <a:solidFill>
                  <a:schemeClr val="accent1"/>
                </a:solidFill>
                <a:latin typeface="Arial" panose="020B0604020202020204" pitchFamily="34" charset="0"/>
              </a:rPr>
              <a:t>Raw Material Sourcing</a:t>
            </a:r>
          </a:p>
        </p:txBody>
      </p:sp>
      <p:sp>
        <p:nvSpPr>
          <p:cNvPr id="52" name="Rounded Rectangle 4">
            <a:extLst>
              <a:ext uri="{FF2B5EF4-FFF2-40B4-BE49-F238E27FC236}">
                <a16:creationId xmlns:a16="http://schemas.microsoft.com/office/drawing/2014/main" id="{F140F698-AFD7-DFE6-B350-4E528D2F6B75}"/>
              </a:ext>
            </a:extLst>
          </p:cNvPr>
          <p:cNvSpPr/>
          <p:nvPr>
            <p:custDataLst>
              <p:tags r:id="rId5"/>
            </p:custDataLst>
          </p:nvPr>
        </p:nvSpPr>
        <p:spPr>
          <a:xfrm>
            <a:off x="910082" y="1465675"/>
            <a:ext cx="1951647" cy="394192"/>
          </a:xfrm>
          <a:prstGeom prst="roundRect">
            <a:avLst>
              <a:gd name="adj" fmla="val 0"/>
            </a:avLst>
          </a:prstGeom>
          <a:noFill/>
          <a:ln w="9525">
            <a:noFill/>
          </a:ln>
          <a:effectLst>
            <a:outerShdw blurRad="127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0">
            <a:prstTxWarp prst="textNoShape">
              <a:avLst/>
            </a:prstTxWarp>
            <a:spAutoFit/>
          </a:bodyPr>
          <a:lstStyle/>
          <a:p>
            <a:pPr marL="0" lvl="1" algn="ctr">
              <a:lnSpc>
                <a:spcPct val="110000"/>
              </a:lnSpc>
              <a:spcAft>
                <a:spcPct val="0"/>
              </a:spcAft>
              <a:buClr>
                <a:schemeClr val="accent1">
                  <a:lumMod val="100000"/>
                </a:schemeClr>
              </a:buClr>
              <a:buSzPct val="92000"/>
            </a:pPr>
            <a:r>
              <a:rPr lang="en-GB" sz="800" i="1">
                <a:solidFill>
                  <a:schemeClr val="tx1"/>
                </a:solidFill>
                <a:latin typeface="Arial" panose="020B0604020202020204" pitchFamily="34" charset="0"/>
              </a:rPr>
              <a:t>Externally sourced scrap</a:t>
            </a:r>
          </a:p>
          <a:p>
            <a:pPr marL="0" lvl="1" algn="ctr">
              <a:lnSpc>
                <a:spcPct val="110000"/>
              </a:lnSpc>
              <a:spcAft>
                <a:spcPct val="0"/>
              </a:spcAft>
              <a:buClr>
                <a:schemeClr val="accent1">
                  <a:lumMod val="100000"/>
                </a:schemeClr>
              </a:buClr>
              <a:buSzPct val="92000"/>
            </a:pPr>
            <a:r>
              <a:rPr lang="en-GB" sz="800" i="1">
                <a:solidFill>
                  <a:schemeClr val="tx1"/>
                </a:solidFill>
                <a:latin typeface="Arial" panose="020B0604020202020204" pitchFamily="34" charset="0"/>
              </a:rPr>
              <a:t>and recycled process scrap</a:t>
            </a:r>
          </a:p>
        </p:txBody>
      </p:sp>
      <p:grpSp>
        <p:nvGrpSpPr>
          <p:cNvPr id="1494" name="Group 1493">
            <a:extLst>
              <a:ext uri="{FF2B5EF4-FFF2-40B4-BE49-F238E27FC236}">
                <a16:creationId xmlns:a16="http://schemas.microsoft.com/office/drawing/2014/main" id="{98E73CD1-711B-5F4A-8F9A-294B4FDC31C5}"/>
              </a:ext>
            </a:extLst>
          </p:cNvPr>
          <p:cNvGrpSpPr/>
          <p:nvPr/>
        </p:nvGrpSpPr>
        <p:grpSpPr>
          <a:xfrm>
            <a:off x="1540141" y="1768735"/>
            <a:ext cx="596279" cy="480894"/>
            <a:chOff x="1533367" y="1809750"/>
            <a:chExt cx="596279" cy="480894"/>
          </a:xfrm>
        </p:grpSpPr>
        <p:sp>
          <p:nvSpPr>
            <p:cNvPr id="30" name="Freeform: Shape 29">
              <a:extLst>
                <a:ext uri="{FF2B5EF4-FFF2-40B4-BE49-F238E27FC236}">
                  <a16:creationId xmlns:a16="http://schemas.microsoft.com/office/drawing/2014/main" id="{00BA6198-EECF-B320-537C-AFD994FC1773}"/>
                </a:ext>
              </a:extLst>
            </p:cNvPr>
            <p:cNvSpPr/>
            <p:nvPr/>
          </p:nvSpPr>
          <p:spPr>
            <a:xfrm>
              <a:off x="1834391" y="1809750"/>
              <a:ext cx="45719" cy="66042"/>
            </a:xfrm>
            <a:custGeom>
              <a:avLst/>
              <a:gdLst>
                <a:gd name="connsiteX0" fmla="*/ 0 w 6657"/>
                <a:gd name="connsiteY0" fmla="*/ 0 h 129690"/>
                <a:gd name="connsiteX1" fmla="*/ 0 w 6657"/>
                <a:gd name="connsiteY1" fmla="*/ 129690 h 129690"/>
              </a:gdLst>
              <a:ahLst/>
              <a:cxnLst>
                <a:cxn ang="0">
                  <a:pos x="connsiteX0" y="connsiteY0"/>
                </a:cxn>
                <a:cxn ang="0">
                  <a:pos x="connsiteX1" y="connsiteY1"/>
                </a:cxn>
              </a:cxnLst>
              <a:rect l="l" t="t" r="r" b="b"/>
              <a:pathLst>
                <a:path w="6657" h="129690">
                  <a:moveTo>
                    <a:pt x="0" y="0"/>
                  </a:moveTo>
                  <a:lnTo>
                    <a:pt x="0" y="129690"/>
                  </a:lnTo>
                </a:path>
              </a:pathLst>
            </a:custGeom>
            <a:ln w="29817" cap="flat">
              <a:solidFill>
                <a:srgbClr val="231F20"/>
              </a:solidFill>
              <a:prstDash val="solid"/>
              <a:round/>
            </a:ln>
          </p:spPr>
          <p:txBody>
            <a:bodyPr rtlCol="0" anchor="ctr"/>
            <a:lstStyle/>
            <a:p>
              <a:endParaRPr lang="en-GB"/>
            </a:p>
          </p:txBody>
        </p:sp>
        <p:grpSp>
          <p:nvGrpSpPr>
            <p:cNvPr id="1492" name="Group 1491">
              <a:extLst>
                <a:ext uri="{FF2B5EF4-FFF2-40B4-BE49-F238E27FC236}">
                  <a16:creationId xmlns:a16="http://schemas.microsoft.com/office/drawing/2014/main" id="{31835F7E-C8F7-8E50-0275-674364EDCE22}"/>
                </a:ext>
              </a:extLst>
            </p:cNvPr>
            <p:cNvGrpSpPr/>
            <p:nvPr/>
          </p:nvGrpSpPr>
          <p:grpSpPr>
            <a:xfrm>
              <a:off x="1533367" y="1885002"/>
              <a:ext cx="596279" cy="405642"/>
              <a:chOff x="1587626" y="1840396"/>
              <a:chExt cx="596279" cy="405642"/>
            </a:xfrm>
          </p:grpSpPr>
          <p:sp>
            <p:nvSpPr>
              <p:cNvPr id="31" name="Freeform: Shape 30">
                <a:extLst>
                  <a:ext uri="{FF2B5EF4-FFF2-40B4-BE49-F238E27FC236}">
                    <a16:creationId xmlns:a16="http://schemas.microsoft.com/office/drawing/2014/main" id="{10FA50B3-BF90-5E2D-7F42-4CC0F04B1E42}"/>
                  </a:ext>
                </a:extLst>
              </p:cNvPr>
              <p:cNvSpPr/>
              <p:nvPr/>
            </p:nvSpPr>
            <p:spPr>
              <a:xfrm>
                <a:off x="1851085" y="1840396"/>
                <a:ext cx="73332" cy="51511"/>
              </a:xfrm>
              <a:custGeom>
                <a:avLst/>
                <a:gdLst>
                  <a:gd name="connsiteX0" fmla="*/ 0 w 87281"/>
                  <a:gd name="connsiteY0" fmla="*/ 61309 h 61309"/>
                  <a:gd name="connsiteX1" fmla="*/ 0 w 87281"/>
                  <a:gd name="connsiteY1" fmla="*/ 16836 h 61309"/>
                  <a:gd name="connsiteX2" fmla="*/ 87281 w 87281"/>
                  <a:gd name="connsiteY2" fmla="*/ 16836 h 61309"/>
                  <a:gd name="connsiteX3" fmla="*/ 87281 w 87281"/>
                  <a:gd name="connsiteY3" fmla="*/ 61309 h 61309"/>
                </a:gdLst>
                <a:ahLst/>
                <a:cxnLst>
                  <a:cxn ang="0">
                    <a:pos x="connsiteX0" y="connsiteY0"/>
                  </a:cxn>
                  <a:cxn ang="0">
                    <a:pos x="connsiteX1" y="connsiteY1"/>
                  </a:cxn>
                  <a:cxn ang="0">
                    <a:pos x="connsiteX2" y="connsiteY2"/>
                  </a:cxn>
                  <a:cxn ang="0">
                    <a:pos x="connsiteX3" y="connsiteY3"/>
                  </a:cxn>
                </a:cxnLst>
                <a:rect l="l" t="t" r="r" b="b"/>
                <a:pathLst>
                  <a:path w="87281" h="61309">
                    <a:moveTo>
                      <a:pt x="0" y="61309"/>
                    </a:moveTo>
                    <a:lnTo>
                      <a:pt x="0" y="16836"/>
                    </a:lnTo>
                    <a:cubicBezTo>
                      <a:pt x="0" y="16836"/>
                      <a:pt x="44473" y="-21045"/>
                      <a:pt x="87281" y="16836"/>
                    </a:cubicBezTo>
                    <a:lnTo>
                      <a:pt x="87281" y="61309"/>
                    </a:lnTo>
                  </a:path>
                </a:pathLst>
              </a:custGeom>
              <a:noFill/>
              <a:ln w="29817" cap="flat">
                <a:solidFill>
                  <a:srgbClr val="231F20"/>
                </a:solidFill>
                <a:prstDash val="solid"/>
                <a:round/>
              </a:ln>
            </p:spPr>
            <p:txBody>
              <a:bodyPr rtlCol="0" anchor="ctr"/>
              <a:lstStyle/>
              <a:p>
                <a:endParaRPr lang="en-GB"/>
              </a:p>
            </p:txBody>
          </p:sp>
          <p:sp>
            <p:nvSpPr>
              <p:cNvPr id="43" name="Freeform: Shape 42">
                <a:extLst>
                  <a:ext uri="{FF2B5EF4-FFF2-40B4-BE49-F238E27FC236}">
                    <a16:creationId xmlns:a16="http://schemas.microsoft.com/office/drawing/2014/main" id="{C3B5C047-2D95-067D-05DE-20DDB25850A7}"/>
                  </a:ext>
                </a:extLst>
              </p:cNvPr>
              <p:cNvSpPr/>
              <p:nvPr/>
            </p:nvSpPr>
            <p:spPr>
              <a:xfrm>
                <a:off x="1673935" y="1895710"/>
                <a:ext cx="431100" cy="117802"/>
              </a:xfrm>
              <a:custGeom>
                <a:avLst/>
                <a:gdLst>
                  <a:gd name="connsiteX0" fmla="*/ 0 w 513101"/>
                  <a:gd name="connsiteY0" fmla="*/ 130555 h 140209"/>
                  <a:gd name="connsiteX1" fmla="*/ 0 w 513101"/>
                  <a:gd name="connsiteY1" fmla="*/ 84418 h 140209"/>
                  <a:gd name="connsiteX2" fmla="*/ 24500 w 513101"/>
                  <a:gd name="connsiteY2" fmla="*/ 84418 h 140209"/>
                  <a:gd name="connsiteX3" fmla="*/ 24500 w 513101"/>
                  <a:gd name="connsiteY3" fmla="*/ 72901 h 140209"/>
                  <a:gd name="connsiteX4" fmla="*/ 36817 w 513101"/>
                  <a:gd name="connsiteY4" fmla="*/ 72901 h 140209"/>
                  <a:gd name="connsiteX5" fmla="*/ 36817 w 513101"/>
                  <a:gd name="connsiteY5" fmla="*/ 46337 h 140209"/>
                  <a:gd name="connsiteX6" fmla="*/ 49200 w 513101"/>
                  <a:gd name="connsiteY6" fmla="*/ 46337 h 140209"/>
                  <a:gd name="connsiteX7" fmla="*/ 49200 w 513101"/>
                  <a:gd name="connsiteY7" fmla="*/ 24700 h 140209"/>
                  <a:gd name="connsiteX8" fmla="*/ 59053 w 513101"/>
                  <a:gd name="connsiteY8" fmla="*/ 24700 h 140209"/>
                  <a:gd name="connsiteX9" fmla="*/ 59053 w 513101"/>
                  <a:gd name="connsiteY9" fmla="*/ 0 h 140209"/>
                  <a:gd name="connsiteX10" fmla="*/ 450720 w 513101"/>
                  <a:gd name="connsiteY10" fmla="*/ 0 h 140209"/>
                  <a:gd name="connsiteX11" fmla="*/ 450720 w 513101"/>
                  <a:gd name="connsiteY11" fmla="*/ 23501 h 140209"/>
                  <a:gd name="connsiteX12" fmla="*/ 459374 w 513101"/>
                  <a:gd name="connsiteY12" fmla="*/ 23501 h 140209"/>
                  <a:gd name="connsiteX13" fmla="*/ 459374 w 513101"/>
                  <a:gd name="connsiteY13" fmla="*/ 46936 h 140209"/>
                  <a:gd name="connsiteX14" fmla="*/ 471092 w 513101"/>
                  <a:gd name="connsiteY14" fmla="*/ 46936 h 140209"/>
                  <a:gd name="connsiteX15" fmla="*/ 471092 w 513101"/>
                  <a:gd name="connsiteY15" fmla="*/ 65244 h 140209"/>
                  <a:gd name="connsiteX16" fmla="*/ 479747 w 513101"/>
                  <a:gd name="connsiteY16" fmla="*/ 65244 h 140209"/>
                  <a:gd name="connsiteX17" fmla="*/ 479747 w 513101"/>
                  <a:gd name="connsiteY17" fmla="*/ 86482 h 140209"/>
                  <a:gd name="connsiteX18" fmla="*/ 513101 w 513101"/>
                  <a:gd name="connsiteY18" fmla="*/ 86482 h 140209"/>
                  <a:gd name="connsiteX19" fmla="*/ 513101 w 513101"/>
                  <a:gd name="connsiteY19" fmla="*/ 140209 h 140209"/>
                  <a:gd name="connsiteX20" fmla="*/ 0 w 513101"/>
                  <a:gd name="connsiteY20" fmla="*/ 140209 h 140209"/>
                  <a:gd name="connsiteX21" fmla="*/ 0 w 513101"/>
                  <a:gd name="connsiteY21" fmla="*/ 130555 h 140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3101" h="140209">
                    <a:moveTo>
                      <a:pt x="0" y="130555"/>
                    </a:moveTo>
                    <a:lnTo>
                      <a:pt x="0" y="84418"/>
                    </a:lnTo>
                    <a:lnTo>
                      <a:pt x="24500" y="84418"/>
                    </a:lnTo>
                    <a:lnTo>
                      <a:pt x="24500" y="72901"/>
                    </a:lnTo>
                    <a:lnTo>
                      <a:pt x="36817" y="72901"/>
                    </a:lnTo>
                    <a:lnTo>
                      <a:pt x="36817" y="46337"/>
                    </a:lnTo>
                    <a:lnTo>
                      <a:pt x="49200" y="46337"/>
                    </a:lnTo>
                    <a:lnTo>
                      <a:pt x="49200" y="24700"/>
                    </a:lnTo>
                    <a:lnTo>
                      <a:pt x="59053" y="24700"/>
                    </a:lnTo>
                    <a:lnTo>
                      <a:pt x="59053" y="0"/>
                    </a:lnTo>
                    <a:lnTo>
                      <a:pt x="450720" y="0"/>
                    </a:lnTo>
                    <a:lnTo>
                      <a:pt x="450720" y="23501"/>
                    </a:lnTo>
                    <a:lnTo>
                      <a:pt x="459374" y="23501"/>
                    </a:lnTo>
                    <a:lnTo>
                      <a:pt x="459374" y="46936"/>
                    </a:lnTo>
                    <a:lnTo>
                      <a:pt x="471092" y="46936"/>
                    </a:lnTo>
                    <a:lnTo>
                      <a:pt x="471092" y="65244"/>
                    </a:lnTo>
                    <a:lnTo>
                      <a:pt x="479747" y="65244"/>
                    </a:lnTo>
                    <a:lnTo>
                      <a:pt x="479747" y="86482"/>
                    </a:lnTo>
                    <a:lnTo>
                      <a:pt x="513101" y="86482"/>
                    </a:lnTo>
                    <a:lnTo>
                      <a:pt x="513101" y="140209"/>
                    </a:lnTo>
                    <a:lnTo>
                      <a:pt x="0" y="140209"/>
                    </a:lnTo>
                    <a:lnTo>
                      <a:pt x="0" y="130555"/>
                    </a:lnTo>
                    <a:close/>
                  </a:path>
                </a:pathLst>
              </a:custGeom>
              <a:gradFill>
                <a:gsLst>
                  <a:gs pos="0">
                    <a:srgbClr val="005991"/>
                  </a:gs>
                  <a:gs pos="11000">
                    <a:srgbClr val="3A739E"/>
                  </a:gs>
                  <a:gs pos="62000">
                    <a:srgbClr val="A9DDF5"/>
                  </a:gs>
                  <a:gs pos="78000">
                    <a:srgbClr val="5A92B7"/>
                  </a:gs>
                  <a:gs pos="86000">
                    <a:srgbClr val="3A739E"/>
                  </a:gs>
                  <a:gs pos="93000">
                    <a:srgbClr val="1C6597"/>
                  </a:gs>
                  <a:gs pos="100000">
                    <a:srgbClr val="005991"/>
                  </a:gs>
                </a:gsLst>
                <a:lin ang="0" scaled="1"/>
              </a:gradFill>
              <a:ln w="6626"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9B2F3D6A-D137-F0BA-BF54-D0F0A6B95CB6}"/>
                  </a:ext>
                </a:extLst>
              </p:cNvPr>
              <p:cNvSpPr/>
              <p:nvPr/>
            </p:nvSpPr>
            <p:spPr>
              <a:xfrm>
                <a:off x="1587626" y="2030125"/>
                <a:ext cx="91343" cy="112096"/>
              </a:xfrm>
              <a:custGeom>
                <a:avLst/>
                <a:gdLst>
                  <a:gd name="connsiteX0" fmla="*/ 108719 w 108718"/>
                  <a:gd name="connsiteY0" fmla="*/ 0 h 133418"/>
                  <a:gd name="connsiteX1" fmla="*/ 0 w 108718"/>
                  <a:gd name="connsiteY1" fmla="*/ 133418 h 133418"/>
                </a:gdLst>
                <a:ahLst/>
                <a:cxnLst>
                  <a:cxn ang="0">
                    <a:pos x="connsiteX0" y="connsiteY0"/>
                  </a:cxn>
                  <a:cxn ang="0">
                    <a:pos x="connsiteX1" y="connsiteY1"/>
                  </a:cxn>
                </a:cxnLst>
                <a:rect l="l" t="t" r="r" b="b"/>
                <a:pathLst>
                  <a:path w="108718" h="133418">
                    <a:moveTo>
                      <a:pt x="108719" y="0"/>
                    </a:moveTo>
                    <a:cubicBezTo>
                      <a:pt x="108719" y="0"/>
                      <a:pt x="48201" y="33355"/>
                      <a:pt x="0" y="133418"/>
                    </a:cubicBezTo>
                  </a:path>
                </a:pathLst>
              </a:custGeom>
              <a:noFill/>
              <a:ln w="14909" cap="flat">
                <a:solidFill>
                  <a:srgbClr val="3A739E"/>
                </a:solidFill>
                <a:prstDash val="solid"/>
                <a:round/>
              </a:ln>
            </p:spPr>
            <p:txBody>
              <a:bodyPr rtlCol="0" anchor="ctr"/>
              <a:lstStyle/>
              <a:p>
                <a:endParaRPr lang="en-GB"/>
              </a:p>
            </p:txBody>
          </p:sp>
          <p:sp>
            <p:nvSpPr>
              <p:cNvPr id="45" name="Freeform: Shape 44">
                <a:extLst>
                  <a:ext uri="{FF2B5EF4-FFF2-40B4-BE49-F238E27FC236}">
                    <a16:creationId xmlns:a16="http://schemas.microsoft.com/office/drawing/2014/main" id="{AED85D12-10AB-752C-33C8-113688D96FA7}"/>
                  </a:ext>
                </a:extLst>
              </p:cNvPr>
              <p:cNvSpPr/>
              <p:nvPr/>
            </p:nvSpPr>
            <p:spPr>
              <a:xfrm>
                <a:off x="1965419" y="2030125"/>
                <a:ext cx="156229" cy="102251"/>
              </a:xfrm>
              <a:custGeom>
                <a:avLst/>
                <a:gdLst>
                  <a:gd name="connsiteX0" fmla="*/ 0 w 185946"/>
                  <a:gd name="connsiteY0" fmla="*/ 0 h 121700"/>
                  <a:gd name="connsiteX1" fmla="*/ 158118 w 185946"/>
                  <a:gd name="connsiteY1" fmla="*/ 0 h 121700"/>
                  <a:gd name="connsiteX2" fmla="*/ 185947 w 185946"/>
                  <a:gd name="connsiteY2" fmla="*/ 46337 h 121700"/>
                  <a:gd name="connsiteX3" fmla="*/ 80956 w 185946"/>
                  <a:gd name="connsiteY3" fmla="*/ 121701 h 121700"/>
                  <a:gd name="connsiteX4" fmla="*/ 0 w 185946"/>
                  <a:gd name="connsiteY4" fmla="*/ 0 h 12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46" h="121700">
                    <a:moveTo>
                      <a:pt x="0" y="0"/>
                    </a:moveTo>
                    <a:lnTo>
                      <a:pt x="158118" y="0"/>
                    </a:lnTo>
                    <a:lnTo>
                      <a:pt x="185947" y="46337"/>
                    </a:lnTo>
                    <a:lnTo>
                      <a:pt x="80956" y="121701"/>
                    </a:lnTo>
                    <a:lnTo>
                      <a:pt x="0" y="0"/>
                    </a:lnTo>
                    <a:close/>
                  </a:path>
                </a:pathLst>
              </a:custGeom>
              <a:solidFill>
                <a:srgbClr val="3A739E"/>
              </a:solidFill>
              <a:ln w="7421" cap="flat">
                <a:solidFill>
                  <a:srgbClr val="3A739E"/>
                </a:solidFill>
                <a:prstDash val="solid"/>
                <a:round/>
              </a:ln>
            </p:spPr>
            <p:txBody>
              <a:bodyPr rtlCol="0" anchor="ctr"/>
              <a:lstStyle/>
              <a:p>
                <a:endParaRPr lang="en-GB"/>
              </a:p>
            </p:txBody>
          </p:sp>
          <p:sp>
            <p:nvSpPr>
              <p:cNvPr id="47" name="Freeform: Shape 46">
                <a:extLst>
                  <a:ext uri="{FF2B5EF4-FFF2-40B4-BE49-F238E27FC236}">
                    <a16:creationId xmlns:a16="http://schemas.microsoft.com/office/drawing/2014/main" id="{6ACC407E-0E7B-1D8A-87C4-A7912CC8F615}"/>
                  </a:ext>
                </a:extLst>
              </p:cNvPr>
              <p:cNvSpPr/>
              <p:nvPr/>
            </p:nvSpPr>
            <p:spPr>
              <a:xfrm>
                <a:off x="2121648" y="2068797"/>
                <a:ext cx="62257" cy="121696"/>
              </a:xfrm>
              <a:custGeom>
                <a:avLst/>
                <a:gdLst>
                  <a:gd name="connsiteX0" fmla="*/ 74099 w 74099"/>
                  <a:gd name="connsiteY0" fmla="*/ 144845 h 144844"/>
                  <a:gd name="connsiteX1" fmla="*/ 0 w 74099"/>
                  <a:gd name="connsiteY1" fmla="*/ 308 h 144844"/>
                </a:gdLst>
                <a:ahLst/>
                <a:cxnLst>
                  <a:cxn ang="0">
                    <a:pos x="connsiteX0" y="connsiteY0"/>
                  </a:cxn>
                  <a:cxn ang="0">
                    <a:pos x="connsiteX1" y="connsiteY1"/>
                  </a:cxn>
                </a:cxnLst>
                <a:rect l="l" t="t" r="r" b="b"/>
                <a:pathLst>
                  <a:path w="74099" h="144844">
                    <a:moveTo>
                      <a:pt x="74099" y="144845"/>
                    </a:moveTo>
                    <a:cubicBezTo>
                      <a:pt x="74099" y="144845"/>
                      <a:pt x="42010" y="-7748"/>
                      <a:pt x="0" y="308"/>
                    </a:cubicBezTo>
                  </a:path>
                </a:pathLst>
              </a:custGeom>
              <a:noFill/>
              <a:ln w="14909" cap="flat">
                <a:solidFill>
                  <a:srgbClr val="3A739E"/>
                </a:solidFill>
                <a:prstDash val="solid"/>
                <a:round/>
              </a:ln>
            </p:spPr>
            <p:txBody>
              <a:bodyPr rtlCol="0" anchor="ctr"/>
              <a:lstStyle/>
              <a:p>
                <a:endParaRPr lang="en-GB"/>
              </a:p>
            </p:txBody>
          </p:sp>
          <p:sp>
            <p:nvSpPr>
              <p:cNvPr id="49" name="Freeform: Shape 48">
                <a:extLst>
                  <a:ext uri="{FF2B5EF4-FFF2-40B4-BE49-F238E27FC236}">
                    <a16:creationId xmlns:a16="http://schemas.microsoft.com/office/drawing/2014/main" id="{75EE9D92-8101-38E9-53E7-1A189298984A}"/>
                  </a:ext>
                </a:extLst>
              </p:cNvPr>
              <p:cNvSpPr/>
              <p:nvPr/>
            </p:nvSpPr>
            <p:spPr>
              <a:xfrm>
                <a:off x="2058832" y="2120965"/>
                <a:ext cx="34289" cy="25954"/>
              </a:xfrm>
              <a:custGeom>
                <a:avLst/>
                <a:gdLst>
                  <a:gd name="connsiteX0" fmla="*/ 0 w 40811"/>
                  <a:gd name="connsiteY0" fmla="*/ 30891 h 30891"/>
                  <a:gd name="connsiteX1" fmla="*/ 40811 w 40811"/>
                  <a:gd name="connsiteY1" fmla="*/ 0 h 30891"/>
                </a:gdLst>
                <a:ahLst/>
                <a:cxnLst>
                  <a:cxn ang="0">
                    <a:pos x="connsiteX0" y="connsiteY0"/>
                  </a:cxn>
                  <a:cxn ang="0">
                    <a:pos x="connsiteX1" y="connsiteY1"/>
                  </a:cxn>
                </a:cxnLst>
                <a:rect l="l" t="t" r="r" b="b"/>
                <a:pathLst>
                  <a:path w="40811" h="30891">
                    <a:moveTo>
                      <a:pt x="0" y="30891"/>
                    </a:moveTo>
                    <a:lnTo>
                      <a:pt x="40811" y="0"/>
                    </a:lnTo>
                  </a:path>
                </a:pathLst>
              </a:custGeom>
              <a:ln w="14909" cap="flat">
                <a:solidFill>
                  <a:srgbClr val="3A739E"/>
                </a:solidFill>
                <a:prstDash val="solid"/>
                <a:round/>
              </a:ln>
            </p:spPr>
            <p:txBody>
              <a:bodyPr rtlCol="0" anchor="ctr"/>
              <a:lstStyle/>
              <a:p>
                <a:endParaRPr lang="en-GB"/>
              </a:p>
            </p:txBody>
          </p:sp>
          <p:sp>
            <p:nvSpPr>
              <p:cNvPr id="50" name="Freeform: Shape 49">
                <a:extLst>
                  <a:ext uri="{FF2B5EF4-FFF2-40B4-BE49-F238E27FC236}">
                    <a16:creationId xmlns:a16="http://schemas.microsoft.com/office/drawing/2014/main" id="{E9FCA68E-9B7C-DF8C-C284-2B1B2C901ED2}"/>
                  </a:ext>
                </a:extLst>
              </p:cNvPr>
              <p:cNvSpPr/>
              <p:nvPr/>
            </p:nvSpPr>
            <p:spPr>
              <a:xfrm>
                <a:off x="1695526" y="2030125"/>
                <a:ext cx="108460" cy="70591"/>
              </a:xfrm>
              <a:custGeom>
                <a:avLst/>
                <a:gdLst>
                  <a:gd name="connsiteX0" fmla="*/ 0 w 129090"/>
                  <a:gd name="connsiteY0" fmla="*/ 0 h 84018"/>
                  <a:gd name="connsiteX1" fmla="*/ 129091 w 129090"/>
                  <a:gd name="connsiteY1" fmla="*/ 0 h 84018"/>
                  <a:gd name="connsiteX2" fmla="*/ 79691 w 129090"/>
                  <a:gd name="connsiteY2" fmla="*/ 84019 h 84018"/>
                  <a:gd name="connsiteX3" fmla="*/ 0 w 129090"/>
                  <a:gd name="connsiteY3" fmla="*/ 66709 h 84018"/>
                  <a:gd name="connsiteX4" fmla="*/ 0 w 129090"/>
                  <a:gd name="connsiteY4" fmla="*/ 0 h 84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090" h="84018">
                    <a:moveTo>
                      <a:pt x="0" y="0"/>
                    </a:moveTo>
                    <a:lnTo>
                      <a:pt x="129091" y="0"/>
                    </a:lnTo>
                    <a:lnTo>
                      <a:pt x="79691" y="84019"/>
                    </a:lnTo>
                    <a:cubicBezTo>
                      <a:pt x="79691" y="84019"/>
                      <a:pt x="32156" y="66110"/>
                      <a:pt x="0" y="66709"/>
                    </a:cubicBezTo>
                    <a:lnTo>
                      <a:pt x="0" y="0"/>
                    </a:lnTo>
                    <a:close/>
                  </a:path>
                </a:pathLst>
              </a:custGeom>
              <a:solidFill>
                <a:srgbClr val="2EAAE1"/>
              </a:solidFill>
              <a:ln w="3711" cap="flat">
                <a:solidFill>
                  <a:srgbClr val="FFFFFF"/>
                </a:solidFill>
                <a:prstDash val="solid"/>
                <a:round/>
              </a:ln>
            </p:spPr>
            <p:txBody>
              <a:bodyPr rtlCol="0" anchor="ctr"/>
              <a:lstStyle/>
              <a:p>
                <a:endParaRPr lang="en-GB"/>
              </a:p>
            </p:txBody>
          </p:sp>
          <p:sp>
            <p:nvSpPr>
              <p:cNvPr id="51" name="Freeform: Shape 50">
                <a:extLst>
                  <a:ext uri="{FF2B5EF4-FFF2-40B4-BE49-F238E27FC236}">
                    <a16:creationId xmlns:a16="http://schemas.microsoft.com/office/drawing/2014/main" id="{9C5B4EDB-E496-79A9-8F4F-267FFAC7F3C3}"/>
                  </a:ext>
                </a:extLst>
              </p:cNvPr>
              <p:cNvSpPr/>
              <p:nvPr/>
            </p:nvSpPr>
            <p:spPr>
              <a:xfrm>
                <a:off x="1826865" y="2030125"/>
                <a:ext cx="169933" cy="125577"/>
              </a:xfrm>
              <a:custGeom>
                <a:avLst/>
                <a:gdLst>
                  <a:gd name="connsiteX0" fmla="*/ 0 w 202257"/>
                  <a:gd name="connsiteY0" fmla="*/ 0 h 149463"/>
                  <a:gd name="connsiteX1" fmla="*/ 152126 w 202257"/>
                  <a:gd name="connsiteY1" fmla="*/ 0 h 149463"/>
                  <a:gd name="connsiteX2" fmla="*/ 202258 w 202257"/>
                  <a:gd name="connsiteY2" fmla="*/ 77561 h 149463"/>
                  <a:gd name="connsiteX3" fmla="*/ 91409 w 202257"/>
                  <a:gd name="connsiteY3" fmla="*/ 149463 h 149463"/>
                  <a:gd name="connsiteX4" fmla="*/ 0 w 202257"/>
                  <a:gd name="connsiteY4" fmla="*/ 0 h 149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257" h="149463">
                    <a:moveTo>
                      <a:pt x="0" y="0"/>
                    </a:moveTo>
                    <a:lnTo>
                      <a:pt x="152126" y="0"/>
                    </a:lnTo>
                    <a:lnTo>
                      <a:pt x="202258" y="77561"/>
                    </a:lnTo>
                    <a:lnTo>
                      <a:pt x="91409" y="149463"/>
                    </a:lnTo>
                    <a:lnTo>
                      <a:pt x="0" y="0"/>
                    </a:lnTo>
                    <a:close/>
                  </a:path>
                </a:pathLst>
              </a:custGeom>
              <a:solidFill>
                <a:srgbClr val="2EAAE1"/>
              </a:solidFill>
              <a:ln w="3711" cap="flat">
                <a:solidFill>
                  <a:srgbClr val="FFFFFF"/>
                </a:solidFill>
                <a:prstDash val="solid"/>
                <a:round/>
              </a:ln>
            </p:spPr>
            <p:txBody>
              <a:bodyPr rtlCol="0" anchor="ctr"/>
              <a:lstStyle/>
              <a:p>
                <a:endParaRPr lang="en-GB"/>
              </a:p>
            </p:txBody>
          </p:sp>
          <p:sp>
            <p:nvSpPr>
              <p:cNvPr id="53" name="Freeform: Shape 52">
                <a:extLst>
                  <a:ext uri="{FF2B5EF4-FFF2-40B4-BE49-F238E27FC236}">
                    <a16:creationId xmlns:a16="http://schemas.microsoft.com/office/drawing/2014/main" id="{B206A721-2F75-D759-4F47-7EB57620F1E9}"/>
                  </a:ext>
                </a:extLst>
              </p:cNvPr>
              <p:cNvSpPr/>
              <p:nvPr/>
            </p:nvSpPr>
            <p:spPr>
              <a:xfrm>
                <a:off x="1848400" y="2047800"/>
                <a:ext cx="42791" cy="18269"/>
              </a:xfrm>
              <a:custGeom>
                <a:avLst/>
                <a:gdLst>
                  <a:gd name="connsiteX0" fmla="*/ 50931 w 50930"/>
                  <a:gd name="connsiteY0" fmla="*/ 0 h 21744"/>
                  <a:gd name="connsiteX1" fmla="*/ 0 w 50930"/>
                  <a:gd name="connsiteY1" fmla="*/ 20971 h 21744"/>
                </a:gdLst>
                <a:ahLst/>
                <a:cxnLst>
                  <a:cxn ang="0">
                    <a:pos x="connsiteX0" y="connsiteY0"/>
                  </a:cxn>
                  <a:cxn ang="0">
                    <a:pos x="connsiteX1" y="connsiteY1"/>
                  </a:cxn>
                </a:cxnLst>
                <a:rect l="l" t="t" r="r" b="b"/>
                <a:pathLst>
                  <a:path w="50930" h="21744">
                    <a:moveTo>
                      <a:pt x="50931" y="0"/>
                    </a:moveTo>
                    <a:cubicBezTo>
                      <a:pt x="50931" y="0"/>
                      <a:pt x="22037" y="26564"/>
                      <a:pt x="0" y="20971"/>
                    </a:cubicBezTo>
                  </a:path>
                </a:pathLst>
              </a:custGeom>
              <a:noFill/>
              <a:ln w="7421" cap="flat">
                <a:solidFill>
                  <a:srgbClr val="FFFFFF"/>
                </a:solidFill>
                <a:prstDash val="solid"/>
                <a:round/>
              </a:ln>
            </p:spPr>
            <p:txBody>
              <a:bodyPr rtlCol="0" anchor="ctr"/>
              <a:lstStyle/>
              <a:p>
                <a:endParaRPr lang="en-GB"/>
              </a:p>
            </p:txBody>
          </p:sp>
          <p:sp>
            <p:nvSpPr>
              <p:cNvPr id="54" name="Freeform: Shape 53">
                <a:extLst>
                  <a:ext uri="{FF2B5EF4-FFF2-40B4-BE49-F238E27FC236}">
                    <a16:creationId xmlns:a16="http://schemas.microsoft.com/office/drawing/2014/main" id="{93197202-5DF2-BB01-686C-67E0607E85BA}"/>
                  </a:ext>
                </a:extLst>
              </p:cNvPr>
              <p:cNvSpPr/>
              <p:nvPr/>
            </p:nvSpPr>
            <p:spPr>
              <a:xfrm>
                <a:off x="1877487" y="2068776"/>
                <a:ext cx="91455" cy="44104"/>
              </a:xfrm>
              <a:custGeom>
                <a:avLst/>
                <a:gdLst>
                  <a:gd name="connsiteX0" fmla="*/ 108852 w 108851"/>
                  <a:gd name="connsiteY0" fmla="*/ 0 h 52493"/>
                  <a:gd name="connsiteX1" fmla="*/ 0 w 108851"/>
                  <a:gd name="connsiteY1" fmla="*/ 52462 h 52493"/>
                </a:gdLst>
                <a:ahLst/>
                <a:cxnLst>
                  <a:cxn ang="0">
                    <a:pos x="connsiteX0" y="connsiteY0"/>
                  </a:cxn>
                  <a:cxn ang="0">
                    <a:pos x="connsiteX1" y="connsiteY1"/>
                  </a:cxn>
                </a:cxnLst>
                <a:rect l="l" t="t" r="r" b="b"/>
                <a:pathLst>
                  <a:path w="108851" h="52493">
                    <a:moveTo>
                      <a:pt x="108852" y="0"/>
                    </a:moveTo>
                    <a:cubicBezTo>
                      <a:pt x="108852" y="0"/>
                      <a:pt x="28095" y="53993"/>
                      <a:pt x="0" y="52462"/>
                    </a:cubicBezTo>
                  </a:path>
                </a:pathLst>
              </a:custGeom>
              <a:noFill/>
              <a:ln w="7421" cap="flat">
                <a:solidFill>
                  <a:srgbClr val="FFFFFF"/>
                </a:solidFill>
                <a:prstDash val="solid"/>
                <a:round/>
              </a:ln>
            </p:spPr>
            <p:txBody>
              <a:bodyPr rtlCol="0" anchor="ctr"/>
              <a:lstStyle/>
              <a:p>
                <a:endParaRPr lang="en-GB"/>
              </a:p>
            </p:txBody>
          </p:sp>
          <p:sp>
            <p:nvSpPr>
              <p:cNvPr id="55" name="Freeform: Shape 54">
                <a:extLst>
                  <a:ext uri="{FF2B5EF4-FFF2-40B4-BE49-F238E27FC236}">
                    <a16:creationId xmlns:a16="http://schemas.microsoft.com/office/drawing/2014/main" id="{88F855C6-E51A-F7FC-98E7-99A0A25C5B02}"/>
                  </a:ext>
                </a:extLst>
              </p:cNvPr>
              <p:cNvSpPr/>
              <p:nvPr/>
            </p:nvSpPr>
            <p:spPr>
              <a:xfrm>
                <a:off x="1709566" y="2112911"/>
                <a:ext cx="20752" cy="118081"/>
              </a:xfrm>
              <a:custGeom>
                <a:avLst/>
                <a:gdLst>
                  <a:gd name="connsiteX0" fmla="*/ 24700 w 24699"/>
                  <a:gd name="connsiteY0" fmla="*/ 0 h 140541"/>
                  <a:gd name="connsiteX1" fmla="*/ 0 w 24699"/>
                  <a:gd name="connsiteY1" fmla="*/ 23168 h 140541"/>
                  <a:gd name="connsiteX2" fmla="*/ 0 w 24699"/>
                  <a:gd name="connsiteY2" fmla="*/ 140542 h 140541"/>
                </a:gdLst>
                <a:ahLst/>
                <a:cxnLst>
                  <a:cxn ang="0">
                    <a:pos x="connsiteX0" y="connsiteY0"/>
                  </a:cxn>
                  <a:cxn ang="0">
                    <a:pos x="connsiteX1" y="connsiteY1"/>
                  </a:cxn>
                  <a:cxn ang="0">
                    <a:pos x="connsiteX2" y="connsiteY2"/>
                  </a:cxn>
                </a:cxnLst>
                <a:rect l="l" t="t" r="r" b="b"/>
                <a:pathLst>
                  <a:path w="24699" h="140541">
                    <a:moveTo>
                      <a:pt x="24700" y="0"/>
                    </a:moveTo>
                    <a:lnTo>
                      <a:pt x="0" y="23168"/>
                    </a:lnTo>
                    <a:lnTo>
                      <a:pt x="0" y="140542"/>
                    </a:lnTo>
                  </a:path>
                </a:pathLst>
              </a:custGeom>
              <a:noFill/>
              <a:ln w="14909" cap="flat">
                <a:solidFill>
                  <a:srgbClr val="2B3789"/>
                </a:solidFill>
                <a:prstDash val="solid"/>
                <a:round/>
              </a:ln>
            </p:spPr>
            <p:txBody>
              <a:bodyPr rtlCol="0" anchor="ctr"/>
              <a:lstStyle/>
              <a:p>
                <a:endParaRPr lang="en-GB"/>
              </a:p>
            </p:txBody>
          </p:sp>
          <p:sp>
            <p:nvSpPr>
              <p:cNvPr id="58" name="Freeform: Shape 57">
                <a:extLst>
                  <a:ext uri="{FF2B5EF4-FFF2-40B4-BE49-F238E27FC236}">
                    <a16:creationId xmlns:a16="http://schemas.microsoft.com/office/drawing/2014/main" id="{7A646AB3-1FCA-BCD0-0168-6DB050DDC453}"/>
                  </a:ext>
                </a:extLst>
              </p:cNvPr>
              <p:cNvSpPr/>
              <p:nvPr/>
            </p:nvSpPr>
            <p:spPr>
              <a:xfrm>
                <a:off x="1769754" y="2025482"/>
                <a:ext cx="241364" cy="220556"/>
              </a:xfrm>
              <a:custGeom>
                <a:avLst/>
                <a:gdLst>
                  <a:gd name="connsiteX0" fmla="*/ 56257 w 287275"/>
                  <a:gd name="connsiteY0" fmla="*/ 0 h 262509"/>
                  <a:gd name="connsiteX1" fmla="*/ 0 w 287275"/>
                  <a:gd name="connsiteY1" fmla="*/ 96335 h 262509"/>
                  <a:gd name="connsiteX2" fmla="*/ 56257 w 287275"/>
                  <a:gd name="connsiteY2" fmla="*/ 230353 h 262509"/>
                  <a:gd name="connsiteX3" fmla="*/ 136547 w 287275"/>
                  <a:gd name="connsiteY3" fmla="*/ 230353 h 262509"/>
                  <a:gd name="connsiteX4" fmla="*/ 148864 w 287275"/>
                  <a:gd name="connsiteY4" fmla="*/ 230353 h 262509"/>
                  <a:gd name="connsiteX5" fmla="*/ 148864 w 287275"/>
                  <a:gd name="connsiteY5" fmla="*/ 262509 h 262509"/>
                  <a:gd name="connsiteX6" fmla="*/ 195201 w 287275"/>
                  <a:gd name="connsiteY6" fmla="*/ 262509 h 262509"/>
                  <a:gd name="connsiteX7" fmla="*/ 210647 w 287275"/>
                  <a:gd name="connsiteY7" fmla="*/ 216771 h 262509"/>
                  <a:gd name="connsiteX8" fmla="*/ 182618 w 287275"/>
                  <a:gd name="connsiteY8" fmla="*/ 188343 h 262509"/>
                  <a:gd name="connsiteX9" fmla="*/ 198929 w 287275"/>
                  <a:gd name="connsiteY9" fmla="*/ 174296 h 262509"/>
                  <a:gd name="connsiteX10" fmla="*/ 198929 w 287275"/>
                  <a:gd name="connsiteY10" fmla="*/ 151327 h 262509"/>
                  <a:gd name="connsiteX11" fmla="*/ 223030 w 287275"/>
                  <a:gd name="connsiteY11" fmla="*/ 138944 h 262509"/>
                  <a:gd name="connsiteX12" fmla="*/ 274293 w 287275"/>
                  <a:gd name="connsiteY12" fmla="*/ 217437 h 262509"/>
                  <a:gd name="connsiteX13" fmla="*/ 274293 w 287275"/>
                  <a:gd name="connsiteY13" fmla="*/ 262509 h 262509"/>
                  <a:gd name="connsiteX14" fmla="*/ 287276 w 287275"/>
                  <a:gd name="connsiteY14" fmla="*/ 262509 h 262509"/>
                  <a:gd name="connsiteX15" fmla="*/ 287276 w 287275"/>
                  <a:gd name="connsiteY15" fmla="*/ 205054 h 262509"/>
                  <a:gd name="connsiteX16" fmla="*/ 249593 w 287275"/>
                  <a:gd name="connsiteY16" fmla="*/ 154989 h 262509"/>
                  <a:gd name="connsiteX17" fmla="*/ 276157 w 287275"/>
                  <a:gd name="connsiteY17" fmla="*/ 129091 h 262509"/>
                  <a:gd name="connsiteX18" fmla="*/ 276157 w 287275"/>
                  <a:gd name="connsiteY18" fmla="*/ 97600 h 262509"/>
                  <a:gd name="connsiteX19" fmla="*/ 263774 w 287275"/>
                  <a:gd name="connsiteY19" fmla="*/ 97600 h 262509"/>
                  <a:gd name="connsiteX20" fmla="*/ 156653 w 287275"/>
                  <a:gd name="connsiteY20" fmla="*/ 162046 h 262509"/>
                  <a:gd name="connsiteX21" fmla="*/ 56257 w 287275"/>
                  <a:gd name="connsiteY21" fmla="*/ 0 h 26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7275" h="262509">
                    <a:moveTo>
                      <a:pt x="56257" y="0"/>
                    </a:moveTo>
                    <a:lnTo>
                      <a:pt x="0" y="96335"/>
                    </a:lnTo>
                    <a:lnTo>
                      <a:pt x="56257" y="230353"/>
                    </a:lnTo>
                    <a:lnTo>
                      <a:pt x="136547" y="230353"/>
                    </a:lnTo>
                    <a:lnTo>
                      <a:pt x="148864" y="230353"/>
                    </a:lnTo>
                    <a:lnTo>
                      <a:pt x="148864" y="262509"/>
                    </a:lnTo>
                    <a:lnTo>
                      <a:pt x="195201" y="262509"/>
                    </a:lnTo>
                    <a:lnTo>
                      <a:pt x="210647" y="216771"/>
                    </a:lnTo>
                    <a:lnTo>
                      <a:pt x="182618" y="188343"/>
                    </a:lnTo>
                    <a:lnTo>
                      <a:pt x="198929" y="174296"/>
                    </a:lnTo>
                    <a:lnTo>
                      <a:pt x="198929" y="151327"/>
                    </a:lnTo>
                    <a:lnTo>
                      <a:pt x="223030" y="138944"/>
                    </a:lnTo>
                    <a:lnTo>
                      <a:pt x="274293" y="217437"/>
                    </a:lnTo>
                    <a:lnTo>
                      <a:pt x="274293" y="262509"/>
                    </a:lnTo>
                    <a:lnTo>
                      <a:pt x="287276" y="262509"/>
                    </a:lnTo>
                    <a:lnTo>
                      <a:pt x="287276" y="205054"/>
                    </a:lnTo>
                    <a:lnTo>
                      <a:pt x="249593" y="154989"/>
                    </a:lnTo>
                    <a:lnTo>
                      <a:pt x="276157" y="129091"/>
                    </a:lnTo>
                    <a:lnTo>
                      <a:pt x="276157" y="97600"/>
                    </a:lnTo>
                    <a:lnTo>
                      <a:pt x="263774" y="97600"/>
                    </a:lnTo>
                    <a:lnTo>
                      <a:pt x="156653" y="162046"/>
                    </a:lnTo>
                    <a:lnTo>
                      <a:pt x="56257" y="0"/>
                    </a:lnTo>
                    <a:close/>
                  </a:path>
                </a:pathLst>
              </a:custGeom>
              <a:solidFill>
                <a:srgbClr val="2B3789"/>
              </a:solidFill>
              <a:ln w="3711" cap="flat">
                <a:solidFill>
                  <a:srgbClr val="2B3789"/>
                </a:solidFill>
                <a:prstDash val="solid"/>
                <a:round/>
              </a:ln>
            </p:spPr>
            <p:txBody>
              <a:bodyPr rtlCol="0" anchor="ctr"/>
              <a:lstStyle/>
              <a:p>
                <a:endParaRPr lang="en-GB"/>
              </a:p>
            </p:txBody>
          </p:sp>
        </p:grpSp>
      </p:grpSp>
      <p:sp>
        <p:nvSpPr>
          <p:cNvPr id="19" name="TextBox 18">
            <a:extLst>
              <a:ext uri="{FF2B5EF4-FFF2-40B4-BE49-F238E27FC236}">
                <a16:creationId xmlns:a16="http://schemas.microsoft.com/office/drawing/2014/main" id="{DE1B99B3-5162-5428-0B58-E02E178A05C1}"/>
              </a:ext>
            </a:extLst>
          </p:cNvPr>
          <p:cNvSpPr txBox="1"/>
          <p:nvPr/>
        </p:nvSpPr>
        <p:spPr>
          <a:xfrm>
            <a:off x="3308071" y="1657558"/>
            <a:ext cx="327236" cy="264752"/>
          </a:xfrm>
          <a:prstGeom prst="rect">
            <a:avLst/>
          </a:prstGeom>
          <a:noFill/>
        </p:spPr>
        <p:txBody>
          <a:bodyPr vert="horz" wrap="square" lIns="18288" tIns="18288" rIns="18288" bIns="18288" rtlCol="0" anchor="t">
            <a:spAutoFit/>
          </a:bodyPr>
          <a:lstStyle/>
          <a:p>
            <a:pPr algn="ctr">
              <a:lnSpc>
                <a:spcPct val="110000"/>
              </a:lnSpc>
            </a:pPr>
            <a:r>
              <a:rPr lang="en-GB" sz="700" b="1">
                <a:solidFill>
                  <a:schemeClr val="accent1"/>
                </a:solidFill>
              </a:rPr>
              <a:t>Scrap Metal</a:t>
            </a:r>
          </a:p>
        </p:txBody>
      </p:sp>
      <p:sp>
        <p:nvSpPr>
          <p:cNvPr id="35" name="TextBox 34">
            <a:extLst>
              <a:ext uri="{FF2B5EF4-FFF2-40B4-BE49-F238E27FC236}">
                <a16:creationId xmlns:a16="http://schemas.microsoft.com/office/drawing/2014/main" id="{58C2C3AD-D8DB-E422-84E2-A486DCCDC51A}"/>
              </a:ext>
            </a:extLst>
          </p:cNvPr>
          <p:cNvSpPr txBox="1"/>
          <p:nvPr/>
        </p:nvSpPr>
        <p:spPr>
          <a:xfrm>
            <a:off x="1032311" y="2731615"/>
            <a:ext cx="753476" cy="146258"/>
          </a:xfrm>
          <a:prstGeom prst="rect">
            <a:avLst/>
          </a:prstGeom>
          <a:noFill/>
        </p:spPr>
        <p:txBody>
          <a:bodyPr vert="horz" wrap="none" lIns="18288" tIns="18288" rIns="18288" bIns="18288" rtlCol="0" anchor="t">
            <a:spAutoFit/>
          </a:bodyPr>
          <a:lstStyle/>
          <a:p>
            <a:pPr algn="ctr">
              <a:lnSpc>
                <a:spcPct val="110000"/>
              </a:lnSpc>
            </a:pPr>
            <a:r>
              <a:rPr lang="en-GB" sz="700" b="1">
                <a:solidFill>
                  <a:schemeClr val="accent1"/>
                </a:solidFill>
              </a:rPr>
              <a:t>Pelletizing Plant</a:t>
            </a:r>
          </a:p>
        </p:txBody>
      </p:sp>
      <p:grpSp>
        <p:nvGrpSpPr>
          <p:cNvPr id="1493" name="Group 1492">
            <a:extLst>
              <a:ext uri="{FF2B5EF4-FFF2-40B4-BE49-F238E27FC236}">
                <a16:creationId xmlns:a16="http://schemas.microsoft.com/office/drawing/2014/main" id="{C8D6AB6E-C2BA-AC73-3805-1705E5584CAA}"/>
              </a:ext>
            </a:extLst>
          </p:cNvPr>
          <p:cNvGrpSpPr/>
          <p:nvPr/>
        </p:nvGrpSpPr>
        <p:grpSpPr>
          <a:xfrm>
            <a:off x="2797329" y="2448538"/>
            <a:ext cx="344207" cy="808370"/>
            <a:chOff x="2797328" y="2446950"/>
            <a:chExt cx="344207" cy="808370"/>
          </a:xfrm>
        </p:grpSpPr>
        <p:sp>
          <p:nvSpPr>
            <p:cNvPr id="1497" name="Freeform: Shape 1496">
              <a:extLst>
                <a:ext uri="{FF2B5EF4-FFF2-40B4-BE49-F238E27FC236}">
                  <a16:creationId xmlns:a16="http://schemas.microsoft.com/office/drawing/2014/main" id="{092E0B85-3DC0-C0A6-2900-0CAF5EAEC3FD}"/>
                </a:ext>
              </a:extLst>
            </p:cNvPr>
            <p:cNvSpPr/>
            <p:nvPr/>
          </p:nvSpPr>
          <p:spPr>
            <a:xfrm>
              <a:off x="2876172" y="2446950"/>
              <a:ext cx="183296" cy="151954"/>
            </a:xfrm>
            <a:custGeom>
              <a:avLst/>
              <a:gdLst>
                <a:gd name="connsiteX0" fmla="*/ 71043 w 208160"/>
                <a:gd name="connsiteY0" fmla="*/ 0 h 172567"/>
                <a:gd name="connsiteX1" fmla="*/ 71043 w 208160"/>
                <a:gd name="connsiteY1" fmla="*/ 71469 h 172567"/>
                <a:gd name="connsiteX2" fmla="*/ 37581 w 208160"/>
                <a:gd name="connsiteY2" fmla="*/ 120409 h 172567"/>
                <a:gd name="connsiteX3" fmla="*/ 37581 w 208160"/>
                <a:gd name="connsiteY3" fmla="*/ 146536 h 172567"/>
                <a:gd name="connsiteX4" fmla="*/ 0 w 208160"/>
                <a:gd name="connsiteY4" fmla="*/ 146536 h 172567"/>
                <a:gd name="connsiteX5" fmla="*/ 331 w 208160"/>
                <a:gd name="connsiteY5" fmla="*/ 172568 h 172567"/>
                <a:gd name="connsiteX6" fmla="*/ 208161 w 208160"/>
                <a:gd name="connsiteY6" fmla="*/ 172521 h 172567"/>
                <a:gd name="connsiteX7" fmla="*/ 208161 w 208160"/>
                <a:gd name="connsiteY7" fmla="*/ 147341 h 172567"/>
                <a:gd name="connsiteX8" fmla="*/ 175502 w 208160"/>
                <a:gd name="connsiteY8" fmla="*/ 147341 h 172567"/>
                <a:gd name="connsiteX9" fmla="*/ 175502 w 208160"/>
                <a:gd name="connsiteY9" fmla="*/ 117996 h 172567"/>
                <a:gd name="connsiteX10" fmla="*/ 140383 w 208160"/>
                <a:gd name="connsiteY10" fmla="*/ 71469 h 172567"/>
                <a:gd name="connsiteX11" fmla="*/ 142040 w 208160"/>
                <a:gd name="connsiteY11" fmla="*/ 0 h 172567"/>
                <a:gd name="connsiteX12" fmla="*/ 71043 w 208160"/>
                <a:gd name="connsiteY12" fmla="*/ 0 h 17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160" h="172567">
                  <a:moveTo>
                    <a:pt x="71043" y="0"/>
                  </a:moveTo>
                  <a:lnTo>
                    <a:pt x="71043" y="71469"/>
                  </a:lnTo>
                  <a:lnTo>
                    <a:pt x="37581" y="120409"/>
                  </a:lnTo>
                  <a:lnTo>
                    <a:pt x="37581" y="146536"/>
                  </a:lnTo>
                  <a:lnTo>
                    <a:pt x="0" y="146536"/>
                  </a:lnTo>
                  <a:lnTo>
                    <a:pt x="331" y="172568"/>
                  </a:lnTo>
                  <a:lnTo>
                    <a:pt x="208161" y="172521"/>
                  </a:lnTo>
                  <a:lnTo>
                    <a:pt x="208161" y="147341"/>
                  </a:lnTo>
                  <a:lnTo>
                    <a:pt x="175502" y="147341"/>
                  </a:lnTo>
                  <a:lnTo>
                    <a:pt x="175502" y="117996"/>
                  </a:lnTo>
                  <a:lnTo>
                    <a:pt x="140383" y="71469"/>
                  </a:lnTo>
                  <a:lnTo>
                    <a:pt x="142040" y="0"/>
                  </a:lnTo>
                  <a:lnTo>
                    <a:pt x="71043" y="0"/>
                  </a:lnTo>
                  <a:close/>
                </a:path>
              </a:pathLst>
            </a:custGeom>
            <a:gradFill>
              <a:gsLst>
                <a:gs pos="0">
                  <a:srgbClr val="0C3D60"/>
                </a:gs>
                <a:gs pos="24000">
                  <a:srgbClr val="005991"/>
                </a:gs>
                <a:gs pos="54000">
                  <a:srgbClr val="A9C8DE"/>
                </a:gs>
                <a:gs pos="77000">
                  <a:srgbClr val="3A739E"/>
                </a:gs>
                <a:gs pos="99000">
                  <a:srgbClr val="0C3D60"/>
                </a:gs>
              </a:gsLst>
              <a:lin ang="0" scaled="1"/>
            </a:gradFill>
            <a:ln w="4718" cap="flat">
              <a:noFill/>
              <a:prstDash val="solid"/>
              <a:miter/>
            </a:ln>
          </p:spPr>
          <p:txBody>
            <a:bodyPr rtlCol="0" anchor="ctr"/>
            <a:lstStyle/>
            <a:p>
              <a:endParaRPr lang="en-GB"/>
            </a:p>
          </p:txBody>
        </p:sp>
        <p:sp>
          <p:nvSpPr>
            <p:cNvPr id="1498" name="Freeform: Shape 1497">
              <a:extLst>
                <a:ext uri="{FF2B5EF4-FFF2-40B4-BE49-F238E27FC236}">
                  <a16:creationId xmlns:a16="http://schemas.microsoft.com/office/drawing/2014/main" id="{20C662FC-8E61-F700-B81C-C327155B3579}"/>
                </a:ext>
              </a:extLst>
            </p:cNvPr>
            <p:cNvSpPr/>
            <p:nvPr/>
          </p:nvSpPr>
          <p:spPr>
            <a:xfrm>
              <a:off x="2797328" y="2598904"/>
              <a:ext cx="344207" cy="656416"/>
            </a:xfrm>
            <a:custGeom>
              <a:avLst/>
              <a:gdLst>
                <a:gd name="connsiteX0" fmla="*/ 103313 w 390899"/>
                <a:gd name="connsiteY0" fmla="*/ 0 h 745459"/>
                <a:gd name="connsiteX1" fmla="*/ 103313 w 390899"/>
                <a:gd name="connsiteY1" fmla="*/ 45201 h 745459"/>
                <a:gd name="connsiteX2" fmla="*/ 115003 w 390899"/>
                <a:gd name="connsiteY2" fmla="*/ 45201 h 745459"/>
                <a:gd name="connsiteX3" fmla="*/ 7278 w 390899"/>
                <a:gd name="connsiteY3" fmla="*/ 398809 h 745459"/>
                <a:gd name="connsiteX4" fmla="*/ 7278 w 390899"/>
                <a:gd name="connsiteY4" fmla="*/ 537015 h 745459"/>
                <a:gd name="connsiteX5" fmla="*/ 57496 w 390899"/>
                <a:gd name="connsiteY5" fmla="*/ 712659 h 745459"/>
                <a:gd name="connsiteX6" fmla="*/ 49450 w 390899"/>
                <a:gd name="connsiteY6" fmla="*/ 726717 h 745459"/>
                <a:gd name="connsiteX7" fmla="*/ 51769 w 390899"/>
                <a:gd name="connsiteY7" fmla="*/ 745460 h 745459"/>
                <a:gd name="connsiteX8" fmla="*/ 193620 w 390899"/>
                <a:gd name="connsiteY8" fmla="*/ 720848 h 745459"/>
                <a:gd name="connsiteX9" fmla="*/ 339872 w 390899"/>
                <a:gd name="connsiteY9" fmla="*/ 745460 h 745459"/>
                <a:gd name="connsiteX10" fmla="*/ 339872 w 390899"/>
                <a:gd name="connsiteY10" fmla="*/ 726717 h 745459"/>
                <a:gd name="connsiteX11" fmla="*/ 331683 w 390899"/>
                <a:gd name="connsiteY11" fmla="*/ 713843 h 745459"/>
                <a:gd name="connsiteX12" fmla="*/ 382043 w 390899"/>
                <a:gd name="connsiteY12" fmla="*/ 527644 h 745459"/>
                <a:gd name="connsiteX13" fmla="*/ 382043 w 390899"/>
                <a:gd name="connsiteY13" fmla="*/ 385935 h 745459"/>
                <a:gd name="connsiteX14" fmla="*/ 275454 w 390899"/>
                <a:gd name="connsiteY14" fmla="*/ 46337 h 745459"/>
                <a:gd name="connsiteX15" fmla="*/ 289512 w 390899"/>
                <a:gd name="connsiteY15" fmla="*/ 46337 h 745459"/>
                <a:gd name="connsiteX16" fmla="*/ 289512 w 390899"/>
                <a:gd name="connsiteY16" fmla="*/ 0 h 745459"/>
                <a:gd name="connsiteX17" fmla="*/ 103313 w 390899"/>
                <a:gd name="connsiteY17" fmla="*/ 0 h 745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899" h="745459">
                  <a:moveTo>
                    <a:pt x="103313" y="0"/>
                  </a:moveTo>
                  <a:lnTo>
                    <a:pt x="103313" y="45201"/>
                  </a:lnTo>
                  <a:lnTo>
                    <a:pt x="115003" y="45201"/>
                  </a:lnTo>
                  <a:lnTo>
                    <a:pt x="7278" y="398809"/>
                  </a:lnTo>
                  <a:cubicBezTo>
                    <a:pt x="7278" y="398809"/>
                    <a:pt x="-9098" y="456174"/>
                    <a:pt x="7278" y="537015"/>
                  </a:cubicBezTo>
                  <a:lnTo>
                    <a:pt x="57496" y="712659"/>
                  </a:lnTo>
                  <a:lnTo>
                    <a:pt x="49450" y="726717"/>
                  </a:lnTo>
                  <a:lnTo>
                    <a:pt x="51769" y="745460"/>
                  </a:lnTo>
                  <a:lnTo>
                    <a:pt x="193620" y="720848"/>
                  </a:lnTo>
                  <a:lnTo>
                    <a:pt x="339872" y="745460"/>
                  </a:lnTo>
                  <a:lnTo>
                    <a:pt x="339872" y="726717"/>
                  </a:lnTo>
                  <a:lnTo>
                    <a:pt x="331683" y="713843"/>
                  </a:lnTo>
                  <a:lnTo>
                    <a:pt x="382043" y="527644"/>
                  </a:lnTo>
                  <a:cubicBezTo>
                    <a:pt x="382043" y="527644"/>
                    <a:pt x="401970" y="470279"/>
                    <a:pt x="382043" y="385935"/>
                  </a:cubicBezTo>
                  <a:lnTo>
                    <a:pt x="275454" y="46337"/>
                  </a:lnTo>
                  <a:lnTo>
                    <a:pt x="289512" y="46337"/>
                  </a:lnTo>
                  <a:lnTo>
                    <a:pt x="289512" y="0"/>
                  </a:lnTo>
                  <a:lnTo>
                    <a:pt x="103313" y="0"/>
                  </a:lnTo>
                  <a:close/>
                </a:path>
              </a:pathLst>
            </a:custGeom>
            <a:gradFill>
              <a:gsLst>
                <a:gs pos="0">
                  <a:srgbClr val="0C3D60"/>
                </a:gs>
                <a:gs pos="24000">
                  <a:srgbClr val="005991"/>
                </a:gs>
                <a:gs pos="54000">
                  <a:srgbClr val="A9C8DE"/>
                </a:gs>
                <a:gs pos="85000">
                  <a:srgbClr val="3A739E"/>
                </a:gs>
              </a:gsLst>
              <a:lin ang="0" scaled="1"/>
            </a:gradFill>
            <a:ln w="4718" cap="flat">
              <a:noFill/>
              <a:prstDash val="solid"/>
              <a:miter/>
            </a:ln>
          </p:spPr>
          <p:txBody>
            <a:bodyPr rtlCol="0" anchor="ctr"/>
            <a:lstStyle/>
            <a:p>
              <a:endParaRPr lang="en-GB"/>
            </a:p>
          </p:txBody>
        </p:sp>
        <p:sp>
          <p:nvSpPr>
            <p:cNvPr id="1499" name="Freeform: Shape 1498">
              <a:extLst>
                <a:ext uri="{FF2B5EF4-FFF2-40B4-BE49-F238E27FC236}">
                  <a16:creationId xmlns:a16="http://schemas.microsoft.com/office/drawing/2014/main" id="{A49F8C8D-73FB-D287-010A-58835D26A562}"/>
                </a:ext>
              </a:extLst>
            </p:cNvPr>
            <p:cNvSpPr/>
            <p:nvPr/>
          </p:nvSpPr>
          <p:spPr>
            <a:xfrm>
              <a:off x="2818639" y="2598863"/>
              <a:ext cx="299700" cy="469285"/>
            </a:xfrm>
            <a:custGeom>
              <a:avLst/>
              <a:gdLst>
                <a:gd name="connsiteX0" fmla="*/ 121282 w 340354"/>
                <a:gd name="connsiteY0" fmla="*/ 47 h 532944"/>
                <a:gd name="connsiteX1" fmla="*/ 222002 w 340354"/>
                <a:gd name="connsiteY1" fmla="*/ 47 h 532944"/>
                <a:gd name="connsiteX2" fmla="*/ 222002 w 340354"/>
                <a:gd name="connsiteY2" fmla="*/ 51070 h 532944"/>
                <a:gd name="connsiteX3" fmla="*/ 230190 w 340354"/>
                <a:gd name="connsiteY3" fmla="*/ 51070 h 532944"/>
                <a:gd name="connsiteX4" fmla="*/ 336779 w 340354"/>
                <a:gd name="connsiteY4" fmla="*/ 396537 h 532944"/>
                <a:gd name="connsiteX5" fmla="*/ 330910 w 340354"/>
                <a:gd name="connsiteY5" fmla="*/ 532945 h 532944"/>
                <a:gd name="connsiteX6" fmla="*/ 11191 w 340354"/>
                <a:gd name="connsiteY6" fmla="*/ 532945 h 532944"/>
                <a:gd name="connsiteX7" fmla="*/ 11191 w 340354"/>
                <a:gd name="connsiteY7" fmla="*/ 377794 h 532944"/>
                <a:gd name="connsiteX8" fmla="*/ 112479 w 340354"/>
                <a:gd name="connsiteY8" fmla="*/ 49887 h 532944"/>
                <a:gd name="connsiteX9" fmla="*/ 121850 w 340354"/>
                <a:gd name="connsiteY9" fmla="*/ 49887 h 532944"/>
                <a:gd name="connsiteX10" fmla="*/ 121282 w 340354"/>
                <a:gd name="connsiteY10" fmla="*/ 0 h 53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0354" h="532944">
                  <a:moveTo>
                    <a:pt x="121282" y="47"/>
                  </a:moveTo>
                  <a:lnTo>
                    <a:pt x="222002" y="47"/>
                  </a:lnTo>
                  <a:lnTo>
                    <a:pt x="222002" y="51070"/>
                  </a:lnTo>
                  <a:lnTo>
                    <a:pt x="230190" y="51070"/>
                  </a:lnTo>
                  <a:lnTo>
                    <a:pt x="336779" y="396537"/>
                  </a:lnTo>
                  <a:cubicBezTo>
                    <a:pt x="336779" y="396537"/>
                    <a:pt x="347902" y="490820"/>
                    <a:pt x="330910" y="532945"/>
                  </a:cubicBezTo>
                  <a:cubicBezTo>
                    <a:pt x="330910" y="532945"/>
                    <a:pt x="183948" y="427539"/>
                    <a:pt x="11191" y="532945"/>
                  </a:cubicBezTo>
                  <a:cubicBezTo>
                    <a:pt x="11191" y="532945"/>
                    <a:pt x="-13989" y="449784"/>
                    <a:pt x="11191" y="377794"/>
                  </a:cubicBezTo>
                  <a:lnTo>
                    <a:pt x="112479" y="49887"/>
                  </a:lnTo>
                  <a:lnTo>
                    <a:pt x="121850" y="49887"/>
                  </a:lnTo>
                  <a:lnTo>
                    <a:pt x="121282" y="0"/>
                  </a:lnTo>
                  <a:close/>
                </a:path>
              </a:pathLst>
            </a:custGeom>
            <a:solidFill>
              <a:srgbClr val="D82F27"/>
            </a:solidFill>
            <a:ln w="4718" cap="flat">
              <a:noFill/>
              <a:prstDash val="solid"/>
              <a:miter/>
            </a:ln>
          </p:spPr>
          <p:txBody>
            <a:bodyPr rtlCol="0" anchor="ctr"/>
            <a:lstStyle/>
            <a:p>
              <a:endParaRPr lang="en-GB"/>
            </a:p>
          </p:txBody>
        </p:sp>
        <p:sp>
          <p:nvSpPr>
            <p:cNvPr id="1500" name="Freeform: Shape 1499">
              <a:extLst>
                <a:ext uri="{FF2B5EF4-FFF2-40B4-BE49-F238E27FC236}">
                  <a16:creationId xmlns:a16="http://schemas.microsoft.com/office/drawing/2014/main" id="{C9E0D773-C4FB-424A-A979-0142CAF66096}"/>
                </a:ext>
              </a:extLst>
            </p:cNvPr>
            <p:cNvSpPr/>
            <p:nvPr/>
          </p:nvSpPr>
          <p:spPr>
            <a:xfrm>
              <a:off x="2828493" y="3025527"/>
              <a:ext cx="281529" cy="203496"/>
            </a:xfrm>
            <a:custGeom>
              <a:avLst/>
              <a:gdLst>
                <a:gd name="connsiteX0" fmla="*/ 44491 w 319719"/>
                <a:gd name="connsiteY0" fmla="*/ 228781 h 231100"/>
                <a:gd name="connsiteX1" fmla="*/ 277548 w 319719"/>
                <a:gd name="connsiteY1" fmla="*/ 231100 h 231100"/>
                <a:gd name="connsiteX2" fmla="*/ 319719 w 319719"/>
                <a:gd name="connsiteY2" fmla="*/ 48404 h 231100"/>
                <a:gd name="connsiteX3" fmla="*/ 0 w 319719"/>
                <a:gd name="connsiteY3" fmla="*/ 48404 h 231100"/>
                <a:gd name="connsiteX4" fmla="*/ 44491 w 319719"/>
                <a:gd name="connsiteY4" fmla="*/ 228734 h 23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19" h="231100">
                  <a:moveTo>
                    <a:pt x="44491" y="228781"/>
                  </a:moveTo>
                  <a:cubicBezTo>
                    <a:pt x="44491" y="228781"/>
                    <a:pt x="180898" y="197164"/>
                    <a:pt x="277548" y="231100"/>
                  </a:cubicBezTo>
                  <a:lnTo>
                    <a:pt x="319719" y="48404"/>
                  </a:lnTo>
                  <a:cubicBezTo>
                    <a:pt x="319719" y="48404"/>
                    <a:pt x="160073" y="-60505"/>
                    <a:pt x="0" y="48404"/>
                  </a:cubicBezTo>
                  <a:lnTo>
                    <a:pt x="44491" y="228734"/>
                  </a:lnTo>
                  <a:close/>
                </a:path>
              </a:pathLst>
            </a:custGeom>
            <a:solidFill>
              <a:srgbClr val="F7ED49"/>
            </a:solidFill>
            <a:ln w="4718" cap="flat">
              <a:noFill/>
              <a:prstDash val="solid"/>
              <a:miter/>
            </a:ln>
          </p:spPr>
          <p:txBody>
            <a:bodyPr rtlCol="0" anchor="ctr"/>
            <a:lstStyle/>
            <a:p>
              <a:endParaRPr lang="en-GB"/>
            </a:p>
          </p:txBody>
        </p:sp>
        <p:sp>
          <p:nvSpPr>
            <p:cNvPr id="1501" name="Freeform: Shape 1500">
              <a:extLst>
                <a:ext uri="{FF2B5EF4-FFF2-40B4-BE49-F238E27FC236}">
                  <a16:creationId xmlns:a16="http://schemas.microsoft.com/office/drawing/2014/main" id="{92653F9E-1F19-4750-C0C1-F1F338C7501C}"/>
                </a:ext>
              </a:extLst>
            </p:cNvPr>
            <p:cNvSpPr/>
            <p:nvPr/>
          </p:nvSpPr>
          <p:spPr>
            <a:xfrm>
              <a:off x="2828493" y="3025555"/>
              <a:ext cx="139993" cy="201425"/>
            </a:xfrm>
            <a:custGeom>
              <a:avLst/>
              <a:gdLst>
                <a:gd name="connsiteX0" fmla="*/ 158984 w 158983"/>
                <a:gd name="connsiteY0" fmla="*/ 0 h 228749"/>
                <a:gd name="connsiteX1" fmla="*/ 158984 w 158983"/>
                <a:gd name="connsiteY1" fmla="*/ 215450 h 228749"/>
                <a:gd name="connsiteX2" fmla="*/ 44491 w 158983"/>
                <a:gd name="connsiteY2" fmla="*/ 228750 h 228749"/>
                <a:gd name="connsiteX3" fmla="*/ 0 w 158983"/>
                <a:gd name="connsiteY3" fmla="*/ 48419 h 228749"/>
                <a:gd name="connsiteX4" fmla="*/ 158984 w 158983"/>
                <a:gd name="connsiteY4" fmla="*/ 0 h 22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983" h="228749">
                  <a:moveTo>
                    <a:pt x="158984" y="0"/>
                  </a:moveTo>
                  <a:lnTo>
                    <a:pt x="158984" y="215450"/>
                  </a:lnTo>
                  <a:cubicBezTo>
                    <a:pt x="158984" y="215450"/>
                    <a:pt x="113026" y="211143"/>
                    <a:pt x="44491" y="228750"/>
                  </a:cubicBezTo>
                  <a:lnTo>
                    <a:pt x="0" y="48419"/>
                  </a:lnTo>
                  <a:cubicBezTo>
                    <a:pt x="0" y="48419"/>
                    <a:pt x="25180" y="0"/>
                    <a:pt x="158984" y="0"/>
                  </a:cubicBezTo>
                  <a:close/>
                </a:path>
              </a:pathLst>
            </a:custGeom>
            <a:solidFill>
              <a:srgbClr val="FADE00"/>
            </a:solidFill>
            <a:ln w="4718" cap="flat">
              <a:noFill/>
              <a:prstDash val="solid"/>
              <a:miter/>
            </a:ln>
          </p:spPr>
          <p:txBody>
            <a:bodyPr rtlCol="0" anchor="ctr"/>
            <a:lstStyle/>
            <a:p>
              <a:endParaRPr lang="en-GB"/>
            </a:p>
          </p:txBody>
        </p:sp>
        <p:sp>
          <p:nvSpPr>
            <p:cNvPr id="1502" name="Freeform: Shape 1501">
              <a:extLst>
                <a:ext uri="{FF2B5EF4-FFF2-40B4-BE49-F238E27FC236}">
                  <a16:creationId xmlns:a16="http://schemas.microsoft.com/office/drawing/2014/main" id="{A2E5DFF2-8F95-D96C-C225-5CE2FD2CE207}"/>
                </a:ext>
              </a:extLst>
            </p:cNvPr>
            <p:cNvSpPr/>
            <p:nvPr/>
          </p:nvSpPr>
          <p:spPr>
            <a:xfrm>
              <a:off x="3005122" y="308644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03" name="Freeform: Shape 1502">
              <a:extLst>
                <a:ext uri="{FF2B5EF4-FFF2-40B4-BE49-F238E27FC236}">
                  <a16:creationId xmlns:a16="http://schemas.microsoft.com/office/drawing/2014/main" id="{F8EB24F6-C3F3-6B52-B203-F6AC34D2A9C7}"/>
                </a:ext>
              </a:extLst>
            </p:cNvPr>
            <p:cNvSpPr/>
            <p:nvPr/>
          </p:nvSpPr>
          <p:spPr>
            <a:xfrm>
              <a:off x="3005413" y="308694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04" name="Freeform: Shape 1503">
              <a:extLst>
                <a:ext uri="{FF2B5EF4-FFF2-40B4-BE49-F238E27FC236}">
                  <a16:creationId xmlns:a16="http://schemas.microsoft.com/office/drawing/2014/main" id="{B35566A6-8F6C-2875-9881-35AEBE7957F7}"/>
                </a:ext>
              </a:extLst>
            </p:cNvPr>
            <p:cNvSpPr/>
            <p:nvPr/>
          </p:nvSpPr>
          <p:spPr>
            <a:xfrm>
              <a:off x="2991493" y="308694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05" name="Freeform: Shape 1504">
              <a:extLst>
                <a:ext uri="{FF2B5EF4-FFF2-40B4-BE49-F238E27FC236}">
                  <a16:creationId xmlns:a16="http://schemas.microsoft.com/office/drawing/2014/main" id="{AD17A946-118F-13E6-548B-622B520B0FC5}"/>
                </a:ext>
              </a:extLst>
            </p:cNvPr>
            <p:cNvSpPr/>
            <p:nvPr/>
          </p:nvSpPr>
          <p:spPr>
            <a:xfrm>
              <a:off x="2977823" y="308669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06" name="Freeform: Shape 1505">
              <a:extLst>
                <a:ext uri="{FF2B5EF4-FFF2-40B4-BE49-F238E27FC236}">
                  <a16:creationId xmlns:a16="http://schemas.microsoft.com/office/drawing/2014/main" id="{E6CDE974-0A5F-4A9A-F3C3-F5EC7D5CAFF5}"/>
                </a:ext>
              </a:extLst>
            </p:cNvPr>
            <p:cNvSpPr/>
            <p:nvPr/>
          </p:nvSpPr>
          <p:spPr>
            <a:xfrm>
              <a:off x="2978323" y="3095989"/>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07" name="Freeform: Shape 1506">
              <a:extLst>
                <a:ext uri="{FF2B5EF4-FFF2-40B4-BE49-F238E27FC236}">
                  <a16:creationId xmlns:a16="http://schemas.microsoft.com/office/drawing/2014/main" id="{01F2F7A9-2286-B3ED-69CD-FB29394E07EC}"/>
                </a:ext>
              </a:extLst>
            </p:cNvPr>
            <p:cNvSpPr/>
            <p:nvPr/>
          </p:nvSpPr>
          <p:spPr>
            <a:xfrm>
              <a:off x="2991743" y="3095989"/>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08" name="Freeform: Shape 1507">
              <a:extLst>
                <a:ext uri="{FF2B5EF4-FFF2-40B4-BE49-F238E27FC236}">
                  <a16:creationId xmlns:a16="http://schemas.microsoft.com/office/drawing/2014/main" id="{96472C91-394A-07D2-4ACF-C49007328239}"/>
                </a:ext>
              </a:extLst>
            </p:cNvPr>
            <p:cNvSpPr/>
            <p:nvPr/>
          </p:nvSpPr>
          <p:spPr>
            <a:xfrm>
              <a:off x="3005413" y="3095989"/>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09" name="Freeform: Shape 1508">
              <a:extLst>
                <a:ext uri="{FF2B5EF4-FFF2-40B4-BE49-F238E27FC236}">
                  <a16:creationId xmlns:a16="http://schemas.microsoft.com/office/drawing/2014/main" id="{3C7159DE-7627-C155-0722-1A33BA474018}"/>
                </a:ext>
              </a:extLst>
            </p:cNvPr>
            <p:cNvSpPr/>
            <p:nvPr/>
          </p:nvSpPr>
          <p:spPr>
            <a:xfrm>
              <a:off x="3000245" y="3104991"/>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10" name="Freeform: Shape 1509">
              <a:extLst>
                <a:ext uri="{FF2B5EF4-FFF2-40B4-BE49-F238E27FC236}">
                  <a16:creationId xmlns:a16="http://schemas.microsoft.com/office/drawing/2014/main" id="{C9DFC5BC-BF9F-CD95-752F-0B58AD4010A8}"/>
                </a:ext>
              </a:extLst>
            </p:cNvPr>
            <p:cNvSpPr/>
            <p:nvPr/>
          </p:nvSpPr>
          <p:spPr>
            <a:xfrm>
              <a:off x="2992494" y="311403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11" name="Freeform: Shape 1510">
              <a:extLst>
                <a:ext uri="{FF2B5EF4-FFF2-40B4-BE49-F238E27FC236}">
                  <a16:creationId xmlns:a16="http://schemas.microsoft.com/office/drawing/2014/main" id="{1759CF35-DA0C-78D1-297F-CDA82452F050}"/>
                </a:ext>
              </a:extLst>
            </p:cNvPr>
            <p:cNvSpPr/>
            <p:nvPr/>
          </p:nvSpPr>
          <p:spPr>
            <a:xfrm>
              <a:off x="2973696" y="3132832"/>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12" name="Freeform: Shape 1511">
              <a:extLst>
                <a:ext uri="{FF2B5EF4-FFF2-40B4-BE49-F238E27FC236}">
                  <a16:creationId xmlns:a16="http://schemas.microsoft.com/office/drawing/2014/main" id="{410BC0B7-519C-E447-4DF5-EAD6F5D92F30}"/>
                </a:ext>
              </a:extLst>
            </p:cNvPr>
            <p:cNvSpPr/>
            <p:nvPr/>
          </p:nvSpPr>
          <p:spPr>
            <a:xfrm>
              <a:off x="2982449" y="3146252"/>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13" name="Freeform: Shape 1512">
              <a:extLst>
                <a:ext uri="{FF2B5EF4-FFF2-40B4-BE49-F238E27FC236}">
                  <a16:creationId xmlns:a16="http://schemas.microsoft.com/office/drawing/2014/main" id="{D3E09D36-3BF1-F552-211C-C193AE0F9296}"/>
                </a:ext>
              </a:extLst>
            </p:cNvPr>
            <p:cNvSpPr/>
            <p:nvPr/>
          </p:nvSpPr>
          <p:spPr>
            <a:xfrm>
              <a:off x="2973446" y="3150878"/>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14" name="Freeform: Shape 1513">
              <a:extLst>
                <a:ext uri="{FF2B5EF4-FFF2-40B4-BE49-F238E27FC236}">
                  <a16:creationId xmlns:a16="http://schemas.microsoft.com/office/drawing/2014/main" id="{081069A6-583D-36DF-6001-EEDEE4AF768C}"/>
                </a:ext>
              </a:extLst>
            </p:cNvPr>
            <p:cNvSpPr/>
            <p:nvPr/>
          </p:nvSpPr>
          <p:spPr>
            <a:xfrm>
              <a:off x="2987367" y="3164548"/>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15" name="Freeform: Shape 1514">
              <a:extLst>
                <a:ext uri="{FF2B5EF4-FFF2-40B4-BE49-F238E27FC236}">
                  <a16:creationId xmlns:a16="http://schemas.microsoft.com/office/drawing/2014/main" id="{3026947B-13D9-1063-E0F0-978824E6C834}"/>
                </a:ext>
              </a:extLst>
            </p:cNvPr>
            <p:cNvSpPr/>
            <p:nvPr/>
          </p:nvSpPr>
          <p:spPr>
            <a:xfrm>
              <a:off x="2978073" y="3177468"/>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16" name="Freeform: Shape 1515">
              <a:extLst>
                <a:ext uri="{FF2B5EF4-FFF2-40B4-BE49-F238E27FC236}">
                  <a16:creationId xmlns:a16="http://schemas.microsoft.com/office/drawing/2014/main" id="{367CF8F6-29B4-F3BE-355C-70EF7DA16B44}"/>
                </a:ext>
              </a:extLst>
            </p:cNvPr>
            <p:cNvSpPr/>
            <p:nvPr/>
          </p:nvSpPr>
          <p:spPr>
            <a:xfrm>
              <a:off x="2991201" y="3172800"/>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17" name="Freeform: Shape 1516">
              <a:extLst>
                <a:ext uri="{FF2B5EF4-FFF2-40B4-BE49-F238E27FC236}">
                  <a16:creationId xmlns:a16="http://schemas.microsoft.com/office/drawing/2014/main" id="{1C99FB03-3E9F-E5AF-942E-B50E39B49561}"/>
                </a:ext>
              </a:extLst>
            </p:cNvPr>
            <p:cNvSpPr/>
            <p:nvPr/>
          </p:nvSpPr>
          <p:spPr>
            <a:xfrm>
              <a:off x="3005122" y="3173050"/>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18" name="Freeform: Shape 1517">
              <a:extLst>
                <a:ext uri="{FF2B5EF4-FFF2-40B4-BE49-F238E27FC236}">
                  <a16:creationId xmlns:a16="http://schemas.microsoft.com/office/drawing/2014/main" id="{50433924-B776-038B-E76C-84726AAC98CE}"/>
                </a:ext>
              </a:extLst>
            </p:cNvPr>
            <p:cNvSpPr/>
            <p:nvPr/>
          </p:nvSpPr>
          <p:spPr>
            <a:xfrm>
              <a:off x="3078348" y="3132582"/>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19" name="Freeform: Shape 1518">
              <a:extLst>
                <a:ext uri="{FF2B5EF4-FFF2-40B4-BE49-F238E27FC236}">
                  <a16:creationId xmlns:a16="http://schemas.microsoft.com/office/drawing/2014/main" id="{D05E9864-6DAD-E152-9360-1F24EFBD04D7}"/>
                </a:ext>
              </a:extLst>
            </p:cNvPr>
            <p:cNvSpPr/>
            <p:nvPr/>
          </p:nvSpPr>
          <p:spPr>
            <a:xfrm>
              <a:off x="3078098" y="3141876"/>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20" name="Freeform: Shape 1519">
              <a:extLst>
                <a:ext uri="{FF2B5EF4-FFF2-40B4-BE49-F238E27FC236}">
                  <a16:creationId xmlns:a16="http://schemas.microsoft.com/office/drawing/2014/main" id="{30E4DA6A-858C-A550-7778-5D482AD1E4EB}"/>
                </a:ext>
              </a:extLst>
            </p:cNvPr>
            <p:cNvSpPr/>
            <p:nvPr/>
          </p:nvSpPr>
          <p:spPr>
            <a:xfrm>
              <a:off x="3072680" y="3150378"/>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21" name="Freeform: Shape 1520">
              <a:extLst>
                <a:ext uri="{FF2B5EF4-FFF2-40B4-BE49-F238E27FC236}">
                  <a16:creationId xmlns:a16="http://schemas.microsoft.com/office/drawing/2014/main" id="{0C91E442-5598-563F-C00D-73CC4F1DFE4D}"/>
                </a:ext>
              </a:extLst>
            </p:cNvPr>
            <p:cNvSpPr/>
            <p:nvPr/>
          </p:nvSpPr>
          <p:spPr>
            <a:xfrm>
              <a:off x="3055676" y="320372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22" name="Freeform: Shape 1521">
              <a:extLst>
                <a:ext uri="{FF2B5EF4-FFF2-40B4-BE49-F238E27FC236}">
                  <a16:creationId xmlns:a16="http://schemas.microsoft.com/office/drawing/2014/main" id="{4745ADD8-F4C0-A27F-7B11-4080AB5C635E}"/>
                </a:ext>
              </a:extLst>
            </p:cNvPr>
            <p:cNvSpPr/>
            <p:nvPr/>
          </p:nvSpPr>
          <p:spPr>
            <a:xfrm>
              <a:off x="3054884" y="3214061"/>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23" name="Freeform: Shape 1522">
              <a:extLst>
                <a:ext uri="{FF2B5EF4-FFF2-40B4-BE49-F238E27FC236}">
                  <a16:creationId xmlns:a16="http://schemas.microsoft.com/office/drawing/2014/main" id="{CC6B1445-6BA1-4580-7D89-0EFDE3A92D23}"/>
                </a:ext>
              </a:extLst>
            </p:cNvPr>
            <p:cNvSpPr/>
            <p:nvPr/>
          </p:nvSpPr>
          <p:spPr>
            <a:xfrm>
              <a:off x="3041506" y="3204016"/>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24" name="Freeform: Shape 1523">
              <a:extLst>
                <a:ext uri="{FF2B5EF4-FFF2-40B4-BE49-F238E27FC236}">
                  <a16:creationId xmlns:a16="http://schemas.microsoft.com/office/drawing/2014/main" id="{BF2614FC-569B-FAE0-C7BA-B824CCE9CACD}"/>
                </a:ext>
              </a:extLst>
            </p:cNvPr>
            <p:cNvSpPr/>
            <p:nvPr/>
          </p:nvSpPr>
          <p:spPr>
            <a:xfrm>
              <a:off x="3014666" y="319551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25" name="Freeform: Shape 1524">
              <a:extLst>
                <a:ext uri="{FF2B5EF4-FFF2-40B4-BE49-F238E27FC236}">
                  <a16:creationId xmlns:a16="http://schemas.microsoft.com/office/drawing/2014/main" id="{644CAC09-60A1-BD65-CC77-E4963DA357AF}"/>
                </a:ext>
              </a:extLst>
            </p:cNvPr>
            <p:cNvSpPr/>
            <p:nvPr/>
          </p:nvSpPr>
          <p:spPr>
            <a:xfrm>
              <a:off x="3022918" y="3186971"/>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26" name="Freeform: Shape 1525">
              <a:extLst>
                <a:ext uri="{FF2B5EF4-FFF2-40B4-BE49-F238E27FC236}">
                  <a16:creationId xmlns:a16="http://schemas.microsoft.com/office/drawing/2014/main" id="{BD54D2DB-2926-0B0D-ED84-BED7A1DEE8D3}"/>
                </a:ext>
              </a:extLst>
            </p:cNvPr>
            <p:cNvSpPr/>
            <p:nvPr/>
          </p:nvSpPr>
          <p:spPr>
            <a:xfrm>
              <a:off x="3037087" y="3186471"/>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27" name="Freeform: Shape 1526">
              <a:extLst>
                <a:ext uri="{FF2B5EF4-FFF2-40B4-BE49-F238E27FC236}">
                  <a16:creationId xmlns:a16="http://schemas.microsoft.com/office/drawing/2014/main" id="{78A09976-AB74-DC4E-C838-E9C3054AF779}"/>
                </a:ext>
              </a:extLst>
            </p:cNvPr>
            <p:cNvSpPr/>
            <p:nvPr/>
          </p:nvSpPr>
          <p:spPr>
            <a:xfrm>
              <a:off x="3051550" y="3186721"/>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28" name="Freeform: Shape 1527">
              <a:extLst>
                <a:ext uri="{FF2B5EF4-FFF2-40B4-BE49-F238E27FC236}">
                  <a16:creationId xmlns:a16="http://schemas.microsoft.com/office/drawing/2014/main" id="{FD18B95A-E328-259F-4187-98094B85EA2E}"/>
                </a:ext>
              </a:extLst>
            </p:cNvPr>
            <p:cNvSpPr/>
            <p:nvPr/>
          </p:nvSpPr>
          <p:spPr>
            <a:xfrm>
              <a:off x="3028086" y="319551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29" name="Freeform: Shape 1528">
              <a:extLst>
                <a:ext uri="{FF2B5EF4-FFF2-40B4-BE49-F238E27FC236}">
                  <a16:creationId xmlns:a16="http://schemas.microsoft.com/office/drawing/2014/main" id="{C87E4854-6EDE-47D7-8808-20BCDA59740B}"/>
                </a:ext>
              </a:extLst>
            </p:cNvPr>
            <p:cNvSpPr/>
            <p:nvPr/>
          </p:nvSpPr>
          <p:spPr>
            <a:xfrm>
              <a:off x="3018541" y="3205017"/>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30" name="Freeform: Shape 1529">
              <a:extLst>
                <a:ext uri="{FF2B5EF4-FFF2-40B4-BE49-F238E27FC236}">
                  <a16:creationId xmlns:a16="http://schemas.microsoft.com/office/drawing/2014/main" id="{2A452097-5097-FCAF-8D10-4FA52AA570ED}"/>
                </a:ext>
              </a:extLst>
            </p:cNvPr>
            <p:cNvSpPr/>
            <p:nvPr/>
          </p:nvSpPr>
          <p:spPr>
            <a:xfrm>
              <a:off x="3041506" y="3196014"/>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31" name="Freeform: Shape 1530">
              <a:extLst>
                <a:ext uri="{FF2B5EF4-FFF2-40B4-BE49-F238E27FC236}">
                  <a16:creationId xmlns:a16="http://schemas.microsoft.com/office/drawing/2014/main" id="{489EBE14-B4A6-15AE-C746-A9FFF4FFB29C}"/>
                </a:ext>
              </a:extLst>
            </p:cNvPr>
            <p:cNvSpPr/>
            <p:nvPr/>
          </p:nvSpPr>
          <p:spPr>
            <a:xfrm>
              <a:off x="3051300" y="3196014"/>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32" name="Freeform: Shape 1531">
              <a:extLst>
                <a:ext uri="{FF2B5EF4-FFF2-40B4-BE49-F238E27FC236}">
                  <a16:creationId xmlns:a16="http://schemas.microsoft.com/office/drawing/2014/main" id="{3575ABF2-7C97-584A-94A3-0743117C0796}"/>
                </a:ext>
              </a:extLst>
            </p:cNvPr>
            <p:cNvSpPr/>
            <p:nvPr/>
          </p:nvSpPr>
          <p:spPr>
            <a:xfrm>
              <a:off x="3027835" y="3177468"/>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33" name="Freeform: Shape 1532">
              <a:extLst>
                <a:ext uri="{FF2B5EF4-FFF2-40B4-BE49-F238E27FC236}">
                  <a16:creationId xmlns:a16="http://schemas.microsoft.com/office/drawing/2014/main" id="{1943D495-89F8-355A-0918-5DE2F5ECAF60}"/>
                </a:ext>
              </a:extLst>
            </p:cNvPr>
            <p:cNvSpPr/>
            <p:nvPr/>
          </p:nvSpPr>
          <p:spPr>
            <a:xfrm>
              <a:off x="3010540" y="3186721"/>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34" name="Freeform: Shape 1533">
              <a:extLst>
                <a:ext uri="{FF2B5EF4-FFF2-40B4-BE49-F238E27FC236}">
                  <a16:creationId xmlns:a16="http://schemas.microsoft.com/office/drawing/2014/main" id="{42214465-5861-D422-8DB8-D07629CDA3C7}"/>
                </a:ext>
              </a:extLst>
            </p:cNvPr>
            <p:cNvSpPr/>
            <p:nvPr/>
          </p:nvSpPr>
          <p:spPr>
            <a:xfrm>
              <a:off x="3000995" y="3191638"/>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35" name="Freeform: Shape 1534">
              <a:extLst>
                <a:ext uri="{FF2B5EF4-FFF2-40B4-BE49-F238E27FC236}">
                  <a16:creationId xmlns:a16="http://schemas.microsoft.com/office/drawing/2014/main" id="{31D3361F-5F85-E68C-944D-EF56FB87F8D3}"/>
                </a:ext>
              </a:extLst>
            </p:cNvPr>
            <p:cNvSpPr/>
            <p:nvPr/>
          </p:nvSpPr>
          <p:spPr>
            <a:xfrm>
              <a:off x="3046132" y="3118662"/>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36" name="Freeform: Shape 1535">
              <a:extLst>
                <a:ext uri="{FF2B5EF4-FFF2-40B4-BE49-F238E27FC236}">
                  <a16:creationId xmlns:a16="http://schemas.microsoft.com/office/drawing/2014/main" id="{E9701A6C-0735-DA30-4B19-3EB91E73EC93}"/>
                </a:ext>
              </a:extLst>
            </p:cNvPr>
            <p:cNvSpPr/>
            <p:nvPr/>
          </p:nvSpPr>
          <p:spPr>
            <a:xfrm>
              <a:off x="3026794" y="3108867"/>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37" name="Freeform: Shape 1536">
              <a:extLst>
                <a:ext uri="{FF2B5EF4-FFF2-40B4-BE49-F238E27FC236}">
                  <a16:creationId xmlns:a16="http://schemas.microsoft.com/office/drawing/2014/main" id="{3C759448-B12E-753A-707A-788C6ADEF684}"/>
                </a:ext>
              </a:extLst>
            </p:cNvPr>
            <p:cNvSpPr/>
            <p:nvPr/>
          </p:nvSpPr>
          <p:spPr>
            <a:xfrm>
              <a:off x="3045881" y="310036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38" name="Freeform: Shape 1537">
              <a:extLst>
                <a:ext uri="{FF2B5EF4-FFF2-40B4-BE49-F238E27FC236}">
                  <a16:creationId xmlns:a16="http://schemas.microsoft.com/office/drawing/2014/main" id="{6AE03CC4-E8E7-C6C1-51BE-33B67F80C65A}"/>
                </a:ext>
              </a:extLst>
            </p:cNvPr>
            <p:cNvSpPr/>
            <p:nvPr/>
          </p:nvSpPr>
          <p:spPr>
            <a:xfrm>
              <a:off x="3032212" y="310036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39" name="Freeform: Shape 1538">
              <a:extLst>
                <a:ext uri="{FF2B5EF4-FFF2-40B4-BE49-F238E27FC236}">
                  <a16:creationId xmlns:a16="http://schemas.microsoft.com/office/drawing/2014/main" id="{FC3B78A2-3BB4-4CEA-4D11-98F795E8227C}"/>
                </a:ext>
              </a:extLst>
            </p:cNvPr>
            <p:cNvSpPr/>
            <p:nvPr/>
          </p:nvSpPr>
          <p:spPr>
            <a:xfrm>
              <a:off x="3042005" y="3110659"/>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40" name="Freeform: Shape 1539">
              <a:extLst>
                <a:ext uri="{FF2B5EF4-FFF2-40B4-BE49-F238E27FC236}">
                  <a16:creationId xmlns:a16="http://schemas.microsoft.com/office/drawing/2014/main" id="{1341D210-DE61-3198-54CF-E6200BE8C76D}"/>
                </a:ext>
              </a:extLst>
            </p:cNvPr>
            <p:cNvSpPr/>
            <p:nvPr/>
          </p:nvSpPr>
          <p:spPr>
            <a:xfrm>
              <a:off x="3032712" y="3118662"/>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41" name="Freeform: Shape 1540">
              <a:extLst>
                <a:ext uri="{FF2B5EF4-FFF2-40B4-BE49-F238E27FC236}">
                  <a16:creationId xmlns:a16="http://schemas.microsoft.com/office/drawing/2014/main" id="{EDCDE0ED-01A5-BA78-B456-C68300CFC281}"/>
                </a:ext>
              </a:extLst>
            </p:cNvPr>
            <p:cNvSpPr/>
            <p:nvPr/>
          </p:nvSpPr>
          <p:spPr>
            <a:xfrm>
              <a:off x="3032462" y="312845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42" name="Freeform: Shape 1541">
              <a:extLst>
                <a:ext uri="{FF2B5EF4-FFF2-40B4-BE49-F238E27FC236}">
                  <a16:creationId xmlns:a16="http://schemas.microsoft.com/office/drawing/2014/main" id="{D62CFED6-F7CB-DCE1-A9C2-7FE28CC3C43A}"/>
                </a:ext>
              </a:extLst>
            </p:cNvPr>
            <p:cNvSpPr/>
            <p:nvPr/>
          </p:nvSpPr>
          <p:spPr>
            <a:xfrm>
              <a:off x="3046132" y="312745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43" name="Freeform: Shape 1542">
              <a:extLst>
                <a:ext uri="{FF2B5EF4-FFF2-40B4-BE49-F238E27FC236}">
                  <a16:creationId xmlns:a16="http://schemas.microsoft.com/office/drawing/2014/main" id="{3DEC0037-0A93-B4C8-778A-0E6E40C2FF23}"/>
                </a:ext>
              </a:extLst>
            </p:cNvPr>
            <p:cNvSpPr/>
            <p:nvPr/>
          </p:nvSpPr>
          <p:spPr>
            <a:xfrm>
              <a:off x="3059260" y="3118162"/>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44" name="Freeform: Shape 1543">
              <a:extLst>
                <a:ext uri="{FF2B5EF4-FFF2-40B4-BE49-F238E27FC236}">
                  <a16:creationId xmlns:a16="http://schemas.microsoft.com/office/drawing/2014/main" id="{91FD2EFE-BFDB-A647-22B0-AA29E00F3DB5}"/>
                </a:ext>
              </a:extLst>
            </p:cNvPr>
            <p:cNvSpPr/>
            <p:nvPr/>
          </p:nvSpPr>
          <p:spPr>
            <a:xfrm>
              <a:off x="3059552" y="312770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45" name="Freeform: Shape 1544">
              <a:extLst>
                <a:ext uri="{FF2B5EF4-FFF2-40B4-BE49-F238E27FC236}">
                  <a16:creationId xmlns:a16="http://schemas.microsoft.com/office/drawing/2014/main" id="{ACA2AA00-71F2-1858-43CE-E38E0BA1247D}"/>
                </a:ext>
              </a:extLst>
            </p:cNvPr>
            <p:cNvSpPr/>
            <p:nvPr/>
          </p:nvSpPr>
          <p:spPr>
            <a:xfrm>
              <a:off x="3064178" y="3131540"/>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46" name="Freeform: Shape 1545">
              <a:extLst>
                <a:ext uri="{FF2B5EF4-FFF2-40B4-BE49-F238E27FC236}">
                  <a16:creationId xmlns:a16="http://schemas.microsoft.com/office/drawing/2014/main" id="{A5EB227C-8AFC-B307-9658-C6F4FC975933}"/>
                </a:ext>
              </a:extLst>
            </p:cNvPr>
            <p:cNvSpPr/>
            <p:nvPr/>
          </p:nvSpPr>
          <p:spPr>
            <a:xfrm>
              <a:off x="3064428" y="3142126"/>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47" name="Freeform: Shape 1546">
              <a:extLst>
                <a:ext uri="{FF2B5EF4-FFF2-40B4-BE49-F238E27FC236}">
                  <a16:creationId xmlns:a16="http://schemas.microsoft.com/office/drawing/2014/main" id="{8C83133F-A9D6-4CDB-1BF9-B799B27206F6}"/>
                </a:ext>
              </a:extLst>
            </p:cNvPr>
            <p:cNvSpPr/>
            <p:nvPr/>
          </p:nvSpPr>
          <p:spPr>
            <a:xfrm>
              <a:off x="3073972" y="3122537"/>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48" name="Freeform: Shape 1547">
              <a:extLst>
                <a:ext uri="{FF2B5EF4-FFF2-40B4-BE49-F238E27FC236}">
                  <a16:creationId xmlns:a16="http://schemas.microsoft.com/office/drawing/2014/main" id="{6E46D298-05F9-7AA2-184D-15EBC9198368}"/>
                </a:ext>
              </a:extLst>
            </p:cNvPr>
            <p:cNvSpPr/>
            <p:nvPr/>
          </p:nvSpPr>
          <p:spPr>
            <a:xfrm>
              <a:off x="3067762" y="3114536"/>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49" name="Freeform: Shape 1548">
              <a:extLst>
                <a:ext uri="{FF2B5EF4-FFF2-40B4-BE49-F238E27FC236}">
                  <a16:creationId xmlns:a16="http://schemas.microsoft.com/office/drawing/2014/main" id="{26A55F5A-418D-B990-6938-F4958CBE9306}"/>
                </a:ext>
              </a:extLst>
            </p:cNvPr>
            <p:cNvSpPr/>
            <p:nvPr/>
          </p:nvSpPr>
          <p:spPr>
            <a:xfrm>
              <a:off x="3068804" y="3091613"/>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50" name="Freeform: Shape 1549">
              <a:extLst>
                <a:ext uri="{FF2B5EF4-FFF2-40B4-BE49-F238E27FC236}">
                  <a16:creationId xmlns:a16="http://schemas.microsoft.com/office/drawing/2014/main" id="{36D89774-E505-5EDF-9367-E3F559F7CD40}"/>
                </a:ext>
              </a:extLst>
            </p:cNvPr>
            <p:cNvSpPr/>
            <p:nvPr/>
          </p:nvSpPr>
          <p:spPr>
            <a:xfrm>
              <a:off x="3019041" y="3092113"/>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51" name="Freeform: Shape 1550">
              <a:extLst>
                <a:ext uri="{FF2B5EF4-FFF2-40B4-BE49-F238E27FC236}">
                  <a16:creationId xmlns:a16="http://schemas.microsoft.com/office/drawing/2014/main" id="{2C92917B-FE75-49B2-95A8-C48E38C158EA}"/>
                </a:ext>
              </a:extLst>
            </p:cNvPr>
            <p:cNvSpPr/>
            <p:nvPr/>
          </p:nvSpPr>
          <p:spPr>
            <a:xfrm>
              <a:off x="3015958" y="310011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52" name="Freeform: Shape 1551">
              <a:extLst>
                <a:ext uri="{FF2B5EF4-FFF2-40B4-BE49-F238E27FC236}">
                  <a16:creationId xmlns:a16="http://schemas.microsoft.com/office/drawing/2014/main" id="{8424934F-530F-FEF1-30D3-FECB73B501B5}"/>
                </a:ext>
              </a:extLst>
            </p:cNvPr>
            <p:cNvSpPr/>
            <p:nvPr/>
          </p:nvSpPr>
          <p:spPr>
            <a:xfrm>
              <a:off x="3014416" y="3103991"/>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53" name="Freeform: Shape 1552">
              <a:extLst>
                <a:ext uri="{FF2B5EF4-FFF2-40B4-BE49-F238E27FC236}">
                  <a16:creationId xmlns:a16="http://schemas.microsoft.com/office/drawing/2014/main" id="{7FDF3271-CEAD-8191-E4B5-24446A27392F}"/>
                </a:ext>
              </a:extLst>
            </p:cNvPr>
            <p:cNvSpPr/>
            <p:nvPr/>
          </p:nvSpPr>
          <p:spPr>
            <a:xfrm>
              <a:off x="3014666" y="311403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54" name="Freeform: Shape 1553">
              <a:extLst>
                <a:ext uri="{FF2B5EF4-FFF2-40B4-BE49-F238E27FC236}">
                  <a16:creationId xmlns:a16="http://schemas.microsoft.com/office/drawing/2014/main" id="{D6DAEECA-8458-7ADD-A5FD-40E686D30354}"/>
                </a:ext>
              </a:extLst>
            </p:cNvPr>
            <p:cNvSpPr/>
            <p:nvPr/>
          </p:nvSpPr>
          <p:spPr>
            <a:xfrm>
              <a:off x="3019041" y="3118412"/>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55" name="Freeform: Shape 1554">
              <a:extLst>
                <a:ext uri="{FF2B5EF4-FFF2-40B4-BE49-F238E27FC236}">
                  <a16:creationId xmlns:a16="http://schemas.microsoft.com/office/drawing/2014/main" id="{C4663315-9E0D-F578-6E2B-E8C5A8A39B4F}"/>
                </a:ext>
              </a:extLst>
            </p:cNvPr>
            <p:cNvSpPr/>
            <p:nvPr/>
          </p:nvSpPr>
          <p:spPr>
            <a:xfrm>
              <a:off x="3005413" y="311378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56" name="Freeform: Shape 1555">
              <a:extLst>
                <a:ext uri="{FF2B5EF4-FFF2-40B4-BE49-F238E27FC236}">
                  <a16:creationId xmlns:a16="http://schemas.microsoft.com/office/drawing/2014/main" id="{51A088EE-7B8B-3433-7CB4-DCF1A522B9B0}"/>
                </a:ext>
              </a:extLst>
            </p:cNvPr>
            <p:cNvSpPr/>
            <p:nvPr/>
          </p:nvSpPr>
          <p:spPr>
            <a:xfrm>
              <a:off x="3027835" y="3136708"/>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57" name="Freeform: Shape 1556">
              <a:extLst>
                <a:ext uri="{FF2B5EF4-FFF2-40B4-BE49-F238E27FC236}">
                  <a16:creationId xmlns:a16="http://schemas.microsoft.com/office/drawing/2014/main" id="{5DC43FBD-1101-F864-3644-3B3E32934C03}"/>
                </a:ext>
              </a:extLst>
            </p:cNvPr>
            <p:cNvSpPr/>
            <p:nvPr/>
          </p:nvSpPr>
          <p:spPr>
            <a:xfrm>
              <a:off x="3023709" y="3159422"/>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58" name="Freeform: Shape 1557">
              <a:extLst>
                <a:ext uri="{FF2B5EF4-FFF2-40B4-BE49-F238E27FC236}">
                  <a16:creationId xmlns:a16="http://schemas.microsoft.com/office/drawing/2014/main" id="{20180D0B-DE57-9603-DB8B-BD50D53703E7}"/>
                </a:ext>
              </a:extLst>
            </p:cNvPr>
            <p:cNvSpPr/>
            <p:nvPr/>
          </p:nvSpPr>
          <p:spPr>
            <a:xfrm>
              <a:off x="3009247" y="3163798"/>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59" name="Freeform: Shape 1558">
              <a:extLst>
                <a:ext uri="{FF2B5EF4-FFF2-40B4-BE49-F238E27FC236}">
                  <a16:creationId xmlns:a16="http://schemas.microsoft.com/office/drawing/2014/main" id="{EB86AA31-6F63-111F-F0A7-FA18E5590DF1}"/>
                </a:ext>
              </a:extLst>
            </p:cNvPr>
            <p:cNvSpPr/>
            <p:nvPr/>
          </p:nvSpPr>
          <p:spPr>
            <a:xfrm>
              <a:off x="3045881" y="3168174"/>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60" name="Freeform: Shape 1559">
              <a:extLst>
                <a:ext uri="{FF2B5EF4-FFF2-40B4-BE49-F238E27FC236}">
                  <a16:creationId xmlns:a16="http://schemas.microsoft.com/office/drawing/2014/main" id="{D7483A8D-2E92-5F7C-BB42-3C79D06125DA}"/>
                </a:ext>
              </a:extLst>
            </p:cNvPr>
            <p:cNvSpPr/>
            <p:nvPr/>
          </p:nvSpPr>
          <p:spPr>
            <a:xfrm>
              <a:off x="3018541" y="3140834"/>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61" name="Freeform: Shape 1560">
              <a:extLst>
                <a:ext uri="{FF2B5EF4-FFF2-40B4-BE49-F238E27FC236}">
                  <a16:creationId xmlns:a16="http://schemas.microsoft.com/office/drawing/2014/main" id="{8007D240-D0F9-9EE8-7F02-B71EE13307FA}"/>
                </a:ext>
              </a:extLst>
            </p:cNvPr>
            <p:cNvSpPr/>
            <p:nvPr/>
          </p:nvSpPr>
          <p:spPr>
            <a:xfrm>
              <a:off x="3017750" y="312745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62" name="Freeform: Shape 1561">
              <a:extLst>
                <a:ext uri="{FF2B5EF4-FFF2-40B4-BE49-F238E27FC236}">
                  <a16:creationId xmlns:a16="http://schemas.microsoft.com/office/drawing/2014/main" id="{9FB8CFDA-DB9E-3507-670A-18A0F55ECEB6}"/>
                </a:ext>
              </a:extLst>
            </p:cNvPr>
            <p:cNvSpPr/>
            <p:nvPr/>
          </p:nvSpPr>
          <p:spPr>
            <a:xfrm>
              <a:off x="3045881" y="3145793"/>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63" name="Freeform: Shape 1562">
              <a:extLst>
                <a:ext uri="{FF2B5EF4-FFF2-40B4-BE49-F238E27FC236}">
                  <a16:creationId xmlns:a16="http://schemas.microsoft.com/office/drawing/2014/main" id="{17EF7BC8-A13E-6FB9-AE3E-1A6DBA99879E}"/>
                </a:ext>
              </a:extLst>
            </p:cNvPr>
            <p:cNvSpPr/>
            <p:nvPr/>
          </p:nvSpPr>
          <p:spPr>
            <a:xfrm>
              <a:off x="3041047" y="3135749"/>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64" name="Freeform: Shape 1563">
              <a:extLst>
                <a:ext uri="{FF2B5EF4-FFF2-40B4-BE49-F238E27FC236}">
                  <a16:creationId xmlns:a16="http://schemas.microsoft.com/office/drawing/2014/main" id="{0C798871-DCC0-F260-4DA5-6DCE4B7512AB}"/>
                </a:ext>
              </a:extLst>
            </p:cNvPr>
            <p:cNvSpPr/>
            <p:nvPr/>
          </p:nvSpPr>
          <p:spPr>
            <a:xfrm>
              <a:off x="3030961" y="3146002"/>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65" name="Freeform: Shape 1564">
              <a:extLst>
                <a:ext uri="{FF2B5EF4-FFF2-40B4-BE49-F238E27FC236}">
                  <a16:creationId xmlns:a16="http://schemas.microsoft.com/office/drawing/2014/main" id="{41EADBCA-705A-05C9-5BAE-B0D8FDA9EC1E}"/>
                </a:ext>
              </a:extLst>
            </p:cNvPr>
            <p:cNvSpPr/>
            <p:nvPr/>
          </p:nvSpPr>
          <p:spPr>
            <a:xfrm>
              <a:off x="3018416" y="3151003"/>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66" name="Freeform: Shape 1565">
              <a:extLst>
                <a:ext uri="{FF2B5EF4-FFF2-40B4-BE49-F238E27FC236}">
                  <a16:creationId xmlns:a16="http://schemas.microsoft.com/office/drawing/2014/main" id="{B2754BC6-4A1B-4029-EE4E-6299499BBD9B}"/>
                </a:ext>
              </a:extLst>
            </p:cNvPr>
            <p:cNvSpPr/>
            <p:nvPr/>
          </p:nvSpPr>
          <p:spPr>
            <a:xfrm>
              <a:off x="3007955" y="3155088"/>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67" name="Freeform: Shape 1566">
              <a:extLst>
                <a:ext uri="{FF2B5EF4-FFF2-40B4-BE49-F238E27FC236}">
                  <a16:creationId xmlns:a16="http://schemas.microsoft.com/office/drawing/2014/main" id="{5B4E4B5F-4B75-FC3D-016D-B7BEC98F3B48}"/>
                </a:ext>
              </a:extLst>
            </p:cNvPr>
            <p:cNvSpPr/>
            <p:nvPr/>
          </p:nvSpPr>
          <p:spPr>
            <a:xfrm>
              <a:off x="2995786" y="3146210"/>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68" name="Freeform: Shape 1567">
              <a:extLst>
                <a:ext uri="{FF2B5EF4-FFF2-40B4-BE49-F238E27FC236}">
                  <a16:creationId xmlns:a16="http://schemas.microsoft.com/office/drawing/2014/main" id="{FB16A18C-6557-91DD-7BA1-09ABF5F0AD9E}"/>
                </a:ext>
              </a:extLst>
            </p:cNvPr>
            <p:cNvSpPr/>
            <p:nvPr/>
          </p:nvSpPr>
          <p:spPr>
            <a:xfrm>
              <a:off x="2986325" y="3156254"/>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69" name="Freeform: Shape 1568">
              <a:extLst>
                <a:ext uri="{FF2B5EF4-FFF2-40B4-BE49-F238E27FC236}">
                  <a16:creationId xmlns:a16="http://schemas.microsoft.com/office/drawing/2014/main" id="{3087CFE4-B37C-F107-A81E-8067B6F780A7}"/>
                </a:ext>
              </a:extLst>
            </p:cNvPr>
            <p:cNvSpPr/>
            <p:nvPr/>
          </p:nvSpPr>
          <p:spPr>
            <a:xfrm>
              <a:off x="2977823" y="3168632"/>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70" name="Freeform: Shape 1569">
              <a:extLst>
                <a:ext uri="{FF2B5EF4-FFF2-40B4-BE49-F238E27FC236}">
                  <a16:creationId xmlns:a16="http://schemas.microsoft.com/office/drawing/2014/main" id="{AA7984ED-46E0-1C96-9223-306692630D67}"/>
                </a:ext>
              </a:extLst>
            </p:cNvPr>
            <p:cNvSpPr/>
            <p:nvPr/>
          </p:nvSpPr>
          <p:spPr>
            <a:xfrm>
              <a:off x="2977614" y="3113702"/>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71" name="Freeform: Shape 1570">
              <a:extLst>
                <a:ext uri="{FF2B5EF4-FFF2-40B4-BE49-F238E27FC236}">
                  <a16:creationId xmlns:a16="http://schemas.microsoft.com/office/drawing/2014/main" id="{AF3E6215-D3B8-5B7A-FBA7-E1FA25234F30}"/>
                </a:ext>
              </a:extLst>
            </p:cNvPr>
            <p:cNvSpPr/>
            <p:nvPr/>
          </p:nvSpPr>
          <p:spPr>
            <a:xfrm>
              <a:off x="2986492" y="3104407"/>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72" name="Freeform: Shape 1571">
              <a:extLst>
                <a:ext uri="{FF2B5EF4-FFF2-40B4-BE49-F238E27FC236}">
                  <a16:creationId xmlns:a16="http://schemas.microsoft.com/office/drawing/2014/main" id="{F51235C7-44A7-6F55-9E29-9A3397AE3426}"/>
                </a:ext>
              </a:extLst>
            </p:cNvPr>
            <p:cNvSpPr/>
            <p:nvPr/>
          </p:nvSpPr>
          <p:spPr>
            <a:xfrm>
              <a:off x="3081432" y="3091279"/>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73" name="Freeform: Shape 1572">
              <a:extLst>
                <a:ext uri="{FF2B5EF4-FFF2-40B4-BE49-F238E27FC236}">
                  <a16:creationId xmlns:a16="http://schemas.microsoft.com/office/drawing/2014/main" id="{423D9B19-DF36-B22F-2A33-A18DFD125C59}"/>
                </a:ext>
              </a:extLst>
            </p:cNvPr>
            <p:cNvSpPr/>
            <p:nvPr/>
          </p:nvSpPr>
          <p:spPr>
            <a:xfrm>
              <a:off x="3059969" y="3168216"/>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74" name="Freeform: Shape 1573">
              <a:extLst>
                <a:ext uri="{FF2B5EF4-FFF2-40B4-BE49-F238E27FC236}">
                  <a16:creationId xmlns:a16="http://schemas.microsoft.com/office/drawing/2014/main" id="{A596BB91-0F37-871E-E48E-85BEF28DB83F}"/>
                </a:ext>
              </a:extLst>
            </p:cNvPr>
            <p:cNvSpPr/>
            <p:nvPr/>
          </p:nvSpPr>
          <p:spPr>
            <a:xfrm>
              <a:off x="3063470" y="3168424"/>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75" name="Freeform: Shape 1574">
              <a:extLst>
                <a:ext uri="{FF2B5EF4-FFF2-40B4-BE49-F238E27FC236}">
                  <a16:creationId xmlns:a16="http://schemas.microsoft.com/office/drawing/2014/main" id="{C0C82EB8-EFF5-5B8C-3791-6924BF73BFF9}"/>
                </a:ext>
              </a:extLst>
            </p:cNvPr>
            <p:cNvSpPr/>
            <p:nvPr/>
          </p:nvSpPr>
          <p:spPr>
            <a:xfrm>
              <a:off x="3059010" y="3145418"/>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76" name="Freeform: Shape 1575">
              <a:extLst>
                <a:ext uri="{FF2B5EF4-FFF2-40B4-BE49-F238E27FC236}">
                  <a16:creationId xmlns:a16="http://schemas.microsoft.com/office/drawing/2014/main" id="{6CB02ED8-E80D-AC2D-DA5D-F06422D5BACC}"/>
                </a:ext>
              </a:extLst>
            </p:cNvPr>
            <p:cNvSpPr/>
            <p:nvPr/>
          </p:nvSpPr>
          <p:spPr>
            <a:xfrm>
              <a:off x="3074681" y="3160506"/>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77" name="Freeform: Shape 1576">
              <a:extLst>
                <a:ext uri="{FF2B5EF4-FFF2-40B4-BE49-F238E27FC236}">
                  <a16:creationId xmlns:a16="http://schemas.microsoft.com/office/drawing/2014/main" id="{CE79D758-743F-AF94-F6F8-254CC8AAA0A6}"/>
                </a:ext>
              </a:extLst>
            </p:cNvPr>
            <p:cNvSpPr/>
            <p:nvPr/>
          </p:nvSpPr>
          <p:spPr>
            <a:xfrm>
              <a:off x="3030794" y="3169007"/>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78" name="Freeform: Shape 1577">
              <a:extLst>
                <a:ext uri="{FF2B5EF4-FFF2-40B4-BE49-F238E27FC236}">
                  <a16:creationId xmlns:a16="http://schemas.microsoft.com/office/drawing/2014/main" id="{91B5130D-D3D4-275C-7823-15E899B67B66}"/>
                </a:ext>
              </a:extLst>
            </p:cNvPr>
            <p:cNvSpPr/>
            <p:nvPr/>
          </p:nvSpPr>
          <p:spPr>
            <a:xfrm>
              <a:off x="3037380" y="3159713"/>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79" name="Freeform: Shape 1578">
              <a:extLst>
                <a:ext uri="{FF2B5EF4-FFF2-40B4-BE49-F238E27FC236}">
                  <a16:creationId xmlns:a16="http://schemas.microsoft.com/office/drawing/2014/main" id="{B1BBBF4C-7FA8-2FA4-026C-B71EA883EECE}"/>
                </a:ext>
              </a:extLst>
            </p:cNvPr>
            <p:cNvSpPr/>
            <p:nvPr/>
          </p:nvSpPr>
          <p:spPr>
            <a:xfrm>
              <a:off x="2985950" y="3182136"/>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80" name="Freeform: Shape 1579">
              <a:extLst>
                <a:ext uri="{FF2B5EF4-FFF2-40B4-BE49-F238E27FC236}">
                  <a16:creationId xmlns:a16="http://schemas.microsoft.com/office/drawing/2014/main" id="{5CC71C64-3F31-2A90-20DB-17F1C53FAF15}"/>
                </a:ext>
              </a:extLst>
            </p:cNvPr>
            <p:cNvSpPr/>
            <p:nvPr/>
          </p:nvSpPr>
          <p:spPr>
            <a:xfrm>
              <a:off x="2986492" y="3192014"/>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81" name="Freeform: Shape 1580">
              <a:extLst>
                <a:ext uri="{FF2B5EF4-FFF2-40B4-BE49-F238E27FC236}">
                  <a16:creationId xmlns:a16="http://schemas.microsoft.com/office/drawing/2014/main" id="{5094CBE3-6D47-279A-BC0E-5CB837D1EE54}"/>
                </a:ext>
              </a:extLst>
            </p:cNvPr>
            <p:cNvSpPr/>
            <p:nvPr/>
          </p:nvSpPr>
          <p:spPr>
            <a:xfrm>
              <a:off x="2991326" y="3200308"/>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82" name="Freeform: Shape 1581">
              <a:extLst>
                <a:ext uri="{FF2B5EF4-FFF2-40B4-BE49-F238E27FC236}">
                  <a16:creationId xmlns:a16="http://schemas.microsoft.com/office/drawing/2014/main" id="{12F5830B-4C07-B005-49C3-CC234532F927}"/>
                </a:ext>
              </a:extLst>
            </p:cNvPr>
            <p:cNvSpPr/>
            <p:nvPr/>
          </p:nvSpPr>
          <p:spPr>
            <a:xfrm>
              <a:off x="2977239" y="3199932"/>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83" name="Freeform: Shape 1582">
              <a:extLst>
                <a:ext uri="{FF2B5EF4-FFF2-40B4-BE49-F238E27FC236}">
                  <a16:creationId xmlns:a16="http://schemas.microsoft.com/office/drawing/2014/main" id="{F497DF19-39BC-733F-76D2-DCD59EF6CC6A}"/>
                </a:ext>
              </a:extLst>
            </p:cNvPr>
            <p:cNvSpPr/>
            <p:nvPr/>
          </p:nvSpPr>
          <p:spPr>
            <a:xfrm>
              <a:off x="3004121" y="3200308"/>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84" name="Freeform: Shape 1583">
              <a:extLst>
                <a:ext uri="{FF2B5EF4-FFF2-40B4-BE49-F238E27FC236}">
                  <a16:creationId xmlns:a16="http://schemas.microsoft.com/office/drawing/2014/main" id="{52843A01-452C-F5FA-7FDE-1DCB1BE83709}"/>
                </a:ext>
              </a:extLst>
            </p:cNvPr>
            <p:cNvSpPr/>
            <p:nvPr/>
          </p:nvSpPr>
          <p:spPr>
            <a:xfrm>
              <a:off x="3010081" y="3178302"/>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85" name="Freeform: Shape 1584">
              <a:extLst>
                <a:ext uri="{FF2B5EF4-FFF2-40B4-BE49-F238E27FC236}">
                  <a16:creationId xmlns:a16="http://schemas.microsoft.com/office/drawing/2014/main" id="{690D72D7-63A6-7856-4893-138D8532F70C}"/>
                </a:ext>
              </a:extLst>
            </p:cNvPr>
            <p:cNvSpPr/>
            <p:nvPr/>
          </p:nvSpPr>
          <p:spPr>
            <a:xfrm>
              <a:off x="2996161" y="3164173"/>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86" name="Freeform: Shape 1585">
              <a:extLst>
                <a:ext uri="{FF2B5EF4-FFF2-40B4-BE49-F238E27FC236}">
                  <a16:creationId xmlns:a16="http://schemas.microsoft.com/office/drawing/2014/main" id="{B228405F-5358-47CA-DA83-85DEEC3E86D7}"/>
                </a:ext>
              </a:extLst>
            </p:cNvPr>
            <p:cNvSpPr/>
            <p:nvPr/>
          </p:nvSpPr>
          <p:spPr>
            <a:xfrm>
              <a:off x="3055134" y="3091279"/>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87" name="Freeform: Shape 1586">
              <a:extLst>
                <a:ext uri="{FF2B5EF4-FFF2-40B4-BE49-F238E27FC236}">
                  <a16:creationId xmlns:a16="http://schemas.microsoft.com/office/drawing/2014/main" id="{DB62FD2A-7DB0-CDA6-C76E-ECA48723FDCF}"/>
                </a:ext>
              </a:extLst>
            </p:cNvPr>
            <p:cNvSpPr/>
            <p:nvPr/>
          </p:nvSpPr>
          <p:spPr>
            <a:xfrm>
              <a:off x="3039881" y="3091279"/>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88" name="Freeform: Shape 1587">
              <a:extLst>
                <a:ext uri="{FF2B5EF4-FFF2-40B4-BE49-F238E27FC236}">
                  <a16:creationId xmlns:a16="http://schemas.microsoft.com/office/drawing/2014/main" id="{922464E0-DF24-CBF8-A114-3A2F4A518FEF}"/>
                </a:ext>
              </a:extLst>
            </p:cNvPr>
            <p:cNvSpPr/>
            <p:nvPr/>
          </p:nvSpPr>
          <p:spPr>
            <a:xfrm>
              <a:off x="3060552" y="3104616"/>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89" name="Freeform: Shape 1588">
              <a:extLst>
                <a:ext uri="{FF2B5EF4-FFF2-40B4-BE49-F238E27FC236}">
                  <a16:creationId xmlns:a16="http://schemas.microsoft.com/office/drawing/2014/main" id="{C6C3FEF2-11B2-3AAA-0A8D-F7E98619F795}"/>
                </a:ext>
              </a:extLst>
            </p:cNvPr>
            <p:cNvSpPr/>
            <p:nvPr/>
          </p:nvSpPr>
          <p:spPr>
            <a:xfrm>
              <a:off x="3050299" y="3109075"/>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90" name="Freeform: Shape 1589">
              <a:extLst>
                <a:ext uri="{FF2B5EF4-FFF2-40B4-BE49-F238E27FC236}">
                  <a16:creationId xmlns:a16="http://schemas.microsoft.com/office/drawing/2014/main" id="{CF9F629C-F168-7516-1669-5C7867332510}"/>
                </a:ext>
              </a:extLst>
            </p:cNvPr>
            <p:cNvSpPr/>
            <p:nvPr/>
          </p:nvSpPr>
          <p:spPr>
            <a:xfrm>
              <a:off x="3082807" y="3113910"/>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91" name="Freeform: Shape 1590">
              <a:extLst>
                <a:ext uri="{FF2B5EF4-FFF2-40B4-BE49-F238E27FC236}">
                  <a16:creationId xmlns:a16="http://schemas.microsoft.com/office/drawing/2014/main" id="{A8973675-4642-ED60-2561-25752CFB3FEA}"/>
                </a:ext>
              </a:extLst>
            </p:cNvPr>
            <p:cNvSpPr/>
            <p:nvPr/>
          </p:nvSpPr>
          <p:spPr>
            <a:xfrm>
              <a:off x="3063470" y="3200890"/>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92" name="Freeform: Shape 1591">
              <a:extLst>
                <a:ext uri="{FF2B5EF4-FFF2-40B4-BE49-F238E27FC236}">
                  <a16:creationId xmlns:a16="http://schemas.microsoft.com/office/drawing/2014/main" id="{C33A1B32-854B-D8CC-5AB8-E0E286C777AF}"/>
                </a:ext>
              </a:extLst>
            </p:cNvPr>
            <p:cNvSpPr/>
            <p:nvPr/>
          </p:nvSpPr>
          <p:spPr>
            <a:xfrm>
              <a:off x="3042214" y="3214436"/>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93" name="Freeform: Shape 1592">
              <a:extLst>
                <a:ext uri="{FF2B5EF4-FFF2-40B4-BE49-F238E27FC236}">
                  <a16:creationId xmlns:a16="http://schemas.microsoft.com/office/drawing/2014/main" id="{8584FF2B-9D70-2118-181E-1B02706A58A3}"/>
                </a:ext>
              </a:extLst>
            </p:cNvPr>
            <p:cNvSpPr/>
            <p:nvPr/>
          </p:nvSpPr>
          <p:spPr>
            <a:xfrm>
              <a:off x="3031753" y="3205558"/>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94" name="Freeform: Shape 1593">
              <a:extLst>
                <a:ext uri="{FF2B5EF4-FFF2-40B4-BE49-F238E27FC236}">
                  <a16:creationId xmlns:a16="http://schemas.microsoft.com/office/drawing/2014/main" id="{8DAE4674-8EB3-F2D8-295F-9FB674DD43E8}"/>
                </a:ext>
              </a:extLst>
            </p:cNvPr>
            <p:cNvSpPr/>
            <p:nvPr/>
          </p:nvSpPr>
          <p:spPr>
            <a:xfrm>
              <a:off x="3008956" y="3213852"/>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95" name="Freeform: Shape 1594">
              <a:extLst>
                <a:ext uri="{FF2B5EF4-FFF2-40B4-BE49-F238E27FC236}">
                  <a16:creationId xmlns:a16="http://schemas.microsoft.com/office/drawing/2014/main" id="{2321FB8C-B9C1-F3D6-7E55-91436BB9628D}"/>
                </a:ext>
              </a:extLst>
            </p:cNvPr>
            <p:cNvSpPr/>
            <p:nvPr/>
          </p:nvSpPr>
          <p:spPr>
            <a:xfrm>
              <a:off x="3068096" y="3222187"/>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96" name="Freeform: Shape 1595">
              <a:extLst>
                <a:ext uri="{FF2B5EF4-FFF2-40B4-BE49-F238E27FC236}">
                  <a16:creationId xmlns:a16="http://schemas.microsoft.com/office/drawing/2014/main" id="{18E92766-B944-61FC-3B6E-8FEEDB3849E9}"/>
                </a:ext>
              </a:extLst>
            </p:cNvPr>
            <p:cNvSpPr/>
            <p:nvPr/>
          </p:nvSpPr>
          <p:spPr>
            <a:xfrm>
              <a:off x="2977823" y="3209018"/>
              <a:ext cx="4000" cy="4168"/>
            </a:xfrm>
            <a:custGeom>
              <a:avLst/>
              <a:gdLst>
                <a:gd name="connsiteX0" fmla="*/ 2272 w 4543"/>
                <a:gd name="connsiteY0" fmla="*/ 4733 h 4733"/>
                <a:gd name="connsiteX1" fmla="*/ 2272 w 4543"/>
                <a:gd name="connsiteY1" fmla="*/ 0 h 4733"/>
                <a:gd name="connsiteX2" fmla="*/ 2272 w 4543"/>
                <a:gd name="connsiteY2" fmla="*/ 4733 h 4733"/>
                <a:gd name="connsiteX3" fmla="*/ 2272 w 4543"/>
                <a:gd name="connsiteY3" fmla="*/ 4733 h 4733"/>
              </a:gdLst>
              <a:ahLst/>
              <a:cxnLst>
                <a:cxn ang="0">
                  <a:pos x="connsiteX0" y="connsiteY0"/>
                </a:cxn>
                <a:cxn ang="0">
                  <a:pos x="connsiteX1" y="connsiteY1"/>
                </a:cxn>
                <a:cxn ang="0">
                  <a:pos x="connsiteX2" y="connsiteY2"/>
                </a:cxn>
                <a:cxn ang="0">
                  <a:pos x="connsiteX3" y="connsiteY3"/>
                </a:cxn>
              </a:cxnLst>
              <a:rect l="l" t="t" r="r" b="b"/>
              <a:pathLst>
                <a:path w="4543" h="4733">
                  <a:moveTo>
                    <a:pt x="2272" y="4733"/>
                  </a:moveTo>
                  <a:cubicBezTo>
                    <a:pt x="5301" y="4733"/>
                    <a:pt x="5301" y="0"/>
                    <a:pt x="2272" y="0"/>
                  </a:cubicBezTo>
                  <a:cubicBezTo>
                    <a:pt x="-757" y="0"/>
                    <a:pt x="-757" y="4733"/>
                    <a:pt x="2272" y="4733"/>
                  </a:cubicBezTo>
                  <a:lnTo>
                    <a:pt x="2272" y="4733"/>
                  </a:lnTo>
                  <a:close/>
                </a:path>
              </a:pathLst>
            </a:custGeom>
            <a:solidFill>
              <a:srgbClr val="FBB715"/>
            </a:solidFill>
            <a:ln w="4718" cap="flat">
              <a:noFill/>
              <a:prstDash val="solid"/>
              <a:miter/>
            </a:ln>
          </p:spPr>
          <p:txBody>
            <a:bodyPr rtlCol="0" anchor="ctr"/>
            <a:lstStyle/>
            <a:p>
              <a:endParaRPr lang="en-GB"/>
            </a:p>
          </p:txBody>
        </p:sp>
        <p:sp>
          <p:nvSpPr>
            <p:cNvPr id="1597" name="Freeform: Shape 1596">
              <a:extLst>
                <a:ext uri="{FF2B5EF4-FFF2-40B4-BE49-F238E27FC236}">
                  <a16:creationId xmlns:a16="http://schemas.microsoft.com/office/drawing/2014/main" id="{8D60D454-F1B2-4285-AAFA-8FADBA34CB85}"/>
                </a:ext>
              </a:extLst>
            </p:cNvPr>
            <p:cNvSpPr/>
            <p:nvPr/>
          </p:nvSpPr>
          <p:spPr>
            <a:xfrm>
              <a:off x="2941186" y="2662143"/>
              <a:ext cx="20313" cy="11044"/>
            </a:xfrm>
            <a:custGeom>
              <a:avLst/>
              <a:gdLst>
                <a:gd name="connsiteX0" fmla="*/ 4783 w 23068"/>
                <a:gd name="connsiteY0" fmla="*/ 12480 h 12542"/>
                <a:gd name="connsiteX1" fmla="*/ 9138 w 23068"/>
                <a:gd name="connsiteY1" fmla="*/ 12480 h 12542"/>
                <a:gd name="connsiteX2" fmla="*/ 12356 w 23068"/>
                <a:gd name="connsiteY2" fmla="*/ 11912 h 12542"/>
                <a:gd name="connsiteX3" fmla="*/ 14391 w 23068"/>
                <a:gd name="connsiteY3" fmla="*/ 11296 h 12542"/>
                <a:gd name="connsiteX4" fmla="*/ 22438 w 23068"/>
                <a:gd name="connsiteY4" fmla="*/ 7084 h 12542"/>
                <a:gd name="connsiteX5" fmla="*/ 20734 w 23068"/>
                <a:gd name="connsiteY5" fmla="*/ 600 h 12542"/>
                <a:gd name="connsiteX6" fmla="*/ 14249 w 23068"/>
                <a:gd name="connsiteY6" fmla="*/ 2304 h 12542"/>
                <a:gd name="connsiteX7" fmla="*/ 14155 w 23068"/>
                <a:gd name="connsiteY7" fmla="*/ 2398 h 12542"/>
                <a:gd name="connsiteX8" fmla="*/ 14912 w 23068"/>
                <a:gd name="connsiteY8" fmla="*/ 1452 h 12542"/>
                <a:gd name="connsiteX9" fmla="*/ 14486 w 23068"/>
                <a:gd name="connsiteY9" fmla="*/ 1878 h 12542"/>
                <a:gd name="connsiteX10" fmla="*/ 15433 w 23068"/>
                <a:gd name="connsiteY10" fmla="*/ 1120 h 12542"/>
                <a:gd name="connsiteX11" fmla="*/ 14581 w 23068"/>
                <a:gd name="connsiteY11" fmla="*/ 1594 h 12542"/>
                <a:gd name="connsiteX12" fmla="*/ 15717 w 23068"/>
                <a:gd name="connsiteY12" fmla="*/ 1120 h 12542"/>
                <a:gd name="connsiteX13" fmla="*/ 12498 w 23068"/>
                <a:gd name="connsiteY13" fmla="*/ 2020 h 12542"/>
                <a:gd name="connsiteX14" fmla="*/ 8191 w 23068"/>
                <a:gd name="connsiteY14" fmla="*/ 3155 h 12542"/>
                <a:gd name="connsiteX15" fmla="*/ 9469 w 23068"/>
                <a:gd name="connsiteY15" fmla="*/ 2966 h 12542"/>
                <a:gd name="connsiteX16" fmla="*/ 4736 w 23068"/>
                <a:gd name="connsiteY16" fmla="*/ 3013 h 12542"/>
                <a:gd name="connsiteX17" fmla="*/ 3 w 23068"/>
                <a:gd name="connsiteY17" fmla="*/ 7747 h 12542"/>
                <a:gd name="connsiteX18" fmla="*/ 4736 w 23068"/>
                <a:gd name="connsiteY18" fmla="*/ 12480 h 12542"/>
                <a:gd name="connsiteX19" fmla="*/ 4736 w 23068"/>
                <a:gd name="connsiteY19" fmla="*/ 12480 h 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068" h="12542">
                  <a:moveTo>
                    <a:pt x="4783" y="12480"/>
                  </a:moveTo>
                  <a:cubicBezTo>
                    <a:pt x="6250" y="12480"/>
                    <a:pt x="7718" y="12622"/>
                    <a:pt x="9138" y="12480"/>
                  </a:cubicBezTo>
                  <a:cubicBezTo>
                    <a:pt x="10179" y="12385"/>
                    <a:pt x="11315" y="12243"/>
                    <a:pt x="12356" y="11912"/>
                  </a:cubicBezTo>
                  <a:cubicBezTo>
                    <a:pt x="13066" y="11675"/>
                    <a:pt x="13729" y="11438"/>
                    <a:pt x="14391" y="11296"/>
                  </a:cubicBezTo>
                  <a:cubicBezTo>
                    <a:pt x="17468" y="10634"/>
                    <a:pt x="20639" y="9924"/>
                    <a:pt x="22438" y="7084"/>
                  </a:cubicBezTo>
                  <a:cubicBezTo>
                    <a:pt x="23763" y="5001"/>
                    <a:pt x="22911" y="1783"/>
                    <a:pt x="20734" y="600"/>
                  </a:cubicBezTo>
                  <a:cubicBezTo>
                    <a:pt x="18367" y="-631"/>
                    <a:pt x="15717" y="79"/>
                    <a:pt x="14249" y="2304"/>
                  </a:cubicBezTo>
                  <a:lnTo>
                    <a:pt x="14155" y="2398"/>
                  </a:lnTo>
                  <a:lnTo>
                    <a:pt x="14912" y="1452"/>
                  </a:lnTo>
                  <a:cubicBezTo>
                    <a:pt x="14912" y="1452"/>
                    <a:pt x="14675" y="1736"/>
                    <a:pt x="14486" y="1878"/>
                  </a:cubicBezTo>
                  <a:lnTo>
                    <a:pt x="15433" y="1120"/>
                  </a:lnTo>
                  <a:cubicBezTo>
                    <a:pt x="15149" y="1310"/>
                    <a:pt x="14865" y="1452"/>
                    <a:pt x="14581" y="1594"/>
                  </a:cubicBezTo>
                  <a:lnTo>
                    <a:pt x="15717" y="1120"/>
                  </a:lnTo>
                  <a:cubicBezTo>
                    <a:pt x="14675" y="1546"/>
                    <a:pt x="13587" y="1783"/>
                    <a:pt x="12498" y="2020"/>
                  </a:cubicBezTo>
                  <a:cubicBezTo>
                    <a:pt x="11031" y="2304"/>
                    <a:pt x="9658" y="2919"/>
                    <a:pt x="8191" y="3155"/>
                  </a:cubicBezTo>
                  <a:lnTo>
                    <a:pt x="9469" y="2966"/>
                  </a:lnTo>
                  <a:cubicBezTo>
                    <a:pt x="7907" y="3155"/>
                    <a:pt x="6298" y="3013"/>
                    <a:pt x="4736" y="3013"/>
                  </a:cubicBezTo>
                  <a:cubicBezTo>
                    <a:pt x="2275" y="3013"/>
                    <a:pt x="-92" y="5191"/>
                    <a:pt x="3" y="7747"/>
                  </a:cubicBezTo>
                  <a:cubicBezTo>
                    <a:pt x="97" y="10302"/>
                    <a:pt x="2085" y="12480"/>
                    <a:pt x="4736" y="12480"/>
                  </a:cubicBezTo>
                  <a:lnTo>
                    <a:pt x="4736" y="12480"/>
                  </a:lnTo>
                  <a:close/>
                </a:path>
              </a:pathLst>
            </a:custGeom>
            <a:solidFill>
              <a:srgbClr val="231F20"/>
            </a:solidFill>
            <a:ln w="4718" cap="flat">
              <a:noFill/>
              <a:prstDash val="solid"/>
              <a:miter/>
            </a:ln>
          </p:spPr>
          <p:txBody>
            <a:bodyPr rtlCol="0" anchor="ctr"/>
            <a:lstStyle/>
            <a:p>
              <a:endParaRPr lang="en-GB"/>
            </a:p>
          </p:txBody>
        </p:sp>
        <p:sp>
          <p:nvSpPr>
            <p:cNvPr id="1598" name="Freeform: Shape 1597">
              <a:extLst>
                <a:ext uri="{FF2B5EF4-FFF2-40B4-BE49-F238E27FC236}">
                  <a16:creationId xmlns:a16="http://schemas.microsoft.com/office/drawing/2014/main" id="{1F42556B-3A9E-AFE7-F5FF-5A7FA962991F}"/>
                </a:ext>
              </a:extLst>
            </p:cNvPr>
            <p:cNvSpPr/>
            <p:nvPr/>
          </p:nvSpPr>
          <p:spPr>
            <a:xfrm>
              <a:off x="2977861" y="2693550"/>
              <a:ext cx="17710" cy="16126"/>
            </a:xfrm>
            <a:custGeom>
              <a:avLst/>
              <a:gdLst>
                <a:gd name="connsiteX0" fmla="*/ 10274 w 20112"/>
                <a:gd name="connsiteY0" fmla="*/ 12121 h 18314"/>
                <a:gd name="connsiteX1" fmla="*/ 9422 w 20112"/>
                <a:gd name="connsiteY1" fmla="*/ 8145 h 18314"/>
                <a:gd name="connsiteX2" fmla="*/ 9612 w 20112"/>
                <a:gd name="connsiteY2" fmla="*/ 9423 h 18314"/>
                <a:gd name="connsiteX3" fmla="*/ 9612 w 20112"/>
                <a:gd name="connsiteY3" fmla="*/ 6678 h 18314"/>
                <a:gd name="connsiteX4" fmla="*/ 9422 w 20112"/>
                <a:gd name="connsiteY4" fmla="*/ 7956 h 18314"/>
                <a:gd name="connsiteX5" fmla="*/ 9517 w 20112"/>
                <a:gd name="connsiteY5" fmla="*/ 7530 h 18314"/>
                <a:gd name="connsiteX6" fmla="*/ 9044 w 20112"/>
                <a:gd name="connsiteY6" fmla="*/ 8666 h 18314"/>
                <a:gd name="connsiteX7" fmla="*/ 9138 w 20112"/>
                <a:gd name="connsiteY7" fmla="*/ 8524 h 18314"/>
                <a:gd name="connsiteX8" fmla="*/ 8381 w 20112"/>
                <a:gd name="connsiteY8" fmla="*/ 9470 h 18314"/>
                <a:gd name="connsiteX9" fmla="*/ 8476 w 20112"/>
                <a:gd name="connsiteY9" fmla="*/ 9376 h 18314"/>
                <a:gd name="connsiteX10" fmla="*/ 7529 w 20112"/>
                <a:gd name="connsiteY10" fmla="*/ 10133 h 18314"/>
                <a:gd name="connsiteX11" fmla="*/ 7624 w 20112"/>
                <a:gd name="connsiteY11" fmla="*/ 10086 h 18314"/>
                <a:gd name="connsiteX12" fmla="*/ 6488 w 20112"/>
                <a:gd name="connsiteY12" fmla="*/ 10559 h 18314"/>
                <a:gd name="connsiteX13" fmla="*/ 6630 w 20112"/>
                <a:gd name="connsiteY13" fmla="*/ 10559 h 18314"/>
                <a:gd name="connsiteX14" fmla="*/ 5352 w 20112"/>
                <a:gd name="connsiteY14" fmla="*/ 10748 h 18314"/>
                <a:gd name="connsiteX15" fmla="*/ 8712 w 20112"/>
                <a:gd name="connsiteY15" fmla="*/ 10843 h 18314"/>
                <a:gd name="connsiteX16" fmla="*/ 11647 w 20112"/>
                <a:gd name="connsiteY16" fmla="*/ 10606 h 18314"/>
                <a:gd name="connsiteX17" fmla="*/ 14392 w 20112"/>
                <a:gd name="connsiteY17" fmla="*/ 9565 h 18314"/>
                <a:gd name="connsiteX18" fmla="*/ 13256 w 20112"/>
                <a:gd name="connsiteY18" fmla="*/ 10038 h 18314"/>
                <a:gd name="connsiteX19" fmla="*/ 14676 w 20112"/>
                <a:gd name="connsiteY19" fmla="*/ 9707 h 18314"/>
                <a:gd name="connsiteX20" fmla="*/ 13398 w 20112"/>
                <a:gd name="connsiteY20" fmla="*/ 9896 h 18314"/>
                <a:gd name="connsiteX21" fmla="*/ 16617 w 20112"/>
                <a:gd name="connsiteY21" fmla="*/ 9328 h 18314"/>
                <a:gd name="connsiteX22" fmla="*/ 19457 w 20112"/>
                <a:gd name="connsiteY22" fmla="*/ 7151 h 18314"/>
                <a:gd name="connsiteX23" fmla="*/ 19930 w 20112"/>
                <a:gd name="connsiteY23" fmla="*/ 3507 h 18314"/>
                <a:gd name="connsiteX24" fmla="*/ 17753 w 20112"/>
                <a:gd name="connsiteY24" fmla="*/ 667 h 18314"/>
                <a:gd name="connsiteX25" fmla="*/ 14108 w 20112"/>
                <a:gd name="connsiteY25" fmla="*/ 193 h 18314"/>
                <a:gd name="connsiteX26" fmla="*/ 12499 w 20112"/>
                <a:gd name="connsiteY26" fmla="*/ 572 h 18314"/>
                <a:gd name="connsiteX27" fmla="*/ 13777 w 20112"/>
                <a:gd name="connsiteY27" fmla="*/ 383 h 18314"/>
                <a:gd name="connsiteX28" fmla="*/ 11268 w 20112"/>
                <a:gd name="connsiteY28" fmla="*/ 761 h 18314"/>
                <a:gd name="connsiteX29" fmla="*/ 8996 w 20112"/>
                <a:gd name="connsiteY29" fmla="*/ 1708 h 18314"/>
                <a:gd name="connsiteX30" fmla="*/ 10132 w 20112"/>
                <a:gd name="connsiteY30" fmla="*/ 1235 h 18314"/>
                <a:gd name="connsiteX31" fmla="*/ 8949 w 20112"/>
                <a:gd name="connsiteY31" fmla="*/ 1566 h 18314"/>
                <a:gd name="connsiteX32" fmla="*/ 10227 w 20112"/>
                <a:gd name="connsiteY32" fmla="*/ 1377 h 18314"/>
                <a:gd name="connsiteX33" fmla="*/ 6441 w 20112"/>
                <a:gd name="connsiteY33" fmla="*/ 1329 h 18314"/>
                <a:gd name="connsiteX34" fmla="*/ 3979 w 20112"/>
                <a:gd name="connsiteY34" fmla="*/ 1519 h 18314"/>
                <a:gd name="connsiteX35" fmla="*/ 572 w 20112"/>
                <a:gd name="connsiteY35" fmla="*/ 4548 h 18314"/>
                <a:gd name="connsiteX36" fmla="*/ 98 w 20112"/>
                <a:gd name="connsiteY36" fmla="*/ 9470 h 18314"/>
                <a:gd name="connsiteX37" fmla="*/ 1140 w 20112"/>
                <a:gd name="connsiteY37" fmla="*/ 14819 h 18314"/>
                <a:gd name="connsiteX38" fmla="*/ 3317 w 20112"/>
                <a:gd name="connsiteY38" fmla="*/ 17658 h 18314"/>
                <a:gd name="connsiteX39" fmla="*/ 6961 w 20112"/>
                <a:gd name="connsiteY39" fmla="*/ 18132 h 18314"/>
                <a:gd name="connsiteX40" fmla="*/ 9801 w 20112"/>
                <a:gd name="connsiteY40" fmla="*/ 15955 h 18314"/>
                <a:gd name="connsiteX41" fmla="*/ 10274 w 20112"/>
                <a:gd name="connsiteY41" fmla="*/ 12310 h 18314"/>
                <a:gd name="connsiteX42" fmla="*/ 10274 w 20112"/>
                <a:gd name="connsiteY42" fmla="*/ 12310 h 1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112" h="18314">
                  <a:moveTo>
                    <a:pt x="10274" y="12121"/>
                  </a:moveTo>
                  <a:cubicBezTo>
                    <a:pt x="10038" y="10795"/>
                    <a:pt x="9612" y="9470"/>
                    <a:pt x="9422" y="8145"/>
                  </a:cubicBezTo>
                  <a:lnTo>
                    <a:pt x="9612" y="9423"/>
                  </a:lnTo>
                  <a:cubicBezTo>
                    <a:pt x="9517" y="8524"/>
                    <a:pt x="9470" y="7577"/>
                    <a:pt x="9612" y="6678"/>
                  </a:cubicBezTo>
                  <a:lnTo>
                    <a:pt x="9422" y="7956"/>
                  </a:lnTo>
                  <a:cubicBezTo>
                    <a:pt x="9422" y="7956"/>
                    <a:pt x="9470" y="7672"/>
                    <a:pt x="9517" y="7530"/>
                  </a:cubicBezTo>
                  <a:lnTo>
                    <a:pt x="9044" y="8666"/>
                  </a:lnTo>
                  <a:cubicBezTo>
                    <a:pt x="9044" y="8666"/>
                    <a:pt x="9044" y="8571"/>
                    <a:pt x="9138" y="8524"/>
                  </a:cubicBezTo>
                  <a:lnTo>
                    <a:pt x="8381" y="9470"/>
                  </a:lnTo>
                  <a:cubicBezTo>
                    <a:pt x="8381" y="9470"/>
                    <a:pt x="8428" y="9423"/>
                    <a:pt x="8476" y="9376"/>
                  </a:cubicBezTo>
                  <a:lnTo>
                    <a:pt x="7529" y="10133"/>
                  </a:lnTo>
                  <a:cubicBezTo>
                    <a:pt x="7529" y="10133"/>
                    <a:pt x="7624" y="10133"/>
                    <a:pt x="7624" y="10086"/>
                  </a:cubicBezTo>
                  <a:lnTo>
                    <a:pt x="6488" y="10559"/>
                  </a:lnTo>
                  <a:cubicBezTo>
                    <a:pt x="6488" y="10559"/>
                    <a:pt x="6583" y="10559"/>
                    <a:pt x="6630" y="10559"/>
                  </a:cubicBezTo>
                  <a:lnTo>
                    <a:pt x="5352" y="10748"/>
                  </a:lnTo>
                  <a:cubicBezTo>
                    <a:pt x="6441" y="10606"/>
                    <a:pt x="7624" y="10795"/>
                    <a:pt x="8712" y="10843"/>
                  </a:cubicBezTo>
                  <a:cubicBezTo>
                    <a:pt x="9706" y="10843"/>
                    <a:pt x="10700" y="10795"/>
                    <a:pt x="11647" y="10606"/>
                  </a:cubicBezTo>
                  <a:cubicBezTo>
                    <a:pt x="12594" y="10417"/>
                    <a:pt x="13493" y="9944"/>
                    <a:pt x="14392" y="9565"/>
                  </a:cubicBezTo>
                  <a:lnTo>
                    <a:pt x="13256" y="10038"/>
                  </a:lnTo>
                  <a:cubicBezTo>
                    <a:pt x="13729" y="9849"/>
                    <a:pt x="14155" y="9754"/>
                    <a:pt x="14676" y="9707"/>
                  </a:cubicBezTo>
                  <a:lnTo>
                    <a:pt x="13398" y="9896"/>
                  </a:lnTo>
                  <a:cubicBezTo>
                    <a:pt x="14487" y="9754"/>
                    <a:pt x="15575" y="9707"/>
                    <a:pt x="16617" y="9328"/>
                  </a:cubicBezTo>
                  <a:cubicBezTo>
                    <a:pt x="17800" y="8902"/>
                    <a:pt x="18794" y="8287"/>
                    <a:pt x="19457" y="7151"/>
                  </a:cubicBezTo>
                  <a:cubicBezTo>
                    <a:pt x="20072" y="6157"/>
                    <a:pt x="20308" y="4642"/>
                    <a:pt x="19930" y="3507"/>
                  </a:cubicBezTo>
                  <a:cubicBezTo>
                    <a:pt x="19551" y="2371"/>
                    <a:pt x="18841" y="1235"/>
                    <a:pt x="17753" y="667"/>
                  </a:cubicBezTo>
                  <a:cubicBezTo>
                    <a:pt x="16664" y="99"/>
                    <a:pt x="15291" y="-233"/>
                    <a:pt x="14108" y="193"/>
                  </a:cubicBezTo>
                  <a:cubicBezTo>
                    <a:pt x="13587" y="383"/>
                    <a:pt x="13067" y="477"/>
                    <a:pt x="12499" y="572"/>
                  </a:cubicBezTo>
                  <a:lnTo>
                    <a:pt x="13777" y="383"/>
                  </a:lnTo>
                  <a:cubicBezTo>
                    <a:pt x="12972" y="477"/>
                    <a:pt x="12073" y="525"/>
                    <a:pt x="11268" y="761"/>
                  </a:cubicBezTo>
                  <a:cubicBezTo>
                    <a:pt x="10464" y="998"/>
                    <a:pt x="9754" y="1377"/>
                    <a:pt x="8996" y="1708"/>
                  </a:cubicBezTo>
                  <a:lnTo>
                    <a:pt x="10132" y="1235"/>
                  </a:lnTo>
                  <a:cubicBezTo>
                    <a:pt x="9754" y="1377"/>
                    <a:pt x="9375" y="1471"/>
                    <a:pt x="8949" y="1566"/>
                  </a:cubicBezTo>
                  <a:lnTo>
                    <a:pt x="10227" y="1377"/>
                  </a:lnTo>
                  <a:cubicBezTo>
                    <a:pt x="8949" y="1519"/>
                    <a:pt x="7718" y="1329"/>
                    <a:pt x="6441" y="1329"/>
                  </a:cubicBezTo>
                  <a:cubicBezTo>
                    <a:pt x="5636" y="1329"/>
                    <a:pt x="4784" y="1329"/>
                    <a:pt x="3979" y="1519"/>
                  </a:cubicBezTo>
                  <a:cubicBezTo>
                    <a:pt x="2417" y="1897"/>
                    <a:pt x="1187" y="3128"/>
                    <a:pt x="572" y="4548"/>
                  </a:cubicBezTo>
                  <a:cubicBezTo>
                    <a:pt x="-44" y="5968"/>
                    <a:pt x="-91" y="7814"/>
                    <a:pt x="98" y="9470"/>
                  </a:cubicBezTo>
                  <a:cubicBezTo>
                    <a:pt x="288" y="11269"/>
                    <a:pt x="808" y="13020"/>
                    <a:pt x="1140" y="14819"/>
                  </a:cubicBezTo>
                  <a:cubicBezTo>
                    <a:pt x="1329" y="15907"/>
                    <a:pt x="2370" y="17090"/>
                    <a:pt x="3317" y="17658"/>
                  </a:cubicBezTo>
                  <a:cubicBezTo>
                    <a:pt x="4311" y="18274"/>
                    <a:pt x="5825" y="18510"/>
                    <a:pt x="6961" y="18132"/>
                  </a:cubicBezTo>
                  <a:cubicBezTo>
                    <a:pt x="8097" y="17753"/>
                    <a:pt x="9233" y="17043"/>
                    <a:pt x="9801" y="15955"/>
                  </a:cubicBezTo>
                  <a:cubicBezTo>
                    <a:pt x="10416" y="14771"/>
                    <a:pt x="10511" y="13635"/>
                    <a:pt x="10274" y="12310"/>
                  </a:cubicBezTo>
                  <a:lnTo>
                    <a:pt x="10274" y="12310"/>
                  </a:lnTo>
                  <a:close/>
                </a:path>
              </a:pathLst>
            </a:custGeom>
            <a:solidFill>
              <a:srgbClr val="231F20"/>
            </a:solidFill>
            <a:ln w="4718" cap="flat">
              <a:noFill/>
              <a:prstDash val="solid"/>
              <a:miter/>
            </a:ln>
          </p:spPr>
          <p:txBody>
            <a:bodyPr rtlCol="0" anchor="ctr"/>
            <a:lstStyle/>
            <a:p>
              <a:endParaRPr lang="en-GB"/>
            </a:p>
          </p:txBody>
        </p:sp>
        <p:sp>
          <p:nvSpPr>
            <p:cNvPr id="1599" name="Freeform: Shape 1598">
              <a:extLst>
                <a:ext uri="{FF2B5EF4-FFF2-40B4-BE49-F238E27FC236}">
                  <a16:creationId xmlns:a16="http://schemas.microsoft.com/office/drawing/2014/main" id="{5D95E765-BAD7-4E90-7AA7-33D3E9029367}"/>
                </a:ext>
              </a:extLst>
            </p:cNvPr>
            <p:cNvSpPr/>
            <p:nvPr/>
          </p:nvSpPr>
          <p:spPr>
            <a:xfrm>
              <a:off x="2943520" y="2710126"/>
              <a:ext cx="21093" cy="10267"/>
            </a:xfrm>
            <a:custGeom>
              <a:avLst/>
              <a:gdLst>
                <a:gd name="connsiteX0" fmla="*/ 4783 w 23954"/>
                <a:gd name="connsiteY0" fmla="*/ 9389 h 11660"/>
                <a:gd name="connsiteX1" fmla="*/ 5020 w 23954"/>
                <a:gd name="connsiteY1" fmla="*/ 9389 h 11660"/>
                <a:gd name="connsiteX2" fmla="*/ 3742 w 23954"/>
                <a:gd name="connsiteY2" fmla="*/ 9247 h 11660"/>
                <a:gd name="connsiteX3" fmla="*/ 5635 w 23954"/>
                <a:gd name="connsiteY3" fmla="*/ 9909 h 11660"/>
                <a:gd name="connsiteX4" fmla="*/ 7481 w 23954"/>
                <a:gd name="connsiteY4" fmla="*/ 10477 h 11660"/>
                <a:gd name="connsiteX5" fmla="*/ 12593 w 23954"/>
                <a:gd name="connsiteY5" fmla="*/ 11282 h 11660"/>
                <a:gd name="connsiteX6" fmla="*/ 11315 w 23954"/>
                <a:gd name="connsiteY6" fmla="*/ 11093 h 11660"/>
                <a:gd name="connsiteX7" fmla="*/ 15669 w 23954"/>
                <a:gd name="connsiteY7" fmla="*/ 11661 h 11660"/>
                <a:gd name="connsiteX8" fmla="*/ 19219 w 23954"/>
                <a:gd name="connsiteY8" fmla="*/ 11661 h 11660"/>
                <a:gd name="connsiteX9" fmla="*/ 23952 w 23954"/>
                <a:gd name="connsiteY9" fmla="*/ 6928 h 11660"/>
                <a:gd name="connsiteX10" fmla="*/ 19219 w 23954"/>
                <a:gd name="connsiteY10" fmla="*/ 2195 h 11660"/>
                <a:gd name="connsiteX11" fmla="*/ 14438 w 23954"/>
                <a:gd name="connsiteY11" fmla="*/ 2147 h 11660"/>
                <a:gd name="connsiteX12" fmla="*/ 15716 w 23954"/>
                <a:gd name="connsiteY12" fmla="*/ 2336 h 11660"/>
                <a:gd name="connsiteX13" fmla="*/ 10936 w 23954"/>
                <a:gd name="connsiteY13" fmla="*/ 1721 h 11660"/>
                <a:gd name="connsiteX14" fmla="*/ 12214 w 23954"/>
                <a:gd name="connsiteY14" fmla="*/ 1911 h 11660"/>
                <a:gd name="connsiteX15" fmla="*/ 8853 w 23954"/>
                <a:gd name="connsiteY15" fmla="*/ 1153 h 11660"/>
                <a:gd name="connsiteX16" fmla="*/ 7433 w 23954"/>
                <a:gd name="connsiteY16" fmla="*/ 585 h 11660"/>
                <a:gd name="connsiteX17" fmla="*/ 4736 w 23954"/>
                <a:gd name="connsiteY17" fmla="*/ 17 h 11660"/>
                <a:gd name="connsiteX18" fmla="*/ 1375 w 23954"/>
                <a:gd name="connsiteY18" fmla="*/ 1390 h 11660"/>
                <a:gd name="connsiteX19" fmla="*/ 3 w 23954"/>
                <a:gd name="connsiteY19" fmla="*/ 4750 h 11660"/>
                <a:gd name="connsiteX20" fmla="*/ 1375 w 23954"/>
                <a:gd name="connsiteY20" fmla="*/ 8111 h 11660"/>
                <a:gd name="connsiteX21" fmla="*/ 4736 w 23954"/>
                <a:gd name="connsiteY21" fmla="*/ 9483 h 11660"/>
                <a:gd name="connsiteX22" fmla="*/ 4736 w 23954"/>
                <a:gd name="connsiteY22" fmla="*/ 9483 h 11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954" h="11660">
                  <a:moveTo>
                    <a:pt x="4783" y="9389"/>
                  </a:moveTo>
                  <a:lnTo>
                    <a:pt x="5020" y="9389"/>
                  </a:lnTo>
                  <a:cubicBezTo>
                    <a:pt x="4594" y="9389"/>
                    <a:pt x="4168" y="9294"/>
                    <a:pt x="3742" y="9247"/>
                  </a:cubicBezTo>
                  <a:cubicBezTo>
                    <a:pt x="4404" y="9389"/>
                    <a:pt x="5020" y="9673"/>
                    <a:pt x="5635" y="9909"/>
                  </a:cubicBezTo>
                  <a:cubicBezTo>
                    <a:pt x="6250" y="10146"/>
                    <a:pt x="6866" y="10288"/>
                    <a:pt x="7481" y="10477"/>
                  </a:cubicBezTo>
                  <a:cubicBezTo>
                    <a:pt x="9185" y="10903"/>
                    <a:pt x="10889" y="11045"/>
                    <a:pt x="12593" y="11282"/>
                  </a:cubicBezTo>
                  <a:lnTo>
                    <a:pt x="11315" y="11093"/>
                  </a:lnTo>
                  <a:cubicBezTo>
                    <a:pt x="12782" y="11329"/>
                    <a:pt x="14202" y="11613"/>
                    <a:pt x="15669" y="11661"/>
                  </a:cubicBezTo>
                  <a:cubicBezTo>
                    <a:pt x="16852" y="11661"/>
                    <a:pt x="18036" y="11661"/>
                    <a:pt x="19219" y="11661"/>
                  </a:cubicBezTo>
                  <a:cubicBezTo>
                    <a:pt x="21680" y="11661"/>
                    <a:pt x="24047" y="9483"/>
                    <a:pt x="23952" y="6928"/>
                  </a:cubicBezTo>
                  <a:cubicBezTo>
                    <a:pt x="23857" y="4372"/>
                    <a:pt x="21869" y="2195"/>
                    <a:pt x="19219" y="2195"/>
                  </a:cubicBezTo>
                  <a:cubicBezTo>
                    <a:pt x="17657" y="2195"/>
                    <a:pt x="16000" y="2336"/>
                    <a:pt x="14438" y="2147"/>
                  </a:cubicBezTo>
                  <a:lnTo>
                    <a:pt x="15716" y="2336"/>
                  </a:lnTo>
                  <a:cubicBezTo>
                    <a:pt x="14107" y="2100"/>
                    <a:pt x="12545" y="1911"/>
                    <a:pt x="10936" y="1721"/>
                  </a:cubicBezTo>
                  <a:lnTo>
                    <a:pt x="12214" y="1911"/>
                  </a:lnTo>
                  <a:cubicBezTo>
                    <a:pt x="11078" y="1769"/>
                    <a:pt x="9942" y="1485"/>
                    <a:pt x="8853" y="1153"/>
                  </a:cubicBezTo>
                  <a:cubicBezTo>
                    <a:pt x="8380" y="1011"/>
                    <a:pt x="7907" y="775"/>
                    <a:pt x="7433" y="585"/>
                  </a:cubicBezTo>
                  <a:cubicBezTo>
                    <a:pt x="6534" y="254"/>
                    <a:pt x="5682" y="159"/>
                    <a:pt x="4736" y="17"/>
                  </a:cubicBezTo>
                  <a:cubicBezTo>
                    <a:pt x="3600" y="-125"/>
                    <a:pt x="2180" y="633"/>
                    <a:pt x="1375" y="1390"/>
                  </a:cubicBezTo>
                  <a:cubicBezTo>
                    <a:pt x="571" y="2195"/>
                    <a:pt x="-45" y="3567"/>
                    <a:pt x="3" y="4750"/>
                  </a:cubicBezTo>
                  <a:cubicBezTo>
                    <a:pt x="50" y="5934"/>
                    <a:pt x="476" y="7259"/>
                    <a:pt x="1375" y="8111"/>
                  </a:cubicBezTo>
                  <a:cubicBezTo>
                    <a:pt x="2369" y="9010"/>
                    <a:pt x="3410" y="9341"/>
                    <a:pt x="4736" y="9483"/>
                  </a:cubicBezTo>
                  <a:lnTo>
                    <a:pt x="4736" y="9483"/>
                  </a:lnTo>
                  <a:close/>
                </a:path>
              </a:pathLst>
            </a:custGeom>
            <a:solidFill>
              <a:srgbClr val="231F20"/>
            </a:solidFill>
            <a:ln w="4718" cap="flat">
              <a:noFill/>
              <a:prstDash val="solid"/>
              <a:miter/>
            </a:ln>
          </p:spPr>
          <p:txBody>
            <a:bodyPr rtlCol="0" anchor="ctr"/>
            <a:lstStyle/>
            <a:p>
              <a:endParaRPr lang="en-GB"/>
            </a:p>
          </p:txBody>
        </p:sp>
        <p:sp>
          <p:nvSpPr>
            <p:cNvPr id="1600" name="Freeform: Shape 1599">
              <a:extLst>
                <a:ext uri="{FF2B5EF4-FFF2-40B4-BE49-F238E27FC236}">
                  <a16:creationId xmlns:a16="http://schemas.microsoft.com/office/drawing/2014/main" id="{5EA1C6E7-3A53-4D6D-80EA-10C6564C5747}"/>
                </a:ext>
              </a:extLst>
            </p:cNvPr>
            <p:cNvSpPr/>
            <p:nvPr/>
          </p:nvSpPr>
          <p:spPr>
            <a:xfrm>
              <a:off x="2975945" y="2731688"/>
              <a:ext cx="16491" cy="9853"/>
            </a:xfrm>
            <a:custGeom>
              <a:avLst/>
              <a:gdLst>
                <a:gd name="connsiteX0" fmla="*/ 1470 w 18728"/>
                <a:gd name="connsiteY0" fmla="*/ 8094 h 11190"/>
                <a:gd name="connsiteX1" fmla="*/ 4972 w 18728"/>
                <a:gd name="connsiteY1" fmla="*/ 10081 h 11190"/>
                <a:gd name="connsiteX2" fmla="*/ 8001 w 18728"/>
                <a:gd name="connsiteY2" fmla="*/ 10460 h 11190"/>
                <a:gd name="connsiteX3" fmla="*/ 11977 w 18728"/>
                <a:gd name="connsiteY3" fmla="*/ 10413 h 11190"/>
                <a:gd name="connsiteX4" fmla="*/ 10699 w 18728"/>
                <a:gd name="connsiteY4" fmla="*/ 10223 h 11190"/>
                <a:gd name="connsiteX5" fmla="*/ 11930 w 18728"/>
                <a:gd name="connsiteY5" fmla="*/ 10555 h 11190"/>
                <a:gd name="connsiteX6" fmla="*/ 10794 w 18728"/>
                <a:gd name="connsiteY6" fmla="*/ 10081 h 11190"/>
                <a:gd name="connsiteX7" fmla="*/ 11599 w 18728"/>
                <a:gd name="connsiteY7" fmla="*/ 10555 h 11190"/>
                <a:gd name="connsiteX8" fmla="*/ 15243 w 18728"/>
                <a:gd name="connsiteY8" fmla="*/ 11028 h 11190"/>
                <a:gd name="connsiteX9" fmla="*/ 18083 w 18728"/>
                <a:gd name="connsiteY9" fmla="*/ 8851 h 11190"/>
                <a:gd name="connsiteX10" fmla="*/ 18556 w 18728"/>
                <a:gd name="connsiteY10" fmla="*/ 5206 h 11190"/>
                <a:gd name="connsiteX11" fmla="*/ 18083 w 18728"/>
                <a:gd name="connsiteY11" fmla="*/ 4070 h 11190"/>
                <a:gd name="connsiteX12" fmla="*/ 16379 w 18728"/>
                <a:gd name="connsiteY12" fmla="*/ 2367 h 11190"/>
                <a:gd name="connsiteX13" fmla="*/ 10747 w 18728"/>
                <a:gd name="connsiteY13" fmla="*/ 852 h 11190"/>
                <a:gd name="connsiteX14" fmla="*/ 6960 w 18728"/>
                <a:gd name="connsiteY14" fmla="*/ 899 h 11190"/>
                <a:gd name="connsiteX15" fmla="*/ 8238 w 18728"/>
                <a:gd name="connsiteY15" fmla="*/ 1089 h 11190"/>
                <a:gd name="connsiteX16" fmla="*/ 7008 w 18728"/>
                <a:gd name="connsiteY16" fmla="*/ 757 h 11190"/>
                <a:gd name="connsiteX17" fmla="*/ 8143 w 18728"/>
                <a:gd name="connsiteY17" fmla="*/ 1231 h 11190"/>
                <a:gd name="connsiteX18" fmla="*/ 7433 w 18728"/>
                <a:gd name="connsiteY18" fmla="*/ 852 h 11190"/>
                <a:gd name="connsiteX19" fmla="*/ 8380 w 18728"/>
                <a:gd name="connsiteY19" fmla="*/ 1609 h 11190"/>
                <a:gd name="connsiteX20" fmla="*/ 8096 w 18728"/>
                <a:gd name="connsiteY20" fmla="*/ 1373 h 11190"/>
                <a:gd name="connsiteX21" fmla="*/ 4736 w 18728"/>
                <a:gd name="connsiteY21" fmla="*/ 0 h 11190"/>
                <a:gd name="connsiteX22" fmla="*/ 1375 w 18728"/>
                <a:gd name="connsiteY22" fmla="*/ 1373 h 11190"/>
                <a:gd name="connsiteX23" fmla="*/ 3 w 18728"/>
                <a:gd name="connsiteY23" fmla="*/ 4733 h 11190"/>
                <a:gd name="connsiteX24" fmla="*/ 1375 w 18728"/>
                <a:gd name="connsiteY24" fmla="*/ 8094 h 11190"/>
                <a:gd name="connsiteX25" fmla="*/ 1375 w 18728"/>
                <a:gd name="connsiteY25" fmla="*/ 8094 h 11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728" h="11190">
                  <a:moveTo>
                    <a:pt x="1470" y="8094"/>
                  </a:moveTo>
                  <a:cubicBezTo>
                    <a:pt x="2511" y="9040"/>
                    <a:pt x="3600" y="9703"/>
                    <a:pt x="4972" y="10081"/>
                  </a:cubicBezTo>
                  <a:cubicBezTo>
                    <a:pt x="5966" y="10365"/>
                    <a:pt x="7008" y="10460"/>
                    <a:pt x="8001" y="10460"/>
                  </a:cubicBezTo>
                  <a:cubicBezTo>
                    <a:pt x="9327" y="10460"/>
                    <a:pt x="10652" y="10271"/>
                    <a:pt x="11977" y="10413"/>
                  </a:cubicBezTo>
                  <a:lnTo>
                    <a:pt x="10699" y="10223"/>
                  </a:lnTo>
                  <a:cubicBezTo>
                    <a:pt x="11125" y="10271"/>
                    <a:pt x="11551" y="10365"/>
                    <a:pt x="11930" y="10555"/>
                  </a:cubicBezTo>
                  <a:lnTo>
                    <a:pt x="10794" y="10081"/>
                  </a:lnTo>
                  <a:cubicBezTo>
                    <a:pt x="11078" y="10223"/>
                    <a:pt x="11362" y="10365"/>
                    <a:pt x="11599" y="10555"/>
                  </a:cubicBezTo>
                  <a:cubicBezTo>
                    <a:pt x="12498" y="11265"/>
                    <a:pt x="14202" y="11312"/>
                    <a:pt x="15243" y="11028"/>
                  </a:cubicBezTo>
                  <a:cubicBezTo>
                    <a:pt x="16332" y="10744"/>
                    <a:pt x="17515" y="9892"/>
                    <a:pt x="18083" y="8851"/>
                  </a:cubicBezTo>
                  <a:cubicBezTo>
                    <a:pt x="18651" y="7762"/>
                    <a:pt x="18935" y="6437"/>
                    <a:pt x="18556" y="5206"/>
                  </a:cubicBezTo>
                  <a:lnTo>
                    <a:pt x="18083" y="4070"/>
                  </a:lnTo>
                  <a:cubicBezTo>
                    <a:pt x="17657" y="3360"/>
                    <a:pt x="17089" y="2793"/>
                    <a:pt x="16379" y="2367"/>
                  </a:cubicBezTo>
                  <a:cubicBezTo>
                    <a:pt x="14817" y="1183"/>
                    <a:pt x="12640" y="852"/>
                    <a:pt x="10747" y="852"/>
                  </a:cubicBezTo>
                  <a:cubicBezTo>
                    <a:pt x="9469" y="852"/>
                    <a:pt x="8238" y="1041"/>
                    <a:pt x="6960" y="899"/>
                  </a:cubicBezTo>
                  <a:lnTo>
                    <a:pt x="8238" y="1089"/>
                  </a:lnTo>
                  <a:cubicBezTo>
                    <a:pt x="7812" y="1041"/>
                    <a:pt x="7433" y="947"/>
                    <a:pt x="7008" y="757"/>
                  </a:cubicBezTo>
                  <a:lnTo>
                    <a:pt x="8143" y="1231"/>
                  </a:lnTo>
                  <a:cubicBezTo>
                    <a:pt x="7907" y="1136"/>
                    <a:pt x="7670" y="994"/>
                    <a:pt x="7433" y="852"/>
                  </a:cubicBezTo>
                  <a:lnTo>
                    <a:pt x="8380" y="1609"/>
                  </a:lnTo>
                  <a:cubicBezTo>
                    <a:pt x="8380" y="1609"/>
                    <a:pt x="8191" y="1467"/>
                    <a:pt x="8096" y="1373"/>
                  </a:cubicBezTo>
                  <a:cubicBezTo>
                    <a:pt x="7149" y="521"/>
                    <a:pt x="6014" y="0"/>
                    <a:pt x="4736" y="0"/>
                  </a:cubicBezTo>
                  <a:cubicBezTo>
                    <a:pt x="3552" y="0"/>
                    <a:pt x="2180" y="521"/>
                    <a:pt x="1375" y="1373"/>
                  </a:cubicBezTo>
                  <a:cubicBezTo>
                    <a:pt x="571" y="2225"/>
                    <a:pt x="-45" y="3455"/>
                    <a:pt x="3" y="4733"/>
                  </a:cubicBezTo>
                  <a:cubicBezTo>
                    <a:pt x="50" y="6011"/>
                    <a:pt x="476" y="7242"/>
                    <a:pt x="1375" y="8094"/>
                  </a:cubicBezTo>
                  <a:lnTo>
                    <a:pt x="1375" y="8094"/>
                  </a:lnTo>
                  <a:close/>
                </a:path>
              </a:pathLst>
            </a:custGeom>
            <a:solidFill>
              <a:srgbClr val="231F20"/>
            </a:solidFill>
            <a:ln w="4718" cap="flat">
              <a:noFill/>
              <a:prstDash val="solid"/>
              <a:miter/>
            </a:ln>
          </p:spPr>
          <p:txBody>
            <a:bodyPr rtlCol="0" anchor="ctr"/>
            <a:lstStyle/>
            <a:p>
              <a:endParaRPr lang="en-GB"/>
            </a:p>
          </p:txBody>
        </p:sp>
        <p:sp>
          <p:nvSpPr>
            <p:cNvPr id="1601" name="Freeform: Shape 1600">
              <a:extLst>
                <a:ext uri="{FF2B5EF4-FFF2-40B4-BE49-F238E27FC236}">
                  <a16:creationId xmlns:a16="http://schemas.microsoft.com/office/drawing/2014/main" id="{65BF74CC-0057-20E0-E51B-3018334CD98E}"/>
                </a:ext>
              </a:extLst>
            </p:cNvPr>
            <p:cNvSpPr/>
            <p:nvPr/>
          </p:nvSpPr>
          <p:spPr>
            <a:xfrm>
              <a:off x="2938893" y="2751402"/>
              <a:ext cx="16467" cy="9086"/>
            </a:xfrm>
            <a:custGeom>
              <a:avLst/>
              <a:gdLst>
                <a:gd name="connsiteX0" fmla="*/ 4736 w 18701"/>
                <a:gd name="connsiteY0" fmla="*/ 9466 h 10318"/>
                <a:gd name="connsiteX1" fmla="*/ 8333 w 18701"/>
                <a:gd name="connsiteY1" fmla="*/ 9750 h 10318"/>
                <a:gd name="connsiteX2" fmla="*/ 7055 w 18701"/>
                <a:gd name="connsiteY2" fmla="*/ 9561 h 10318"/>
                <a:gd name="connsiteX3" fmla="*/ 13965 w 18701"/>
                <a:gd name="connsiteY3" fmla="*/ 10318 h 10318"/>
                <a:gd name="connsiteX4" fmla="*/ 17326 w 18701"/>
                <a:gd name="connsiteY4" fmla="*/ 8946 h 10318"/>
                <a:gd name="connsiteX5" fmla="*/ 18698 w 18701"/>
                <a:gd name="connsiteY5" fmla="*/ 5585 h 10318"/>
                <a:gd name="connsiteX6" fmla="*/ 13965 w 18701"/>
                <a:gd name="connsiteY6" fmla="*/ 852 h 10318"/>
                <a:gd name="connsiteX7" fmla="*/ 10510 w 18701"/>
                <a:gd name="connsiteY7" fmla="*/ 568 h 10318"/>
                <a:gd name="connsiteX8" fmla="*/ 11788 w 18701"/>
                <a:gd name="connsiteY8" fmla="*/ 757 h 10318"/>
                <a:gd name="connsiteX9" fmla="*/ 4736 w 18701"/>
                <a:gd name="connsiteY9" fmla="*/ 0 h 10318"/>
                <a:gd name="connsiteX10" fmla="*/ 1375 w 18701"/>
                <a:gd name="connsiteY10" fmla="*/ 1373 h 10318"/>
                <a:gd name="connsiteX11" fmla="*/ 3 w 18701"/>
                <a:gd name="connsiteY11" fmla="*/ 4733 h 10318"/>
                <a:gd name="connsiteX12" fmla="*/ 1375 w 18701"/>
                <a:gd name="connsiteY12" fmla="*/ 8094 h 10318"/>
                <a:gd name="connsiteX13" fmla="*/ 4736 w 18701"/>
                <a:gd name="connsiteY13" fmla="*/ 9466 h 10318"/>
                <a:gd name="connsiteX14" fmla="*/ 4736 w 18701"/>
                <a:gd name="connsiteY14" fmla="*/ 9466 h 1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01" h="10318">
                  <a:moveTo>
                    <a:pt x="4736" y="9466"/>
                  </a:moveTo>
                  <a:cubicBezTo>
                    <a:pt x="5919" y="9466"/>
                    <a:pt x="7150" y="9608"/>
                    <a:pt x="8333" y="9750"/>
                  </a:cubicBezTo>
                  <a:lnTo>
                    <a:pt x="7055" y="9561"/>
                  </a:lnTo>
                  <a:cubicBezTo>
                    <a:pt x="9327" y="9845"/>
                    <a:pt x="11646" y="10271"/>
                    <a:pt x="13965" y="10318"/>
                  </a:cubicBezTo>
                  <a:cubicBezTo>
                    <a:pt x="15149" y="10318"/>
                    <a:pt x="16474" y="9797"/>
                    <a:pt x="17326" y="8946"/>
                  </a:cubicBezTo>
                  <a:cubicBezTo>
                    <a:pt x="18178" y="8094"/>
                    <a:pt x="18746" y="6768"/>
                    <a:pt x="18698" y="5585"/>
                  </a:cubicBezTo>
                  <a:cubicBezTo>
                    <a:pt x="18604" y="2982"/>
                    <a:pt x="16616" y="899"/>
                    <a:pt x="13965" y="852"/>
                  </a:cubicBezTo>
                  <a:cubicBezTo>
                    <a:pt x="12829" y="852"/>
                    <a:pt x="11693" y="710"/>
                    <a:pt x="10510" y="568"/>
                  </a:cubicBezTo>
                  <a:lnTo>
                    <a:pt x="11788" y="757"/>
                  </a:lnTo>
                  <a:cubicBezTo>
                    <a:pt x="9469" y="426"/>
                    <a:pt x="7102" y="0"/>
                    <a:pt x="4736" y="0"/>
                  </a:cubicBezTo>
                  <a:cubicBezTo>
                    <a:pt x="3505" y="0"/>
                    <a:pt x="2227" y="521"/>
                    <a:pt x="1375" y="1373"/>
                  </a:cubicBezTo>
                  <a:cubicBezTo>
                    <a:pt x="523" y="2225"/>
                    <a:pt x="-45" y="3550"/>
                    <a:pt x="3" y="4733"/>
                  </a:cubicBezTo>
                  <a:cubicBezTo>
                    <a:pt x="50" y="5916"/>
                    <a:pt x="476" y="7242"/>
                    <a:pt x="1375" y="8094"/>
                  </a:cubicBezTo>
                  <a:cubicBezTo>
                    <a:pt x="2275" y="8946"/>
                    <a:pt x="3458" y="9466"/>
                    <a:pt x="4736" y="9466"/>
                  </a:cubicBezTo>
                  <a:lnTo>
                    <a:pt x="4736" y="9466"/>
                  </a:lnTo>
                  <a:close/>
                </a:path>
              </a:pathLst>
            </a:custGeom>
            <a:solidFill>
              <a:srgbClr val="231F20"/>
            </a:solidFill>
            <a:ln w="4718" cap="flat">
              <a:noFill/>
              <a:prstDash val="solid"/>
              <a:miter/>
            </a:ln>
          </p:spPr>
          <p:txBody>
            <a:bodyPr rtlCol="0" anchor="ctr"/>
            <a:lstStyle/>
            <a:p>
              <a:endParaRPr lang="en-GB"/>
            </a:p>
          </p:txBody>
        </p:sp>
        <p:sp>
          <p:nvSpPr>
            <p:cNvPr id="1602" name="Freeform: Shape 1601">
              <a:extLst>
                <a:ext uri="{FF2B5EF4-FFF2-40B4-BE49-F238E27FC236}">
                  <a16:creationId xmlns:a16="http://schemas.microsoft.com/office/drawing/2014/main" id="{AFE09514-6E28-C2C8-BDEE-7653EFF63F54}"/>
                </a:ext>
              </a:extLst>
            </p:cNvPr>
            <p:cNvSpPr/>
            <p:nvPr/>
          </p:nvSpPr>
          <p:spPr>
            <a:xfrm>
              <a:off x="2989615" y="2789977"/>
              <a:ext cx="19842" cy="9227"/>
            </a:xfrm>
            <a:custGeom>
              <a:avLst/>
              <a:gdLst>
                <a:gd name="connsiteX0" fmla="*/ 4689 w 22534"/>
                <a:gd name="connsiteY0" fmla="*/ 9580 h 10479"/>
                <a:gd name="connsiteX1" fmla="*/ 11315 w 22534"/>
                <a:gd name="connsiteY1" fmla="*/ 9486 h 10479"/>
                <a:gd name="connsiteX2" fmla="*/ 10037 w 22534"/>
                <a:gd name="connsiteY2" fmla="*/ 9296 h 10479"/>
                <a:gd name="connsiteX3" fmla="*/ 10842 w 22534"/>
                <a:gd name="connsiteY3" fmla="*/ 9486 h 10479"/>
                <a:gd name="connsiteX4" fmla="*/ 9706 w 22534"/>
                <a:gd name="connsiteY4" fmla="*/ 9012 h 10479"/>
                <a:gd name="connsiteX5" fmla="*/ 13113 w 22534"/>
                <a:gd name="connsiteY5" fmla="*/ 10054 h 10479"/>
                <a:gd name="connsiteX6" fmla="*/ 14770 w 22534"/>
                <a:gd name="connsiteY6" fmla="*/ 10006 h 10479"/>
                <a:gd name="connsiteX7" fmla="*/ 13492 w 22534"/>
                <a:gd name="connsiteY7" fmla="*/ 9817 h 10479"/>
                <a:gd name="connsiteX8" fmla="*/ 13871 w 22534"/>
                <a:gd name="connsiteY8" fmla="*/ 9912 h 10479"/>
                <a:gd name="connsiteX9" fmla="*/ 12735 w 22534"/>
                <a:gd name="connsiteY9" fmla="*/ 9438 h 10479"/>
                <a:gd name="connsiteX10" fmla="*/ 16143 w 22534"/>
                <a:gd name="connsiteY10" fmla="*/ 10480 h 10479"/>
                <a:gd name="connsiteX11" fmla="*/ 17799 w 22534"/>
                <a:gd name="connsiteY11" fmla="*/ 10480 h 10479"/>
                <a:gd name="connsiteX12" fmla="*/ 22532 w 22534"/>
                <a:gd name="connsiteY12" fmla="*/ 5747 h 10479"/>
                <a:gd name="connsiteX13" fmla="*/ 17799 w 22534"/>
                <a:gd name="connsiteY13" fmla="*/ 1014 h 10479"/>
                <a:gd name="connsiteX14" fmla="*/ 16048 w 22534"/>
                <a:gd name="connsiteY14" fmla="*/ 1014 h 10479"/>
                <a:gd name="connsiteX15" fmla="*/ 17326 w 22534"/>
                <a:gd name="connsiteY15" fmla="*/ 1203 h 10479"/>
                <a:gd name="connsiteX16" fmla="*/ 16947 w 22534"/>
                <a:gd name="connsiteY16" fmla="*/ 1108 h 10479"/>
                <a:gd name="connsiteX17" fmla="*/ 18083 w 22534"/>
                <a:gd name="connsiteY17" fmla="*/ 1582 h 10479"/>
                <a:gd name="connsiteX18" fmla="*/ 14675 w 22534"/>
                <a:gd name="connsiteY18" fmla="*/ 540 h 10479"/>
                <a:gd name="connsiteX19" fmla="*/ 13019 w 22534"/>
                <a:gd name="connsiteY19" fmla="*/ 588 h 10479"/>
                <a:gd name="connsiteX20" fmla="*/ 14297 w 22534"/>
                <a:gd name="connsiteY20" fmla="*/ 777 h 10479"/>
                <a:gd name="connsiteX21" fmla="*/ 13918 w 22534"/>
                <a:gd name="connsiteY21" fmla="*/ 682 h 10479"/>
                <a:gd name="connsiteX22" fmla="*/ 15054 w 22534"/>
                <a:gd name="connsiteY22" fmla="*/ 1156 h 10479"/>
                <a:gd name="connsiteX23" fmla="*/ 13208 w 22534"/>
                <a:gd name="connsiteY23" fmla="*/ 351 h 10479"/>
                <a:gd name="connsiteX24" fmla="*/ 11125 w 22534"/>
                <a:gd name="connsiteY24" fmla="*/ 67 h 10479"/>
                <a:gd name="connsiteX25" fmla="*/ 9043 w 22534"/>
                <a:gd name="connsiteY25" fmla="*/ 20 h 10479"/>
                <a:gd name="connsiteX26" fmla="*/ 4736 w 22534"/>
                <a:gd name="connsiteY26" fmla="*/ 209 h 10479"/>
                <a:gd name="connsiteX27" fmla="*/ 3 w 22534"/>
                <a:gd name="connsiteY27" fmla="*/ 4942 h 10479"/>
                <a:gd name="connsiteX28" fmla="*/ 4736 w 22534"/>
                <a:gd name="connsiteY28" fmla="*/ 9675 h 10479"/>
                <a:gd name="connsiteX29" fmla="*/ 4736 w 22534"/>
                <a:gd name="connsiteY29" fmla="*/ 9675 h 10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2534" h="10479">
                  <a:moveTo>
                    <a:pt x="4689" y="9580"/>
                  </a:moveTo>
                  <a:cubicBezTo>
                    <a:pt x="6913" y="9580"/>
                    <a:pt x="9090" y="9249"/>
                    <a:pt x="11315" y="9486"/>
                  </a:cubicBezTo>
                  <a:lnTo>
                    <a:pt x="10037" y="9296"/>
                  </a:lnTo>
                  <a:cubicBezTo>
                    <a:pt x="10321" y="9296"/>
                    <a:pt x="10558" y="9391"/>
                    <a:pt x="10842" y="9486"/>
                  </a:cubicBezTo>
                  <a:lnTo>
                    <a:pt x="9706" y="9012"/>
                  </a:lnTo>
                  <a:cubicBezTo>
                    <a:pt x="10889" y="9533"/>
                    <a:pt x="11835" y="9959"/>
                    <a:pt x="13113" y="10054"/>
                  </a:cubicBezTo>
                  <a:cubicBezTo>
                    <a:pt x="13681" y="10054"/>
                    <a:pt x="14202" y="9959"/>
                    <a:pt x="14770" y="10006"/>
                  </a:cubicBezTo>
                  <a:lnTo>
                    <a:pt x="13492" y="9817"/>
                  </a:lnTo>
                  <a:cubicBezTo>
                    <a:pt x="13492" y="9817"/>
                    <a:pt x="13776" y="9864"/>
                    <a:pt x="13871" y="9912"/>
                  </a:cubicBezTo>
                  <a:lnTo>
                    <a:pt x="12735" y="9438"/>
                  </a:lnTo>
                  <a:cubicBezTo>
                    <a:pt x="13918" y="9959"/>
                    <a:pt x="14865" y="10338"/>
                    <a:pt x="16143" y="10480"/>
                  </a:cubicBezTo>
                  <a:cubicBezTo>
                    <a:pt x="16711" y="10480"/>
                    <a:pt x="17231" y="10480"/>
                    <a:pt x="17799" y="10480"/>
                  </a:cubicBezTo>
                  <a:cubicBezTo>
                    <a:pt x="20260" y="10432"/>
                    <a:pt x="22627" y="8350"/>
                    <a:pt x="22532" y="5747"/>
                  </a:cubicBezTo>
                  <a:cubicBezTo>
                    <a:pt x="22438" y="3143"/>
                    <a:pt x="20450" y="966"/>
                    <a:pt x="17799" y="1014"/>
                  </a:cubicBezTo>
                  <a:cubicBezTo>
                    <a:pt x="17231" y="1014"/>
                    <a:pt x="16616" y="1108"/>
                    <a:pt x="16048" y="1014"/>
                  </a:cubicBezTo>
                  <a:lnTo>
                    <a:pt x="17326" y="1203"/>
                  </a:lnTo>
                  <a:cubicBezTo>
                    <a:pt x="17326" y="1203"/>
                    <a:pt x="17042" y="1156"/>
                    <a:pt x="16947" y="1108"/>
                  </a:cubicBezTo>
                  <a:lnTo>
                    <a:pt x="18083" y="1582"/>
                  </a:lnTo>
                  <a:cubicBezTo>
                    <a:pt x="16900" y="1061"/>
                    <a:pt x="15953" y="635"/>
                    <a:pt x="14675" y="540"/>
                  </a:cubicBezTo>
                  <a:cubicBezTo>
                    <a:pt x="14107" y="540"/>
                    <a:pt x="13587" y="635"/>
                    <a:pt x="13019" y="588"/>
                  </a:cubicBezTo>
                  <a:lnTo>
                    <a:pt x="14297" y="777"/>
                  </a:lnTo>
                  <a:cubicBezTo>
                    <a:pt x="14297" y="777"/>
                    <a:pt x="14013" y="730"/>
                    <a:pt x="13918" y="682"/>
                  </a:cubicBezTo>
                  <a:lnTo>
                    <a:pt x="15054" y="1156"/>
                  </a:lnTo>
                  <a:cubicBezTo>
                    <a:pt x="14439" y="872"/>
                    <a:pt x="13823" y="540"/>
                    <a:pt x="13208" y="351"/>
                  </a:cubicBezTo>
                  <a:cubicBezTo>
                    <a:pt x="12593" y="162"/>
                    <a:pt x="11835" y="114"/>
                    <a:pt x="11125" y="67"/>
                  </a:cubicBezTo>
                  <a:cubicBezTo>
                    <a:pt x="10416" y="20"/>
                    <a:pt x="9753" y="-28"/>
                    <a:pt x="9043" y="20"/>
                  </a:cubicBezTo>
                  <a:cubicBezTo>
                    <a:pt x="7623" y="20"/>
                    <a:pt x="6156" y="209"/>
                    <a:pt x="4736" y="209"/>
                  </a:cubicBezTo>
                  <a:cubicBezTo>
                    <a:pt x="2275" y="209"/>
                    <a:pt x="-92" y="2386"/>
                    <a:pt x="3" y="4942"/>
                  </a:cubicBezTo>
                  <a:cubicBezTo>
                    <a:pt x="97" y="7498"/>
                    <a:pt x="2085" y="9675"/>
                    <a:pt x="4736" y="9675"/>
                  </a:cubicBezTo>
                  <a:lnTo>
                    <a:pt x="4736" y="9675"/>
                  </a:lnTo>
                  <a:close/>
                </a:path>
              </a:pathLst>
            </a:custGeom>
            <a:solidFill>
              <a:srgbClr val="231F20"/>
            </a:solidFill>
            <a:ln w="4718" cap="flat">
              <a:noFill/>
              <a:prstDash val="solid"/>
              <a:miter/>
            </a:ln>
          </p:spPr>
          <p:txBody>
            <a:bodyPr rtlCol="0" anchor="ctr"/>
            <a:lstStyle/>
            <a:p>
              <a:endParaRPr lang="en-GB"/>
            </a:p>
          </p:txBody>
        </p:sp>
        <p:sp>
          <p:nvSpPr>
            <p:cNvPr id="1603" name="Freeform: Shape 1602">
              <a:extLst>
                <a:ext uri="{FF2B5EF4-FFF2-40B4-BE49-F238E27FC236}">
                  <a16:creationId xmlns:a16="http://schemas.microsoft.com/office/drawing/2014/main" id="{859AC9F0-DCBC-5389-C174-122EB8B1C36F}"/>
                </a:ext>
              </a:extLst>
            </p:cNvPr>
            <p:cNvSpPr/>
            <p:nvPr/>
          </p:nvSpPr>
          <p:spPr>
            <a:xfrm>
              <a:off x="2941230" y="2802744"/>
              <a:ext cx="13005" cy="9130"/>
            </a:xfrm>
            <a:custGeom>
              <a:avLst/>
              <a:gdLst>
                <a:gd name="connsiteX0" fmla="*/ 4733 w 14769"/>
                <a:gd name="connsiteY0" fmla="*/ 9565 h 10369"/>
                <a:gd name="connsiteX1" fmla="*/ 5774 w 14769"/>
                <a:gd name="connsiteY1" fmla="*/ 9612 h 10369"/>
                <a:gd name="connsiteX2" fmla="*/ 4496 w 14769"/>
                <a:gd name="connsiteY2" fmla="*/ 9423 h 10369"/>
                <a:gd name="connsiteX3" fmla="*/ 7620 w 14769"/>
                <a:gd name="connsiteY3" fmla="*/ 9944 h 10369"/>
                <a:gd name="connsiteX4" fmla="*/ 9182 w 14769"/>
                <a:gd name="connsiteY4" fmla="*/ 9944 h 10369"/>
                <a:gd name="connsiteX5" fmla="*/ 7904 w 14769"/>
                <a:gd name="connsiteY5" fmla="*/ 9754 h 10369"/>
                <a:gd name="connsiteX6" fmla="*/ 8283 w 14769"/>
                <a:gd name="connsiteY6" fmla="*/ 9849 h 10369"/>
                <a:gd name="connsiteX7" fmla="*/ 7147 w 14769"/>
                <a:gd name="connsiteY7" fmla="*/ 9376 h 10369"/>
                <a:gd name="connsiteX8" fmla="*/ 7384 w 14769"/>
                <a:gd name="connsiteY8" fmla="*/ 9518 h 10369"/>
                <a:gd name="connsiteX9" fmla="*/ 6437 w 14769"/>
                <a:gd name="connsiteY9" fmla="*/ 8760 h 10369"/>
                <a:gd name="connsiteX10" fmla="*/ 6674 w 14769"/>
                <a:gd name="connsiteY10" fmla="*/ 8950 h 10369"/>
                <a:gd name="connsiteX11" fmla="*/ 8188 w 14769"/>
                <a:gd name="connsiteY11" fmla="*/ 9944 h 10369"/>
                <a:gd name="connsiteX12" fmla="*/ 10034 w 14769"/>
                <a:gd name="connsiteY12" fmla="*/ 10369 h 10369"/>
                <a:gd name="connsiteX13" fmla="*/ 11880 w 14769"/>
                <a:gd name="connsiteY13" fmla="*/ 9944 h 10369"/>
                <a:gd name="connsiteX14" fmla="*/ 13395 w 14769"/>
                <a:gd name="connsiteY14" fmla="*/ 8950 h 10369"/>
                <a:gd name="connsiteX15" fmla="*/ 14767 w 14769"/>
                <a:gd name="connsiteY15" fmla="*/ 5589 h 10369"/>
                <a:gd name="connsiteX16" fmla="*/ 14578 w 14769"/>
                <a:gd name="connsiteY16" fmla="*/ 4311 h 10369"/>
                <a:gd name="connsiteX17" fmla="*/ 13347 w 14769"/>
                <a:gd name="connsiteY17" fmla="*/ 2229 h 10369"/>
                <a:gd name="connsiteX18" fmla="*/ 13205 w 14769"/>
                <a:gd name="connsiteY18" fmla="*/ 2087 h 10369"/>
                <a:gd name="connsiteX19" fmla="*/ 12164 w 14769"/>
                <a:gd name="connsiteY19" fmla="*/ 1282 h 10369"/>
                <a:gd name="connsiteX20" fmla="*/ 10791 w 14769"/>
                <a:gd name="connsiteY20" fmla="*/ 667 h 10369"/>
                <a:gd name="connsiteX21" fmla="*/ 10507 w 14769"/>
                <a:gd name="connsiteY21" fmla="*/ 572 h 10369"/>
                <a:gd name="connsiteX22" fmla="*/ 8993 w 14769"/>
                <a:gd name="connsiteY22" fmla="*/ 383 h 10369"/>
                <a:gd name="connsiteX23" fmla="*/ 7620 w 14769"/>
                <a:gd name="connsiteY23" fmla="*/ 383 h 10369"/>
                <a:gd name="connsiteX24" fmla="*/ 8898 w 14769"/>
                <a:gd name="connsiteY24" fmla="*/ 572 h 10369"/>
                <a:gd name="connsiteX25" fmla="*/ 4780 w 14769"/>
                <a:gd name="connsiteY25" fmla="*/ 4 h 10369"/>
                <a:gd name="connsiteX26" fmla="*/ 1420 w 14769"/>
                <a:gd name="connsiteY26" fmla="*/ 1377 h 10369"/>
                <a:gd name="connsiteX27" fmla="*/ 426 w 14769"/>
                <a:gd name="connsiteY27" fmla="*/ 2891 h 10369"/>
                <a:gd name="connsiteX28" fmla="*/ 0 w 14769"/>
                <a:gd name="connsiteY28" fmla="*/ 4737 h 10369"/>
                <a:gd name="connsiteX29" fmla="*/ 1373 w 14769"/>
                <a:gd name="connsiteY29" fmla="*/ 8098 h 10369"/>
                <a:gd name="connsiteX30" fmla="*/ 4733 w 14769"/>
                <a:gd name="connsiteY30" fmla="*/ 9470 h 10369"/>
                <a:gd name="connsiteX31" fmla="*/ 4733 w 14769"/>
                <a:gd name="connsiteY31" fmla="*/ 9470 h 10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769" h="10369">
                  <a:moveTo>
                    <a:pt x="4733" y="9565"/>
                  </a:moveTo>
                  <a:cubicBezTo>
                    <a:pt x="5064" y="9565"/>
                    <a:pt x="5396" y="9565"/>
                    <a:pt x="5774" y="9612"/>
                  </a:cubicBezTo>
                  <a:lnTo>
                    <a:pt x="4496" y="9423"/>
                  </a:lnTo>
                  <a:cubicBezTo>
                    <a:pt x="5538" y="9565"/>
                    <a:pt x="6532" y="9849"/>
                    <a:pt x="7620" y="9944"/>
                  </a:cubicBezTo>
                  <a:cubicBezTo>
                    <a:pt x="8141" y="9991"/>
                    <a:pt x="8662" y="9944"/>
                    <a:pt x="9182" y="9944"/>
                  </a:cubicBezTo>
                  <a:lnTo>
                    <a:pt x="7904" y="9754"/>
                  </a:lnTo>
                  <a:cubicBezTo>
                    <a:pt x="7904" y="9754"/>
                    <a:pt x="8188" y="9802"/>
                    <a:pt x="8283" y="9849"/>
                  </a:cubicBezTo>
                  <a:lnTo>
                    <a:pt x="7147" y="9376"/>
                  </a:lnTo>
                  <a:cubicBezTo>
                    <a:pt x="7147" y="9376"/>
                    <a:pt x="7289" y="9470"/>
                    <a:pt x="7384" y="9518"/>
                  </a:cubicBezTo>
                  <a:lnTo>
                    <a:pt x="6437" y="8760"/>
                  </a:lnTo>
                  <a:cubicBezTo>
                    <a:pt x="6437" y="8760"/>
                    <a:pt x="6579" y="8902"/>
                    <a:pt x="6674" y="8950"/>
                  </a:cubicBezTo>
                  <a:cubicBezTo>
                    <a:pt x="7100" y="9423"/>
                    <a:pt x="7620" y="9754"/>
                    <a:pt x="8188" y="9944"/>
                  </a:cubicBezTo>
                  <a:cubicBezTo>
                    <a:pt x="8756" y="10227"/>
                    <a:pt x="9372" y="10369"/>
                    <a:pt x="10034" y="10369"/>
                  </a:cubicBezTo>
                  <a:cubicBezTo>
                    <a:pt x="10697" y="10369"/>
                    <a:pt x="11312" y="10275"/>
                    <a:pt x="11880" y="9944"/>
                  </a:cubicBezTo>
                  <a:cubicBezTo>
                    <a:pt x="12448" y="9754"/>
                    <a:pt x="12969" y="9423"/>
                    <a:pt x="13395" y="8950"/>
                  </a:cubicBezTo>
                  <a:cubicBezTo>
                    <a:pt x="14199" y="8050"/>
                    <a:pt x="14815" y="6867"/>
                    <a:pt x="14767" y="5589"/>
                  </a:cubicBezTo>
                  <a:lnTo>
                    <a:pt x="14578" y="4311"/>
                  </a:lnTo>
                  <a:cubicBezTo>
                    <a:pt x="14341" y="3507"/>
                    <a:pt x="13963" y="2797"/>
                    <a:pt x="13347" y="2229"/>
                  </a:cubicBezTo>
                  <a:cubicBezTo>
                    <a:pt x="13347" y="2181"/>
                    <a:pt x="13253" y="2134"/>
                    <a:pt x="13205" y="2087"/>
                  </a:cubicBezTo>
                  <a:cubicBezTo>
                    <a:pt x="12921" y="1803"/>
                    <a:pt x="12495" y="1519"/>
                    <a:pt x="12164" y="1282"/>
                  </a:cubicBezTo>
                  <a:cubicBezTo>
                    <a:pt x="11738" y="998"/>
                    <a:pt x="11170" y="809"/>
                    <a:pt x="10791" y="667"/>
                  </a:cubicBezTo>
                  <a:cubicBezTo>
                    <a:pt x="10697" y="667"/>
                    <a:pt x="10602" y="619"/>
                    <a:pt x="10507" y="572"/>
                  </a:cubicBezTo>
                  <a:cubicBezTo>
                    <a:pt x="10034" y="477"/>
                    <a:pt x="9466" y="383"/>
                    <a:pt x="8993" y="383"/>
                  </a:cubicBezTo>
                  <a:cubicBezTo>
                    <a:pt x="8520" y="383"/>
                    <a:pt x="8046" y="430"/>
                    <a:pt x="7620" y="383"/>
                  </a:cubicBezTo>
                  <a:lnTo>
                    <a:pt x="8898" y="572"/>
                  </a:lnTo>
                  <a:cubicBezTo>
                    <a:pt x="7526" y="335"/>
                    <a:pt x="6153" y="-43"/>
                    <a:pt x="4780" y="4"/>
                  </a:cubicBezTo>
                  <a:cubicBezTo>
                    <a:pt x="3550" y="4"/>
                    <a:pt x="2319" y="525"/>
                    <a:pt x="1420" y="1377"/>
                  </a:cubicBezTo>
                  <a:cubicBezTo>
                    <a:pt x="947" y="1803"/>
                    <a:pt x="615" y="2323"/>
                    <a:pt x="426" y="2891"/>
                  </a:cubicBezTo>
                  <a:cubicBezTo>
                    <a:pt x="142" y="3459"/>
                    <a:pt x="0" y="4074"/>
                    <a:pt x="0" y="4737"/>
                  </a:cubicBezTo>
                  <a:cubicBezTo>
                    <a:pt x="47" y="5968"/>
                    <a:pt x="473" y="7246"/>
                    <a:pt x="1373" y="8098"/>
                  </a:cubicBezTo>
                  <a:cubicBezTo>
                    <a:pt x="2272" y="8950"/>
                    <a:pt x="3455" y="9518"/>
                    <a:pt x="4733" y="9470"/>
                  </a:cubicBezTo>
                  <a:lnTo>
                    <a:pt x="4733" y="9470"/>
                  </a:lnTo>
                  <a:close/>
                </a:path>
              </a:pathLst>
            </a:custGeom>
            <a:solidFill>
              <a:srgbClr val="231F20"/>
            </a:solidFill>
            <a:ln w="4718" cap="flat">
              <a:noFill/>
              <a:prstDash val="solid"/>
              <a:miter/>
            </a:ln>
          </p:spPr>
          <p:txBody>
            <a:bodyPr rtlCol="0" anchor="ctr"/>
            <a:lstStyle/>
            <a:p>
              <a:endParaRPr lang="en-GB"/>
            </a:p>
          </p:txBody>
        </p:sp>
        <p:sp>
          <p:nvSpPr>
            <p:cNvPr id="1604" name="Freeform: Shape 1603">
              <a:extLst>
                <a:ext uri="{FF2B5EF4-FFF2-40B4-BE49-F238E27FC236}">
                  <a16:creationId xmlns:a16="http://schemas.microsoft.com/office/drawing/2014/main" id="{E71C9FC1-A7A0-59DD-2592-C1D5884A5AE0}"/>
                </a:ext>
              </a:extLst>
            </p:cNvPr>
            <p:cNvSpPr/>
            <p:nvPr/>
          </p:nvSpPr>
          <p:spPr>
            <a:xfrm>
              <a:off x="2928934" y="2827921"/>
              <a:ext cx="17509" cy="16102"/>
            </a:xfrm>
            <a:custGeom>
              <a:avLst/>
              <a:gdLst>
                <a:gd name="connsiteX0" fmla="*/ 1280 w 19884"/>
                <a:gd name="connsiteY0" fmla="*/ 8141 h 18286"/>
                <a:gd name="connsiteX1" fmla="*/ 1564 w 19884"/>
                <a:gd name="connsiteY1" fmla="*/ 8472 h 18286"/>
                <a:gd name="connsiteX2" fmla="*/ 807 w 19884"/>
                <a:gd name="connsiteY2" fmla="*/ 7526 h 18286"/>
                <a:gd name="connsiteX3" fmla="*/ 1612 w 19884"/>
                <a:gd name="connsiteY3" fmla="*/ 9040 h 18286"/>
                <a:gd name="connsiteX4" fmla="*/ 1138 w 19884"/>
                <a:gd name="connsiteY4" fmla="*/ 7904 h 18286"/>
                <a:gd name="connsiteX5" fmla="*/ 2795 w 19884"/>
                <a:gd name="connsiteY5" fmla="*/ 11596 h 18286"/>
                <a:gd name="connsiteX6" fmla="*/ 2322 w 19884"/>
                <a:gd name="connsiteY6" fmla="*/ 10460 h 18286"/>
                <a:gd name="connsiteX7" fmla="*/ 2653 w 19884"/>
                <a:gd name="connsiteY7" fmla="*/ 11643 h 18286"/>
                <a:gd name="connsiteX8" fmla="*/ 2464 w 19884"/>
                <a:gd name="connsiteY8" fmla="*/ 10365 h 18286"/>
                <a:gd name="connsiteX9" fmla="*/ 3505 w 19884"/>
                <a:gd name="connsiteY9" fmla="*/ 14010 h 18286"/>
                <a:gd name="connsiteX10" fmla="*/ 6061 w 19884"/>
                <a:gd name="connsiteY10" fmla="*/ 16376 h 18286"/>
                <a:gd name="connsiteX11" fmla="*/ 8569 w 19884"/>
                <a:gd name="connsiteY11" fmla="*/ 17228 h 18286"/>
                <a:gd name="connsiteX12" fmla="*/ 10841 w 19884"/>
                <a:gd name="connsiteY12" fmla="*/ 17465 h 18286"/>
                <a:gd name="connsiteX13" fmla="*/ 12072 w 19884"/>
                <a:gd name="connsiteY13" fmla="*/ 17465 h 18286"/>
                <a:gd name="connsiteX14" fmla="*/ 10794 w 19884"/>
                <a:gd name="connsiteY14" fmla="*/ 17276 h 18286"/>
                <a:gd name="connsiteX15" fmla="*/ 12403 w 19884"/>
                <a:gd name="connsiteY15" fmla="*/ 17749 h 18286"/>
                <a:gd name="connsiteX16" fmla="*/ 15148 w 19884"/>
                <a:gd name="connsiteY16" fmla="*/ 18270 h 18286"/>
                <a:gd name="connsiteX17" fmla="*/ 18509 w 19884"/>
                <a:gd name="connsiteY17" fmla="*/ 16897 h 18286"/>
                <a:gd name="connsiteX18" fmla="*/ 19881 w 19884"/>
                <a:gd name="connsiteY18" fmla="*/ 13537 h 18286"/>
                <a:gd name="connsiteX19" fmla="*/ 18509 w 19884"/>
                <a:gd name="connsiteY19" fmla="*/ 10176 h 18286"/>
                <a:gd name="connsiteX20" fmla="*/ 17562 w 19884"/>
                <a:gd name="connsiteY20" fmla="*/ 9419 h 18286"/>
                <a:gd name="connsiteX21" fmla="*/ 15196 w 19884"/>
                <a:gd name="connsiteY21" fmla="*/ 8756 h 18286"/>
                <a:gd name="connsiteX22" fmla="*/ 15006 w 19884"/>
                <a:gd name="connsiteY22" fmla="*/ 8756 h 18286"/>
                <a:gd name="connsiteX23" fmla="*/ 16284 w 19884"/>
                <a:gd name="connsiteY23" fmla="*/ 8898 h 18286"/>
                <a:gd name="connsiteX24" fmla="*/ 13918 w 19884"/>
                <a:gd name="connsiteY24" fmla="*/ 8188 h 18286"/>
                <a:gd name="connsiteX25" fmla="*/ 10131 w 19884"/>
                <a:gd name="connsiteY25" fmla="*/ 7810 h 18286"/>
                <a:gd name="connsiteX26" fmla="*/ 11409 w 19884"/>
                <a:gd name="connsiteY26" fmla="*/ 7999 h 18286"/>
                <a:gd name="connsiteX27" fmla="*/ 9895 w 19884"/>
                <a:gd name="connsiteY27" fmla="*/ 7620 h 18286"/>
                <a:gd name="connsiteX28" fmla="*/ 11031 w 19884"/>
                <a:gd name="connsiteY28" fmla="*/ 8094 h 18286"/>
                <a:gd name="connsiteX29" fmla="*/ 10415 w 19884"/>
                <a:gd name="connsiteY29" fmla="*/ 7762 h 18286"/>
                <a:gd name="connsiteX30" fmla="*/ 11362 w 19884"/>
                <a:gd name="connsiteY30" fmla="*/ 8520 h 18286"/>
                <a:gd name="connsiteX31" fmla="*/ 11031 w 19884"/>
                <a:gd name="connsiteY31" fmla="*/ 8188 h 18286"/>
                <a:gd name="connsiteX32" fmla="*/ 11788 w 19884"/>
                <a:gd name="connsiteY32" fmla="*/ 9135 h 18286"/>
                <a:gd name="connsiteX33" fmla="*/ 11551 w 19884"/>
                <a:gd name="connsiteY33" fmla="*/ 8709 h 18286"/>
                <a:gd name="connsiteX34" fmla="*/ 12025 w 19884"/>
                <a:gd name="connsiteY34" fmla="*/ 9845 h 18286"/>
                <a:gd name="connsiteX35" fmla="*/ 11883 w 19884"/>
                <a:gd name="connsiteY35" fmla="*/ 9324 h 18286"/>
                <a:gd name="connsiteX36" fmla="*/ 12072 w 19884"/>
                <a:gd name="connsiteY36" fmla="*/ 10602 h 18286"/>
                <a:gd name="connsiteX37" fmla="*/ 11788 w 19884"/>
                <a:gd name="connsiteY37" fmla="*/ 8472 h 18286"/>
                <a:gd name="connsiteX38" fmla="*/ 11031 w 19884"/>
                <a:gd name="connsiteY38" fmla="*/ 6532 h 18286"/>
                <a:gd name="connsiteX39" fmla="*/ 10179 w 19884"/>
                <a:gd name="connsiteY39" fmla="*/ 4733 h 18286"/>
                <a:gd name="connsiteX40" fmla="*/ 10652 w 19884"/>
                <a:gd name="connsiteY40" fmla="*/ 5869 h 18286"/>
                <a:gd name="connsiteX41" fmla="*/ 8096 w 19884"/>
                <a:gd name="connsiteY41" fmla="*/ 1373 h 18286"/>
                <a:gd name="connsiteX42" fmla="*/ 4736 w 19884"/>
                <a:gd name="connsiteY42" fmla="*/ 0 h 18286"/>
                <a:gd name="connsiteX43" fmla="*/ 1375 w 19884"/>
                <a:gd name="connsiteY43" fmla="*/ 1373 h 18286"/>
                <a:gd name="connsiteX44" fmla="*/ 3 w 19884"/>
                <a:gd name="connsiteY44" fmla="*/ 4733 h 18286"/>
                <a:gd name="connsiteX45" fmla="*/ 1375 w 19884"/>
                <a:gd name="connsiteY45" fmla="*/ 8094 h 18286"/>
                <a:gd name="connsiteX46" fmla="*/ 1375 w 19884"/>
                <a:gd name="connsiteY46" fmla="*/ 8094 h 1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884" h="18286">
                  <a:moveTo>
                    <a:pt x="1280" y="8141"/>
                  </a:moveTo>
                  <a:cubicBezTo>
                    <a:pt x="1280" y="8141"/>
                    <a:pt x="1470" y="8330"/>
                    <a:pt x="1564" y="8472"/>
                  </a:cubicBezTo>
                  <a:lnTo>
                    <a:pt x="807" y="7526"/>
                  </a:lnTo>
                  <a:cubicBezTo>
                    <a:pt x="1138" y="7999"/>
                    <a:pt x="1375" y="8472"/>
                    <a:pt x="1612" y="9040"/>
                  </a:cubicBezTo>
                  <a:lnTo>
                    <a:pt x="1138" y="7904"/>
                  </a:lnTo>
                  <a:cubicBezTo>
                    <a:pt x="1659" y="9135"/>
                    <a:pt x="2274" y="10365"/>
                    <a:pt x="2795" y="11596"/>
                  </a:cubicBezTo>
                  <a:lnTo>
                    <a:pt x="2322" y="10460"/>
                  </a:lnTo>
                  <a:cubicBezTo>
                    <a:pt x="2464" y="10839"/>
                    <a:pt x="2606" y="11217"/>
                    <a:pt x="2653" y="11643"/>
                  </a:cubicBezTo>
                  <a:lnTo>
                    <a:pt x="2464" y="10365"/>
                  </a:lnTo>
                  <a:cubicBezTo>
                    <a:pt x="2606" y="11643"/>
                    <a:pt x="2748" y="12921"/>
                    <a:pt x="3505" y="14010"/>
                  </a:cubicBezTo>
                  <a:cubicBezTo>
                    <a:pt x="4168" y="15004"/>
                    <a:pt x="5020" y="15856"/>
                    <a:pt x="6061" y="16376"/>
                  </a:cubicBezTo>
                  <a:cubicBezTo>
                    <a:pt x="6866" y="16755"/>
                    <a:pt x="7670" y="17086"/>
                    <a:pt x="8569" y="17228"/>
                  </a:cubicBezTo>
                  <a:cubicBezTo>
                    <a:pt x="9327" y="17370"/>
                    <a:pt x="10084" y="17465"/>
                    <a:pt x="10841" y="17465"/>
                  </a:cubicBezTo>
                  <a:cubicBezTo>
                    <a:pt x="11267" y="17465"/>
                    <a:pt x="11646" y="17465"/>
                    <a:pt x="12072" y="17465"/>
                  </a:cubicBezTo>
                  <a:lnTo>
                    <a:pt x="10794" y="17276"/>
                  </a:lnTo>
                  <a:cubicBezTo>
                    <a:pt x="11362" y="17370"/>
                    <a:pt x="11883" y="17560"/>
                    <a:pt x="12403" y="17749"/>
                  </a:cubicBezTo>
                  <a:cubicBezTo>
                    <a:pt x="13302" y="18080"/>
                    <a:pt x="14202" y="18175"/>
                    <a:pt x="15148" y="18270"/>
                  </a:cubicBezTo>
                  <a:cubicBezTo>
                    <a:pt x="16284" y="18412"/>
                    <a:pt x="17752" y="17654"/>
                    <a:pt x="18509" y="16897"/>
                  </a:cubicBezTo>
                  <a:cubicBezTo>
                    <a:pt x="19313" y="16092"/>
                    <a:pt x="19929" y="14720"/>
                    <a:pt x="19881" y="13537"/>
                  </a:cubicBezTo>
                  <a:cubicBezTo>
                    <a:pt x="19834" y="12353"/>
                    <a:pt x="19408" y="11028"/>
                    <a:pt x="18509" y="10176"/>
                  </a:cubicBezTo>
                  <a:lnTo>
                    <a:pt x="17562" y="9419"/>
                  </a:lnTo>
                  <a:cubicBezTo>
                    <a:pt x="16805" y="8993"/>
                    <a:pt x="16048" y="8756"/>
                    <a:pt x="15196" y="8756"/>
                  </a:cubicBezTo>
                  <a:lnTo>
                    <a:pt x="15006" y="8756"/>
                  </a:lnTo>
                  <a:cubicBezTo>
                    <a:pt x="15432" y="8756"/>
                    <a:pt x="15858" y="8851"/>
                    <a:pt x="16284" y="8898"/>
                  </a:cubicBezTo>
                  <a:cubicBezTo>
                    <a:pt x="15480" y="8756"/>
                    <a:pt x="14722" y="8378"/>
                    <a:pt x="13918" y="8188"/>
                  </a:cubicBezTo>
                  <a:cubicBezTo>
                    <a:pt x="12640" y="7857"/>
                    <a:pt x="11409" y="7952"/>
                    <a:pt x="10131" y="7810"/>
                  </a:cubicBezTo>
                  <a:lnTo>
                    <a:pt x="11409" y="7999"/>
                  </a:lnTo>
                  <a:cubicBezTo>
                    <a:pt x="10889" y="7904"/>
                    <a:pt x="10368" y="7810"/>
                    <a:pt x="9895" y="7620"/>
                  </a:cubicBezTo>
                  <a:lnTo>
                    <a:pt x="11031" y="8094"/>
                  </a:lnTo>
                  <a:cubicBezTo>
                    <a:pt x="11031" y="8094"/>
                    <a:pt x="10605" y="7904"/>
                    <a:pt x="10415" y="7762"/>
                  </a:cubicBezTo>
                  <a:lnTo>
                    <a:pt x="11362" y="8520"/>
                  </a:lnTo>
                  <a:cubicBezTo>
                    <a:pt x="11362" y="8520"/>
                    <a:pt x="11125" y="8330"/>
                    <a:pt x="11031" y="8188"/>
                  </a:cubicBezTo>
                  <a:lnTo>
                    <a:pt x="11788" y="9135"/>
                  </a:lnTo>
                  <a:cubicBezTo>
                    <a:pt x="11788" y="9135"/>
                    <a:pt x="11646" y="8851"/>
                    <a:pt x="11551" y="8709"/>
                  </a:cubicBezTo>
                  <a:lnTo>
                    <a:pt x="12025" y="9845"/>
                  </a:lnTo>
                  <a:cubicBezTo>
                    <a:pt x="12025" y="9845"/>
                    <a:pt x="11930" y="9513"/>
                    <a:pt x="11883" y="9324"/>
                  </a:cubicBezTo>
                  <a:lnTo>
                    <a:pt x="12072" y="10602"/>
                  </a:lnTo>
                  <a:cubicBezTo>
                    <a:pt x="12025" y="9892"/>
                    <a:pt x="11930" y="9182"/>
                    <a:pt x="11788" y="8472"/>
                  </a:cubicBezTo>
                  <a:cubicBezTo>
                    <a:pt x="11646" y="7762"/>
                    <a:pt x="11315" y="7147"/>
                    <a:pt x="11031" y="6532"/>
                  </a:cubicBezTo>
                  <a:cubicBezTo>
                    <a:pt x="10747" y="5916"/>
                    <a:pt x="10415" y="5348"/>
                    <a:pt x="10179" y="4733"/>
                  </a:cubicBezTo>
                  <a:lnTo>
                    <a:pt x="10652" y="5869"/>
                  </a:lnTo>
                  <a:cubicBezTo>
                    <a:pt x="9942" y="4212"/>
                    <a:pt x="9374" y="2651"/>
                    <a:pt x="8096" y="1373"/>
                  </a:cubicBezTo>
                  <a:cubicBezTo>
                    <a:pt x="7244" y="521"/>
                    <a:pt x="5966" y="0"/>
                    <a:pt x="4736" y="0"/>
                  </a:cubicBezTo>
                  <a:cubicBezTo>
                    <a:pt x="3505" y="0"/>
                    <a:pt x="2180" y="521"/>
                    <a:pt x="1375" y="1373"/>
                  </a:cubicBezTo>
                  <a:cubicBezTo>
                    <a:pt x="571" y="2225"/>
                    <a:pt x="-45" y="3455"/>
                    <a:pt x="3" y="4733"/>
                  </a:cubicBezTo>
                  <a:cubicBezTo>
                    <a:pt x="50" y="6011"/>
                    <a:pt x="476" y="7194"/>
                    <a:pt x="1375" y="8094"/>
                  </a:cubicBezTo>
                  <a:lnTo>
                    <a:pt x="1375" y="8094"/>
                  </a:lnTo>
                  <a:close/>
                </a:path>
              </a:pathLst>
            </a:custGeom>
            <a:solidFill>
              <a:srgbClr val="231F20"/>
            </a:solidFill>
            <a:ln w="4718" cap="flat">
              <a:noFill/>
              <a:prstDash val="solid"/>
              <a:miter/>
            </a:ln>
          </p:spPr>
          <p:txBody>
            <a:bodyPr rtlCol="0" anchor="ctr"/>
            <a:lstStyle/>
            <a:p>
              <a:endParaRPr lang="en-GB"/>
            </a:p>
          </p:txBody>
        </p:sp>
        <p:sp>
          <p:nvSpPr>
            <p:cNvPr id="1605" name="Freeform: Shape 1604">
              <a:extLst>
                <a:ext uri="{FF2B5EF4-FFF2-40B4-BE49-F238E27FC236}">
                  <a16:creationId xmlns:a16="http://schemas.microsoft.com/office/drawing/2014/main" id="{EAAC85C8-EFF4-77BE-1A54-B49BC2BCB632}"/>
                </a:ext>
              </a:extLst>
            </p:cNvPr>
            <p:cNvSpPr/>
            <p:nvPr/>
          </p:nvSpPr>
          <p:spPr>
            <a:xfrm>
              <a:off x="2978738" y="2842300"/>
              <a:ext cx="16467" cy="8335"/>
            </a:xfrm>
            <a:custGeom>
              <a:avLst/>
              <a:gdLst>
                <a:gd name="connsiteX0" fmla="*/ 4736 w 18701"/>
                <a:gd name="connsiteY0" fmla="*/ 9466 h 9466"/>
                <a:gd name="connsiteX1" fmla="*/ 13965 w 18701"/>
                <a:gd name="connsiteY1" fmla="*/ 9466 h 9466"/>
                <a:gd name="connsiteX2" fmla="*/ 17326 w 18701"/>
                <a:gd name="connsiteY2" fmla="*/ 8094 h 9466"/>
                <a:gd name="connsiteX3" fmla="*/ 18698 w 18701"/>
                <a:gd name="connsiteY3" fmla="*/ 4733 h 9466"/>
                <a:gd name="connsiteX4" fmla="*/ 17326 w 18701"/>
                <a:gd name="connsiteY4" fmla="*/ 1373 h 9466"/>
                <a:gd name="connsiteX5" fmla="*/ 13965 w 18701"/>
                <a:gd name="connsiteY5" fmla="*/ 0 h 9466"/>
                <a:gd name="connsiteX6" fmla="*/ 4736 w 18701"/>
                <a:gd name="connsiteY6" fmla="*/ 0 h 9466"/>
                <a:gd name="connsiteX7" fmla="*/ 1375 w 18701"/>
                <a:gd name="connsiteY7" fmla="*/ 1373 h 9466"/>
                <a:gd name="connsiteX8" fmla="*/ 3 w 18701"/>
                <a:gd name="connsiteY8" fmla="*/ 4733 h 9466"/>
                <a:gd name="connsiteX9" fmla="*/ 1375 w 18701"/>
                <a:gd name="connsiteY9" fmla="*/ 8094 h 9466"/>
                <a:gd name="connsiteX10" fmla="*/ 4736 w 18701"/>
                <a:gd name="connsiteY10" fmla="*/ 9466 h 9466"/>
                <a:gd name="connsiteX11" fmla="*/ 4736 w 18701"/>
                <a:gd name="connsiteY11" fmla="*/ 9466 h 9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01" h="9466">
                  <a:moveTo>
                    <a:pt x="4736" y="9466"/>
                  </a:moveTo>
                  <a:lnTo>
                    <a:pt x="13965" y="9466"/>
                  </a:lnTo>
                  <a:cubicBezTo>
                    <a:pt x="15196" y="9466"/>
                    <a:pt x="16474" y="8946"/>
                    <a:pt x="17326" y="8094"/>
                  </a:cubicBezTo>
                  <a:cubicBezTo>
                    <a:pt x="18178" y="7242"/>
                    <a:pt x="18746" y="5916"/>
                    <a:pt x="18698" y="4733"/>
                  </a:cubicBezTo>
                  <a:cubicBezTo>
                    <a:pt x="18651" y="3550"/>
                    <a:pt x="18225" y="2225"/>
                    <a:pt x="17326" y="1373"/>
                  </a:cubicBezTo>
                  <a:cubicBezTo>
                    <a:pt x="16427" y="521"/>
                    <a:pt x="15243" y="0"/>
                    <a:pt x="13965" y="0"/>
                  </a:cubicBezTo>
                  <a:lnTo>
                    <a:pt x="4736" y="0"/>
                  </a:lnTo>
                  <a:cubicBezTo>
                    <a:pt x="3505" y="0"/>
                    <a:pt x="2227" y="521"/>
                    <a:pt x="1375" y="1373"/>
                  </a:cubicBezTo>
                  <a:cubicBezTo>
                    <a:pt x="523" y="2225"/>
                    <a:pt x="-45" y="3550"/>
                    <a:pt x="3" y="4733"/>
                  </a:cubicBezTo>
                  <a:cubicBezTo>
                    <a:pt x="50" y="5916"/>
                    <a:pt x="476" y="7242"/>
                    <a:pt x="1375" y="8094"/>
                  </a:cubicBezTo>
                  <a:cubicBezTo>
                    <a:pt x="2275" y="8946"/>
                    <a:pt x="3458" y="9466"/>
                    <a:pt x="4736" y="9466"/>
                  </a:cubicBezTo>
                  <a:lnTo>
                    <a:pt x="4736" y="9466"/>
                  </a:lnTo>
                  <a:close/>
                </a:path>
              </a:pathLst>
            </a:custGeom>
            <a:solidFill>
              <a:srgbClr val="231F20"/>
            </a:solidFill>
            <a:ln w="4718" cap="flat">
              <a:noFill/>
              <a:prstDash val="solid"/>
              <a:miter/>
            </a:ln>
          </p:spPr>
          <p:txBody>
            <a:bodyPr rtlCol="0" anchor="ctr"/>
            <a:lstStyle/>
            <a:p>
              <a:endParaRPr lang="en-GB"/>
            </a:p>
          </p:txBody>
        </p:sp>
        <p:sp>
          <p:nvSpPr>
            <p:cNvPr id="1606" name="Freeform: Shape 1605">
              <a:extLst>
                <a:ext uri="{FF2B5EF4-FFF2-40B4-BE49-F238E27FC236}">
                  <a16:creationId xmlns:a16="http://schemas.microsoft.com/office/drawing/2014/main" id="{9A4773CD-FAB9-696E-C749-342AC1EAB741}"/>
                </a:ext>
              </a:extLst>
            </p:cNvPr>
            <p:cNvSpPr/>
            <p:nvPr/>
          </p:nvSpPr>
          <p:spPr>
            <a:xfrm>
              <a:off x="3008911" y="2867054"/>
              <a:ext cx="16425" cy="9902"/>
            </a:xfrm>
            <a:custGeom>
              <a:avLst/>
              <a:gdLst>
                <a:gd name="connsiteX0" fmla="*/ 4736 w 18653"/>
                <a:gd name="connsiteY0" fmla="*/ 11220 h 11245"/>
                <a:gd name="connsiteX1" fmla="*/ 7717 w 18653"/>
                <a:gd name="connsiteY1" fmla="*/ 10936 h 11245"/>
                <a:gd name="connsiteX2" fmla="*/ 9705 w 18653"/>
                <a:gd name="connsiteY2" fmla="*/ 10368 h 11245"/>
                <a:gd name="connsiteX3" fmla="*/ 13586 w 18653"/>
                <a:gd name="connsiteY3" fmla="*/ 9374 h 11245"/>
                <a:gd name="connsiteX4" fmla="*/ 12309 w 18653"/>
                <a:gd name="connsiteY4" fmla="*/ 9564 h 11245"/>
                <a:gd name="connsiteX5" fmla="*/ 13918 w 18653"/>
                <a:gd name="connsiteY5" fmla="*/ 9469 h 11245"/>
                <a:gd name="connsiteX6" fmla="*/ 17278 w 18653"/>
                <a:gd name="connsiteY6" fmla="*/ 8096 h 11245"/>
                <a:gd name="connsiteX7" fmla="*/ 18651 w 18653"/>
                <a:gd name="connsiteY7" fmla="*/ 4736 h 11245"/>
                <a:gd name="connsiteX8" fmla="*/ 17278 w 18653"/>
                <a:gd name="connsiteY8" fmla="*/ 1375 h 11245"/>
                <a:gd name="connsiteX9" fmla="*/ 13918 w 18653"/>
                <a:gd name="connsiteY9" fmla="*/ 3 h 11245"/>
                <a:gd name="connsiteX10" fmla="*/ 8569 w 18653"/>
                <a:gd name="connsiteY10" fmla="*/ 807 h 11245"/>
                <a:gd name="connsiteX11" fmla="*/ 4594 w 18653"/>
                <a:gd name="connsiteY11" fmla="*/ 1896 h 11245"/>
                <a:gd name="connsiteX12" fmla="*/ 5872 w 18653"/>
                <a:gd name="connsiteY12" fmla="*/ 1707 h 11245"/>
                <a:gd name="connsiteX13" fmla="*/ 4736 w 18653"/>
                <a:gd name="connsiteY13" fmla="*/ 1707 h 11245"/>
                <a:gd name="connsiteX14" fmla="*/ 1375 w 18653"/>
                <a:gd name="connsiteY14" fmla="*/ 3079 h 11245"/>
                <a:gd name="connsiteX15" fmla="*/ 3 w 18653"/>
                <a:gd name="connsiteY15" fmla="*/ 6440 h 11245"/>
                <a:gd name="connsiteX16" fmla="*/ 1375 w 18653"/>
                <a:gd name="connsiteY16" fmla="*/ 9800 h 11245"/>
                <a:gd name="connsiteX17" fmla="*/ 2322 w 18653"/>
                <a:gd name="connsiteY17" fmla="*/ 10557 h 11245"/>
                <a:gd name="connsiteX18" fmla="*/ 4688 w 18653"/>
                <a:gd name="connsiteY18" fmla="*/ 11220 h 11245"/>
                <a:gd name="connsiteX19" fmla="*/ 4688 w 18653"/>
                <a:gd name="connsiteY19" fmla="*/ 11220 h 1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653" h="11245">
                  <a:moveTo>
                    <a:pt x="4736" y="11220"/>
                  </a:moveTo>
                  <a:cubicBezTo>
                    <a:pt x="5730" y="11315"/>
                    <a:pt x="6771" y="11125"/>
                    <a:pt x="7717" y="10936"/>
                  </a:cubicBezTo>
                  <a:cubicBezTo>
                    <a:pt x="8380" y="10794"/>
                    <a:pt x="9043" y="10605"/>
                    <a:pt x="9705" y="10368"/>
                  </a:cubicBezTo>
                  <a:cubicBezTo>
                    <a:pt x="10983" y="9942"/>
                    <a:pt x="12261" y="9564"/>
                    <a:pt x="13586" y="9374"/>
                  </a:cubicBezTo>
                  <a:lnTo>
                    <a:pt x="12309" y="9564"/>
                  </a:lnTo>
                  <a:cubicBezTo>
                    <a:pt x="12829" y="9516"/>
                    <a:pt x="13350" y="9469"/>
                    <a:pt x="13918" y="9469"/>
                  </a:cubicBezTo>
                  <a:cubicBezTo>
                    <a:pt x="15148" y="9469"/>
                    <a:pt x="16379" y="8948"/>
                    <a:pt x="17278" y="8096"/>
                  </a:cubicBezTo>
                  <a:cubicBezTo>
                    <a:pt x="18083" y="7292"/>
                    <a:pt x="18698" y="5919"/>
                    <a:pt x="18651" y="4736"/>
                  </a:cubicBezTo>
                  <a:cubicBezTo>
                    <a:pt x="18604" y="3553"/>
                    <a:pt x="18178" y="2227"/>
                    <a:pt x="17278" y="1375"/>
                  </a:cubicBezTo>
                  <a:cubicBezTo>
                    <a:pt x="16379" y="523"/>
                    <a:pt x="15196" y="-45"/>
                    <a:pt x="13918" y="3"/>
                  </a:cubicBezTo>
                  <a:cubicBezTo>
                    <a:pt x="12119" y="3"/>
                    <a:pt x="10321" y="334"/>
                    <a:pt x="8569" y="807"/>
                  </a:cubicBezTo>
                  <a:cubicBezTo>
                    <a:pt x="7244" y="1186"/>
                    <a:pt x="5966" y="1707"/>
                    <a:pt x="4594" y="1896"/>
                  </a:cubicBezTo>
                  <a:lnTo>
                    <a:pt x="5872" y="1707"/>
                  </a:lnTo>
                  <a:cubicBezTo>
                    <a:pt x="5493" y="1707"/>
                    <a:pt x="5114" y="1754"/>
                    <a:pt x="4736" y="1707"/>
                  </a:cubicBezTo>
                  <a:cubicBezTo>
                    <a:pt x="3600" y="1612"/>
                    <a:pt x="2180" y="2322"/>
                    <a:pt x="1375" y="3079"/>
                  </a:cubicBezTo>
                  <a:cubicBezTo>
                    <a:pt x="571" y="3884"/>
                    <a:pt x="-45" y="5256"/>
                    <a:pt x="3" y="6440"/>
                  </a:cubicBezTo>
                  <a:cubicBezTo>
                    <a:pt x="50" y="7623"/>
                    <a:pt x="476" y="8948"/>
                    <a:pt x="1375" y="9800"/>
                  </a:cubicBezTo>
                  <a:lnTo>
                    <a:pt x="2322" y="10557"/>
                  </a:lnTo>
                  <a:cubicBezTo>
                    <a:pt x="3079" y="10983"/>
                    <a:pt x="3836" y="11220"/>
                    <a:pt x="4688" y="11220"/>
                  </a:cubicBezTo>
                  <a:lnTo>
                    <a:pt x="4688" y="11220"/>
                  </a:lnTo>
                  <a:close/>
                </a:path>
              </a:pathLst>
            </a:custGeom>
            <a:solidFill>
              <a:srgbClr val="231F20"/>
            </a:solidFill>
            <a:ln w="4718" cap="flat">
              <a:noFill/>
              <a:prstDash val="solid"/>
              <a:miter/>
            </a:ln>
          </p:spPr>
          <p:txBody>
            <a:bodyPr rtlCol="0" anchor="ctr"/>
            <a:lstStyle/>
            <a:p>
              <a:endParaRPr lang="en-GB"/>
            </a:p>
          </p:txBody>
        </p:sp>
        <p:sp>
          <p:nvSpPr>
            <p:cNvPr id="1607" name="Freeform: Shape 1606">
              <a:extLst>
                <a:ext uri="{FF2B5EF4-FFF2-40B4-BE49-F238E27FC236}">
                  <a16:creationId xmlns:a16="http://schemas.microsoft.com/office/drawing/2014/main" id="{013312B2-0F07-8AAC-05B8-C72432A1978B}"/>
                </a:ext>
              </a:extLst>
            </p:cNvPr>
            <p:cNvSpPr/>
            <p:nvPr/>
          </p:nvSpPr>
          <p:spPr>
            <a:xfrm>
              <a:off x="3015082" y="2867431"/>
              <a:ext cx="12253" cy="8793"/>
            </a:xfrm>
            <a:custGeom>
              <a:avLst/>
              <a:gdLst>
                <a:gd name="connsiteX0" fmla="*/ 9135 w 13915"/>
                <a:gd name="connsiteY0" fmla="*/ 0 h 9986"/>
                <a:gd name="connsiteX1" fmla="*/ 8094 w 13915"/>
                <a:gd name="connsiteY1" fmla="*/ 0 h 9986"/>
                <a:gd name="connsiteX2" fmla="*/ 5916 w 13915"/>
                <a:gd name="connsiteY2" fmla="*/ 237 h 9986"/>
                <a:gd name="connsiteX3" fmla="*/ 4165 w 13915"/>
                <a:gd name="connsiteY3" fmla="*/ 615 h 9986"/>
                <a:gd name="connsiteX4" fmla="*/ 5443 w 13915"/>
                <a:gd name="connsiteY4" fmla="*/ 426 h 9986"/>
                <a:gd name="connsiteX5" fmla="*/ 4780 w 13915"/>
                <a:gd name="connsiteY5" fmla="*/ 426 h 9986"/>
                <a:gd name="connsiteX6" fmla="*/ 2934 w 13915"/>
                <a:gd name="connsiteY6" fmla="*/ 852 h 9986"/>
                <a:gd name="connsiteX7" fmla="*/ 1420 w 13915"/>
                <a:gd name="connsiteY7" fmla="*/ 1846 h 9986"/>
                <a:gd name="connsiteX8" fmla="*/ 426 w 13915"/>
                <a:gd name="connsiteY8" fmla="*/ 3360 h 9986"/>
                <a:gd name="connsiteX9" fmla="*/ 0 w 13915"/>
                <a:gd name="connsiteY9" fmla="*/ 5206 h 9986"/>
                <a:gd name="connsiteX10" fmla="*/ 189 w 13915"/>
                <a:gd name="connsiteY10" fmla="*/ 6484 h 9986"/>
                <a:gd name="connsiteX11" fmla="*/ 1420 w 13915"/>
                <a:gd name="connsiteY11" fmla="*/ 8567 h 9986"/>
                <a:gd name="connsiteX12" fmla="*/ 2367 w 13915"/>
                <a:gd name="connsiteY12" fmla="*/ 9324 h 9986"/>
                <a:gd name="connsiteX13" fmla="*/ 4733 w 13915"/>
                <a:gd name="connsiteY13" fmla="*/ 9987 h 9986"/>
                <a:gd name="connsiteX14" fmla="*/ 5396 w 13915"/>
                <a:gd name="connsiteY14" fmla="*/ 9987 h 9986"/>
                <a:gd name="connsiteX15" fmla="*/ 7242 w 13915"/>
                <a:gd name="connsiteY15" fmla="*/ 9703 h 9986"/>
                <a:gd name="connsiteX16" fmla="*/ 8520 w 13915"/>
                <a:gd name="connsiteY16" fmla="*/ 9419 h 9986"/>
                <a:gd name="connsiteX17" fmla="*/ 7242 w 13915"/>
                <a:gd name="connsiteY17" fmla="*/ 9608 h 9986"/>
                <a:gd name="connsiteX18" fmla="*/ 9135 w 13915"/>
                <a:gd name="connsiteY18" fmla="*/ 9608 h 9986"/>
                <a:gd name="connsiteX19" fmla="*/ 10981 w 13915"/>
                <a:gd name="connsiteY19" fmla="*/ 9182 h 9986"/>
                <a:gd name="connsiteX20" fmla="*/ 12495 w 13915"/>
                <a:gd name="connsiteY20" fmla="*/ 8188 h 9986"/>
                <a:gd name="connsiteX21" fmla="*/ 13489 w 13915"/>
                <a:gd name="connsiteY21" fmla="*/ 6674 h 9986"/>
                <a:gd name="connsiteX22" fmla="*/ 13915 w 13915"/>
                <a:gd name="connsiteY22" fmla="*/ 4828 h 9986"/>
                <a:gd name="connsiteX23" fmla="*/ 13726 w 13915"/>
                <a:gd name="connsiteY23" fmla="*/ 3550 h 9986"/>
                <a:gd name="connsiteX24" fmla="*/ 12495 w 13915"/>
                <a:gd name="connsiteY24" fmla="*/ 1467 h 9986"/>
                <a:gd name="connsiteX25" fmla="*/ 11549 w 13915"/>
                <a:gd name="connsiteY25" fmla="*/ 710 h 9986"/>
                <a:gd name="connsiteX26" fmla="*/ 9182 w 13915"/>
                <a:gd name="connsiteY26" fmla="*/ 47 h 9986"/>
                <a:gd name="connsiteX27" fmla="*/ 9182 w 13915"/>
                <a:gd name="connsiteY27" fmla="*/ 47 h 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915" h="9986">
                  <a:moveTo>
                    <a:pt x="9135" y="0"/>
                  </a:moveTo>
                  <a:cubicBezTo>
                    <a:pt x="8803" y="0"/>
                    <a:pt x="8472" y="0"/>
                    <a:pt x="8094" y="0"/>
                  </a:cubicBezTo>
                  <a:cubicBezTo>
                    <a:pt x="7336" y="0"/>
                    <a:pt x="6626" y="95"/>
                    <a:pt x="5916" y="237"/>
                  </a:cubicBezTo>
                  <a:cubicBezTo>
                    <a:pt x="5348" y="331"/>
                    <a:pt x="4780" y="568"/>
                    <a:pt x="4165" y="615"/>
                  </a:cubicBezTo>
                  <a:lnTo>
                    <a:pt x="5443" y="426"/>
                  </a:lnTo>
                  <a:cubicBezTo>
                    <a:pt x="5443" y="426"/>
                    <a:pt x="4970" y="426"/>
                    <a:pt x="4780" y="426"/>
                  </a:cubicBezTo>
                  <a:cubicBezTo>
                    <a:pt x="4118" y="426"/>
                    <a:pt x="3502" y="521"/>
                    <a:pt x="2934" y="852"/>
                  </a:cubicBezTo>
                  <a:cubicBezTo>
                    <a:pt x="2367" y="1041"/>
                    <a:pt x="1846" y="1373"/>
                    <a:pt x="1420" y="1846"/>
                  </a:cubicBezTo>
                  <a:cubicBezTo>
                    <a:pt x="947" y="2272"/>
                    <a:pt x="615" y="2793"/>
                    <a:pt x="426" y="3360"/>
                  </a:cubicBezTo>
                  <a:cubicBezTo>
                    <a:pt x="142" y="3928"/>
                    <a:pt x="0" y="4544"/>
                    <a:pt x="0" y="5206"/>
                  </a:cubicBezTo>
                  <a:lnTo>
                    <a:pt x="189" y="6484"/>
                  </a:lnTo>
                  <a:cubicBezTo>
                    <a:pt x="426" y="7289"/>
                    <a:pt x="805" y="7999"/>
                    <a:pt x="1420" y="8567"/>
                  </a:cubicBezTo>
                  <a:lnTo>
                    <a:pt x="2367" y="9324"/>
                  </a:lnTo>
                  <a:cubicBezTo>
                    <a:pt x="3124" y="9750"/>
                    <a:pt x="3881" y="9987"/>
                    <a:pt x="4733" y="9987"/>
                  </a:cubicBezTo>
                  <a:cubicBezTo>
                    <a:pt x="4970" y="9987"/>
                    <a:pt x="5159" y="9987"/>
                    <a:pt x="5396" y="9987"/>
                  </a:cubicBezTo>
                  <a:cubicBezTo>
                    <a:pt x="6011" y="9939"/>
                    <a:pt x="6626" y="9845"/>
                    <a:pt x="7242" y="9703"/>
                  </a:cubicBezTo>
                  <a:cubicBezTo>
                    <a:pt x="7668" y="9608"/>
                    <a:pt x="8094" y="9466"/>
                    <a:pt x="8520" y="9419"/>
                  </a:cubicBezTo>
                  <a:lnTo>
                    <a:pt x="7242" y="9608"/>
                  </a:lnTo>
                  <a:cubicBezTo>
                    <a:pt x="7857" y="9513"/>
                    <a:pt x="8472" y="9608"/>
                    <a:pt x="9135" y="9608"/>
                  </a:cubicBezTo>
                  <a:cubicBezTo>
                    <a:pt x="9797" y="9608"/>
                    <a:pt x="10413" y="9513"/>
                    <a:pt x="10981" y="9182"/>
                  </a:cubicBezTo>
                  <a:cubicBezTo>
                    <a:pt x="11549" y="8993"/>
                    <a:pt x="12069" y="8662"/>
                    <a:pt x="12495" y="8188"/>
                  </a:cubicBezTo>
                  <a:cubicBezTo>
                    <a:pt x="12969" y="7762"/>
                    <a:pt x="13300" y="7242"/>
                    <a:pt x="13489" y="6674"/>
                  </a:cubicBezTo>
                  <a:cubicBezTo>
                    <a:pt x="13773" y="6106"/>
                    <a:pt x="13915" y="5490"/>
                    <a:pt x="13915" y="4828"/>
                  </a:cubicBezTo>
                  <a:lnTo>
                    <a:pt x="13726" y="3550"/>
                  </a:lnTo>
                  <a:cubicBezTo>
                    <a:pt x="13489" y="2745"/>
                    <a:pt x="13111" y="2035"/>
                    <a:pt x="12495" y="1467"/>
                  </a:cubicBezTo>
                  <a:lnTo>
                    <a:pt x="11549" y="710"/>
                  </a:lnTo>
                  <a:cubicBezTo>
                    <a:pt x="10791" y="284"/>
                    <a:pt x="10034" y="47"/>
                    <a:pt x="9182" y="47"/>
                  </a:cubicBezTo>
                  <a:lnTo>
                    <a:pt x="9182" y="47"/>
                  </a:lnTo>
                  <a:close/>
                </a:path>
              </a:pathLst>
            </a:custGeom>
            <a:solidFill>
              <a:srgbClr val="231F20"/>
            </a:solidFill>
            <a:ln w="4718" cap="flat">
              <a:noFill/>
              <a:prstDash val="solid"/>
              <a:miter/>
            </a:ln>
          </p:spPr>
          <p:txBody>
            <a:bodyPr rtlCol="0" anchor="ctr"/>
            <a:lstStyle/>
            <a:p>
              <a:endParaRPr lang="en-GB"/>
            </a:p>
          </p:txBody>
        </p:sp>
        <p:sp>
          <p:nvSpPr>
            <p:cNvPr id="1608" name="Freeform: Shape 1607">
              <a:extLst>
                <a:ext uri="{FF2B5EF4-FFF2-40B4-BE49-F238E27FC236}">
                  <a16:creationId xmlns:a16="http://schemas.microsoft.com/office/drawing/2014/main" id="{87C98B75-DFBA-0841-17EB-E71FFC764C03}"/>
                </a:ext>
              </a:extLst>
            </p:cNvPr>
            <p:cNvSpPr/>
            <p:nvPr/>
          </p:nvSpPr>
          <p:spPr>
            <a:xfrm>
              <a:off x="2929308" y="2875922"/>
              <a:ext cx="20635" cy="10272"/>
            </a:xfrm>
            <a:custGeom>
              <a:avLst/>
              <a:gdLst>
                <a:gd name="connsiteX0" fmla="*/ 4641 w 23434"/>
                <a:gd name="connsiteY0" fmla="*/ 11657 h 11665"/>
                <a:gd name="connsiteX1" fmla="*/ 11173 w 23434"/>
                <a:gd name="connsiteY1" fmla="*/ 10947 h 11665"/>
                <a:gd name="connsiteX2" fmla="*/ 16569 w 23434"/>
                <a:gd name="connsiteY2" fmla="*/ 9337 h 11665"/>
                <a:gd name="connsiteX3" fmla="*/ 15291 w 23434"/>
                <a:gd name="connsiteY3" fmla="*/ 9527 h 11665"/>
                <a:gd name="connsiteX4" fmla="*/ 18698 w 23434"/>
                <a:gd name="connsiteY4" fmla="*/ 9527 h 11665"/>
                <a:gd name="connsiteX5" fmla="*/ 23431 w 23434"/>
                <a:gd name="connsiteY5" fmla="*/ 4794 h 11665"/>
                <a:gd name="connsiteX6" fmla="*/ 18698 w 23434"/>
                <a:gd name="connsiteY6" fmla="*/ 61 h 11665"/>
                <a:gd name="connsiteX7" fmla="*/ 16048 w 23434"/>
                <a:gd name="connsiteY7" fmla="*/ 13 h 11665"/>
                <a:gd name="connsiteX8" fmla="*/ 12261 w 23434"/>
                <a:gd name="connsiteY8" fmla="*/ 676 h 11665"/>
                <a:gd name="connsiteX9" fmla="*/ 9611 w 23434"/>
                <a:gd name="connsiteY9" fmla="*/ 1480 h 11665"/>
                <a:gd name="connsiteX10" fmla="*/ 6960 w 23434"/>
                <a:gd name="connsiteY10" fmla="*/ 2380 h 11665"/>
                <a:gd name="connsiteX11" fmla="*/ 8238 w 23434"/>
                <a:gd name="connsiteY11" fmla="*/ 2190 h 11665"/>
                <a:gd name="connsiteX12" fmla="*/ 4736 w 23434"/>
                <a:gd name="connsiteY12" fmla="*/ 2190 h 11665"/>
                <a:gd name="connsiteX13" fmla="*/ 3 w 23434"/>
                <a:gd name="connsiteY13" fmla="*/ 6924 h 11665"/>
                <a:gd name="connsiteX14" fmla="*/ 4736 w 23434"/>
                <a:gd name="connsiteY14" fmla="*/ 11657 h 11665"/>
                <a:gd name="connsiteX15" fmla="*/ 4736 w 23434"/>
                <a:gd name="connsiteY15" fmla="*/ 11657 h 1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34" h="11665">
                  <a:moveTo>
                    <a:pt x="4641" y="11657"/>
                  </a:moveTo>
                  <a:cubicBezTo>
                    <a:pt x="6866" y="11657"/>
                    <a:pt x="9043" y="11799"/>
                    <a:pt x="11173" y="10947"/>
                  </a:cubicBezTo>
                  <a:cubicBezTo>
                    <a:pt x="12877" y="10237"/>
                    <a:pt x="14770" y="9621"/>
                    <a:pt x="16569" y="9337"/>
                  </a:cubicBezTo>
                  <a:lnTo>
                    <a:pt x="15291" y="9527"/>
                  </a:lnTo>
                  <a:cubicBezTo>
                    <a:pt x="16427" y="9385"/>
                    <a:pt x="17562" y="9527"/>
                    <a:pt x="18698" y="9527"/>
                  </a:cubicBezTo>
                  <a:cubicBezTo>
                    <a:pt x="21160" y="9527"/>
                    <a:pt x="23526" y="7350"/>
                    <a:pt x="23431" y="4794"/>
                  </a:cubicBezTo>
                  <a:cubicBezTo>
                    <a:pt x="23337" y="2238"/>
                    <a:pt x="21349" y="108"/>
                    <a:pt x="18698" y="61"/>
                  </a:cubicBezTo>
                  <a:cubicBezTo>
                    <a:pt x="17799" y="61"/>
                    <a:pt x="16900" y="-34"/>
                    <a:pt x="16048" y="13"/>
                  </a:cubicBezTo>
                  <a:cubicBezTo>
                    <a:pt x="14770" y="61"/>
                    <a:pt x="13492" y="297"/>
                    <a:pt x="12261" y="676"/>
                  </a:cubicBezTo>
                  <a:cubicBezTo>
                    <a:pt x="11362" y="960"/>
                    <a:pt x="10463" y="1149"/>
                    <a:pt x="9611" y="1480"/>
                  </a:cubicBezTo>
                  <a:cubicBezTo>
                    <a:pt x="8759" y="1812"/>
                    <a:pt x="7860" y="2238"/>
                    <a:pt x="6960" y="2380"/>
                  </a:cubicBezTo>
                  <a:lnTo>
                    <a:pt x="8238" y="2190"/>
                  </a:lnTo>
                  <a:cubicBezTo>
                    <a:pt x="7055" y="2332"/>
                    <a:pt x="5872" y="2190"/>
                    <a:pt x="4736" y="2190"/>
                  </a:cubicBezTo>
                  <a:cubicBezTo>
                    <a:pt x="2275" y="2190"/>
                    <a:pt x="-92" y="4368"/>
                    <a:pt x="3" y="6924"/>
                  </a:cubicBezTo>
                  <a:cubicBezTo>
                    <a:pt x="97" y="9479"/>
                    <a:pt x="2085" y="11609"/>
                    <a:pt x="4736" y="11657"/>
                  </a:cubicBezTo>
                  <a:lnTo>
                    <a:pt x="4736" y="11657"/>
                  </a:lnTo>
                  <a:close/>
                </a:path>
              </a:pathLst>
            </a:custGeom>
            <a:solidFill>
              <a:srgbClr val="231F20"/>
            </a:solidFill>
            <a:ln w="4718" cap="flat">
              <a:noFill/>
              <a:prstDash val="solid"/>
              <a:miter/>
            </a:ln>
          </p:spPr>
          <p:txBody>
            <a:bodyPr rtlCol="0" anchor="ctr"/>
            <a:lstStyle/>
            <a:p>
              <a:endParaRPr lang="en-GB"/>
            </a:p>
          </p:txBody>
        </p:sp>
        <p:sp>
          <p:nvSpPr>
            <p:cNvPr id="1609" name="Freeform: Shape 1608">
              <a:extLst>
                <a:ext uri="{FF2B5EF4-FFF2-40B4-BE49-F238E27FC236}">
                  <a16:creationId xmlns:a16="http://schemas.microsoft.com/office/drawing/2014/main" id="{E9DCBFB2-4AAD-C7D6-7B9D-80B0CB6C976F}"/>
                </a:ext>
              </a:extLst>
            </p:cNvPr>
            <p:cNvSpPr/>
            <p:nvPr/>
          </p:nvSpPr>
          <p:spPr>
            <a:xfrm>
              <a:off x="2937729" y="2874766"/>
              <a:ext cx="8418" cy="8752"/>
            </a:xfrm>
            <a:custGeom>
              <a:avLst/>
              <a:gdLst>
                <a:gd name="connsiteX0" fmla="*/ 0 w 9560"/>
                <a:gd name="connsiteY0" fmla="*/ 4733 h 9939"/>
                <a:gd name="connsiteX1" fmla="*/ 0 w 9560"/>
                <a:gd name="connsiteY1" fmla="*/ 5159 h 9939"/>
                <a:gd name="connsiteX2" fmla="*/ 426 w 9560"/>
                <a:gd name="connsiteY2" fmla="*/ 7005 h 9939"/>
                <a:gd name="connsiteX3" fmla="*/ 1420 w 9560"/>
                <a:gd name="connsiteY3" fmla="*/ 8520 h 9939"/>
                <a:gd name="connsiteX4" fmla="*/ 2935 w 9560"/>
                <a:gd name="connsiteY4" fmla="*/ 9513 h 9939"/>
                <a:gd name="connsiteX5" fmla="*/ 4780 w 9560"/>
                <a:gd name="connsiteY5" fmla="*/ 9939 h 9939"/>
                <a:gd name="connsiteX6" fmla="*/ 6058 w 9560"/>
                <a:gd name="connsiteY6" fmla="*/ 9750 h 9939"/>
                <a:gd name="connsiteX7" fmla="*/ 8141 w 9560"/>
                <a:gd name="connsiteY7" fmla="*/ 8520 h 9939"/>
                <a:gd name="connsiteX8" fmla="*/ 8898 w 9560"/>
                <a:gd name="connsiteY8" fmla="*/ 7573 h 9939"/>
                <a:gd name="connsiteX9" fmla="*/ 9561 w 9560"/>
                <a:gd name="connsiteY9" fmla="*/ 5206 h 9939"/>
                <a:gd name="connsiteX10" fmla="*/ 9561 w 9560"/>
                <a:gd name="connsiteY10" fmla="*/ 4780 h 9939"/>
                <a:gd name="connsiteX11" fmla="*/ 9135 w 9560"/>
                <a:gd name="connsiteY11" fmla="*/ 2934 h 9939"/>
                <a:gd name="connsiteX12" fmla="*/ 8141 w 9560"/>
                <a:gd name="connsiteY12" fmla="*/ 1420 h 9939"/>
                <a:gd name="connsiteX13" fmla="*/ 6626 w 9560"/>
                <a:gd name="connsiteY13" fmla="*/ 426 h 9939"/>
                <a:gd name="connsiteX14" fmla="*/ 4780 w 9560"/>
                <a:gd name="connsiteY14" fmla="*/ 0 h 9939"/>
                <a:gd name="connsiteX15" fmla="*/ 3502 w 9560"/>
                <a:gd name="connsiteY15" fmla="*/ 189 h 9939"/>
                <a:gd name="connsiteX16" fmla="*/ 1420 w 9560"/>
                <a:gd name="connsiteY16" fmla="*/ 1420 h 9939"/>
                <a:gd name="connsiteX17" fmla="*/ 663 w 9560"/>
                <a:gd name="connsiteY17" fmla="*/ 2367 h 9939"/>
                <a:gd name="connsiteX18" fmla="*/ 0 w 9560"/>
                <a:gd name="connsiteY18" fmla="*/ 4733 h 9939"/>
                <a:gd name="connsiteX19" fmla="*/ 0 w 9560"/>
                <a:gd name="connsiteY19" fmla="*/ 4733 h 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60" h="9939">
                  <a:moveTo>
                    <a:pt x="0" y="4733"/>
                  </a:moveTo>
                  <a:lnTo>
                    <a:pt x="0" y="5159"/>
                  </a:lnTo>
                  <a:cubicBezTo>
                    <a:pt x="0" y="5822"/>
                    <a:pt x="95" y="6437"/>
                    <a:pt x="426" y="7005"/>
                  </a:cubicBezTo>
                  <a:cubicBezTo>
                    <a:pt x="615" y="7573"/>
                    <a:pt x="947" y="8094"/>
                    <a:pt x="1420" y="8520"/>
                  </a:cubicBezTo>
                  <a:cubicBezTo>
                    <a:pt x="1846" y="8993"/>
                    <a:pt x="2367" y="9324"/>
                    <a:pt x="2935" y="9513"/>
                  </a:cubicBezTo>
                  <a:cubicBezTo>
                    <a:pt x="3502" y="9797"/>
                    <a:pt x="4118" y="9939"/>
                    <a:pt x="4780" y="9939"/>
                  </a:cubicBezTo>
                  <a:lnTo>
                    <a:pt x="6058" y="9750"/>
                  </a:lnTo>
                  <a:cubicBezTo>
                    <a:pt x="6863" y="9513"/>
                    <a:pt x="7573" y="9135"/>
                    <a:pt x="8141" y="8520"/>
                  </a:cubicBezTo>
                  <a:lnTo>
                    <a:pt x="8898" y="7573"/>
                  </a:lnTo>
                  <a:cubicBezTo>
                    <a:pt x="9324" y="6816"/>
                    <a:pt x="9561" y="6058"/>
                    <a:pt x="9561" y="5206"/>
                  </a:cubicBezTo>
                  <a:lnTo>
                    <a:pt x="9561" y="4780"/>
                  </a:lnTo>
                  <a:cubicBezTo>
                    <a:pt x="9561" y="4118"/>
                    <a:pt x="9466" y="3502"/>
                    <a:pt x="9135" y="2934"/>
                  </a:cubicBezTo>
                  <a:cubicBezTo>
                    <a:pt x="8946" y="2367"/>
                    <a:pt x="8614" y="1846"/>
                    <a:pt x="8141" y="1420"/>
                  </a:cubicBezTo>
                  <a:cubicBezTo>
                    <a:pt x="7715" y="947"/>
                    <a:pt x="7194" y="615"/>
                    <a:pt x="6626" y="426"/>
                  </a:cubicBezTo>
                  <a:cubicBezTo>
                    <a:pt x="6058" y="142"/>
                    <a:pt x="5443" y="0"/>
                    <a:pt x="4780" y="0"/>
                  </a:cubicBezTo>
                  <a:lnTo>
                    <a:pt x="3502" y="189"/>
                  </a:lnTo>
                  <a:cubicBezTo>
                    <a:pt x="2698" y="426"/>
                    <a:pt x="1988" y="805"/>
                    <a:pt x="1420" y="1420"/>
                  </a:cubicBezTo>
                  <a:lnTo>
                    <a:pt x="663" y="2367"/>
                  </a:lnTo>
                  <a:cubicBezTo>
                    <a:pt x="237" y="3124"/>
                    <a:pt x="0" y="3881"/>
                    <a:pt x="0" y="4733"/>
                  </a:cubicBezTo>
                  <a:lnTo>
                    <a:pt x="0" y="4733"/>
                  </a:lnTo>
                  <a:close/>
                </a:path>
              </a:pathLst>
            </a:custGeom>
            <a:solidFill>
              <a:srgbClr val="231F20"/>
            </a:solidFill>
            <a:ln w="4718" cap="flat">
              <a:noFill/>
              <a:prstDash val="solid"/>
              <a:miter/>
            </a:ln>
          </p:spPr>
          <p:txBody>
            <a:bodyPr rtlCol="0" anchor="ctr"/>
            <a:lstStyle/>
            <a:p>
              <a:endParaRPr lang="en-GB"/>
            </a:p>
          </p:txBody>
        </p:sp>
        <p:sp>
          <p:nvSpPr>
            <p:cNvPr id="1610" name="Freeform: Shape 1609">
              <a:extLst>
                <a:ext uri="{FF2B5EF4-FFF2-40B4-BE49-F238E27FC236}">
                  <a16:creationId xmlns:a16="http://schemas.microsoft.com/office/drawing/2014/main" id="{C77187EB-29B8-5BC8-61DD-359EAAE57AC2}"/>
                </a:ext>
              </a:extLst>
            </p:cNvPr>
            <p:cNvSpPr/>
            <p:nvPr/>
          </p:nvSpPr>
          <p:spPr>
            <a:xfrm>
              <a:off x="2978288" y="2899477"/>
              <a:ext cx="21459" cy="9145"/>
            </a:xfrm>
            <a:custGeom>
              <a:avLst/>
              <a:gdLst>
                <a:gd name="connsiteX0" fmla="*/ 6051 w 24370"/>
                <a:gd name="connsiteY0" fmla="*/ 10227 h 10386"/>
                <a:gd name="connsiteX1" fmla="*/ 9554 w 24370"/>
                <a:gd name="connsiteY1" fmla="*/ 9375 h 10386"/>
                <a:gd name="connsiteX2" fmla="*/ 8276 w 24370"/>
                <a:gd name="connsiteY2" fmla="*/ 9565 h 10386"/>
                <a:gd name="connsiteX3" fmla="*/ 15281 w 24370"/>
                <a:gd name="connsiteY3" fmla="*/ 9754 h 10386"/>
                <a:gd name="connsiteX4" fmla="*/ 14003 w 24370"/>
                <a:gd name="connsiteY4" fmla="*/ 9565 h 10386"/>
                <a:gd name="connsiteX5" fmla="*/ 19635 w 24370"/>
                <a:gd name="connsiteY5" fmla="*/ 10369 h 10386"/>
                <a:gd name="connsiteX6" fmla="*/ 22996 w 24370"/>
                <a:gd name="connsiteY6" fmla="*/ 8997 h 10386"/>
                <a:gd name="connsiteX7" fmla="*/ 24368 w 24370"/>
                <a:gd name="connsiteY7" fmla="*/ 5636 h 10386"/>
                <a:gd name="connsiteX8" fmla="*/ 22996 w 24370"/>
                <a:gd name="connsiteY8" fmla="*/ 2276 h 10386"/>
                <a:gd name="connsiteX9" fmla="*/ 19635 w 24370"/>
                <a:gd name="connsiteY9" fmla="*/ 903 h 10386"/>
                <a:gd name="connsiteX10" fmla="*/ 19067 w 24370"/>
                <a:gd name="connsiteY10" fmla="*/ 808 h 10386"/>
                <a:gd name="connsiteX11" fmla="*/ 20345 w 24370"/>
                <a:gd name="connsiteY11" fmla="*/ 998 h 10386"/>
                <a:gd name="connsiteX12" fmla="*/ 11778 w 24370"/>
                <a:gd name="connsiteY12" fmla="*/ 4 h 10386"/>
                <a:gd name="connsiteX13" fmla="*/ 6998 w 24370"/>
                <a:gd name="connsiteY13" fmla="*/ 193 h 10386"/>
                <a:gd name="connsiteX14" fmla="*/ 3495 w 24370"/>
                <a:gd name="connsiteY14" fmla="*/ 1045 h 10386"/>
                <a:gd name="connsiteX15" fmla="*/ 656 w 24370"/>
                <a:gd name="connsiteY15" fmla="*/ 3222 h 10386"/>
                <a:gd name="connsiteX16" fmla="*/ 182 w 24370"/>
                <a:gd name="connsiteY16" fmla="*/ 6867 h 10386"/>
                <a:gd name="connsiteX17" fmla="*/ 2360 w 24370"/>
                <a:gd name="connsiteY17" fmla="*/ 9707 h 10386"/>
                <a:gd name="connsiteX18" fmla="*/ 6004 w 24370"/>
                <a:gd name="connsiteY18" fmla="*/ 10180 h 10386"/>
                <a:gd name="connsiteX19" fmla="*/ 6004 w 24370"/>
                <a:gd name="connsiteY19" fmla="*/ 10180 h 1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370" h="10386">
                  <a:moveTo>
                    <a:pt x="6051" y="10227"/>
                  </a:moveTo>
                  <a:cubicBezTo>
                    <a:pt x="7235" y="10038"/>
                    <a:pt x="8371" y="9565"/>
                    <a:pt x="9554" y="9375"/>
                  </a:cubicBezTo>
                  <a:lnTo>
                    <a:pt x="8276" y="9565"/>
                  </a:lnTo>
                  <a:cubicBezTo>
                    <a:pt x="10548" y="9328"/>
                    <a:pt x="13009" y="9470"/>
                    <a:pt x="15281" y="9754"/>
                  </a:cubicBezTo>
                  <a:lnTo>
                    <a:pt x="14003" y="9565"/>
                  </a:lnTo>
                  <a:cubicBezTo>
                    <a:pt x="15896" y="9801"/>
                    <a:pt x="17742" y="10133"/>
                    <a:pt x="19635" y="10369"/>
                  </a:cubicBezTo>
                  <a:cubicBezTo>
                    <a:pt x="20771" y="10511"/>
                    <a:pt x="22238" y="9754"/>
                    <a:pt x="22996" y="8997"/>
                  </a:cubicBezTo>
                  <a:cubicBezTo>
                    <a:pt x="23800" y="8192"/>
                    <a:pt x="24416" y="6819"/>
                    <a:pt x="24368" y="5636"/>
                  </a:cubicBezTo>
                  <a:cubicBezTo>
                    <a:pt x="24321" y="4453"/>
                    <a:pt x="23895" y="3128"/>
                    <a:pt x="22996" y="2276"/>
                  </a:cubicBezTo>
                  <a:cubicBezTo>
                    <a:pt x="22002" y="1376"/>
                    <a:pt x="20961" y="1045"/>
                    <a:pt x="19635" y="903"/>
                  </a:cubicBezTo>
                  <a:cubicBezTo>
                    <a:pt x="19446" y="903"/>
                    <a:pt x="19257" y="903"/>
                    <a:pt x="19067" y="808"/>
                  </a:cubicBezTo>
                  <a:lnTo>
                    <a:pt x="20345" y="998"/>
                  </a:lnTo>
                  <a:cubicBezTo>
                    <a:pt x="17505" y="619"/>
                    <a:pt x="14666" y="51"/>
                    <a:pt x="11778" y="4"/>
                  </a:cubicBezTo>
                  <a:cubicBezTo>
                    <a:pt x="10169" y="4"/>
                    <a:pt x="8607" y="-43"/>
                    <a:pt x="6998" y="193"/>
                  </a:cubicBezTo>
                  <a:cubicBezTo>
                    <a:pt x="5815" y="383"/>
                    <a:pt x="4679" y="856"/>
                    <a:pt x="3495" y="1045"/>
                  </a:cubicBezTo>
                  <a:cubicBezTo>
                    <a:pt x="2407" y="1234"/>
                    <a:pt x="1224" y="2276"/>
                    <a:pt x="656" y="3222"/>
                  </a:cubicBezTo>
                  <a:cubicBezTo>
                    <a:pt x="40" y="4216"/>
                    <a:pt x="-196" y="5731"/>
                    <a:pt x="182" y="6867"/>
                  </a:cubicBezTo>
                  <a:cubicBezTo>
                    <a:pt x="561" y="8003"/>
                    <a:pt x="1271" y="9139"/>
                    <a:pt x="2360" y="9707"/>
                  </a:cubicBezTo>
                  <a:cubicBezTo>
                    <a:pt x="3543" y="10322"/>
                    <a:pt x="4679" y="10417"/>
                    <a:pt x="6004" y="10180"/>
                  </a:cubicBezTo>
                  <a:lnTo>
                    <a:pt x="6004" y="10180"/>
                  </a:lnTo>
                  <a:close/>
                </a:path>
              </a:pathLst>
            </a:custGeom>
            <a:solidFill>
              <a:srgbClr val="231F20"/>
            </a:solidFill>
            <a:ln w="4718" cap="flat">
              <a:noFill/>
              <a:prstDash val="solid"/>
              <a:miter/>
            </a:ln>
          </p:spPr>
          <p:txBody>
            <a:bodyPr rtlCol="0" anchor="ctr"/>
            <a:lstStyle/>
            <a:p>
              <a:endParaRPr lang="en-GB"/>
            </a:p>
          </p:txBody>
        </p:sp>
        <p:sp>
          <p:nvSpPr>
            <p:cNvPr id="1611" name="Freeform: Shape 1610">
              <a:extLst>
                <a:ext uri="{FF2B5EF4-FFF2-40B4-BE49-F238E27FC236}">
                  <a16:creationId xmlns:a16="http://schemas.microsoft.com/office/drawing/2014/main" id="{EA952E5D-A635-B589-AE08-864E2ED8835D}"/>
                </a:ext>
              </a:extLst>
            </p:cNvPr>
            <p:cNvSpPr/>
            <p:nvPr/>
          </p:nvSpPr>
          <p:spPr>
            <a:xfrm>
              <a:off x="2943561" y="2905307"/>
              <a:ext cx="16450" cy="8751"/>
            </a:xfrm>
            <a:custGeom>
              <a:avLst/>
              <a:gdLst>
                <a:gd name="connsiteX0" fmla="*/ 4736 w 18681"/>
                <a:gd name="connsiteY0" fmla="*/ 9901 h 9938"/>
                <a:gd name="connsiteX1" fmla="*/ 10084 w 18681"/>
                <a:gd name="connsiteY1" fmla="*/ 9901 h 9938"/>
                <a:gd name="connsiteX2" fmla="*/ 16332 w 18681"/>
                <a:gd name="connsiteY2" fmla="*/ 8812 h 9938"/>
                <a:gd name="connsiteX3" fmla="*/ 18509 w 18681"/>
                <a:gd name="connsiteY3" fmla="*/ 5973 h 9938"/>
                <a:gd name="connsiteX4" fmla="*/ 18036 w 18681"/>
                <a:gd name="connsiteY4" fmla="*/ 2328 h 9938"/>
                <a:gd name="connsiteX5" fmla="*/ 15196 w 18681"/>
                <a:gd name="connsiteY5" fmla="*/ 151 h 9938"/>
                <a:gd name="connsiteX6" fmla="*/ 11551 w 18681"/>
                <a:gd name="connsiteY6" fmla="*/ 624 h 9938"/>
                <a:gd name="connsiteX7" fmla="*/ 11078 w 18681"/>
                <a:gd name="connsiteY7" fmla="*/ 861 h 9938"/>
                <a:gd name="connsiteX8" fmla="*/ 12214 w 18681"/>
                <a:gd name="connsiteY8" fmla="*/ 388 h 9938"/>
                <a:gd name="connsiteX9" fmla="*/ 11315 w 18681"/>
                <a:gd name="connsiteY9" fmla="*/ 624 h 9938"/>
                <a:gd name="connsiteX10" fmla="*/ 12593 w 18681"/>
                <a:gd name="connsiteY10" fmla="*/ 435 h 9938"/>
                <a:gd name="connsiteX11" fmla="*/ 9138 w 18681"/>
                <a:gd name="connsiteY11" fmla="*/ 435 h 9938"/>
                <a:gd name="connsiteX12" fmla="*/ 4736 w 18681"/>
                <a:gd name="connsiteY12" fmla="*/ 435 h 9938"/>
                <a:gd name="connsiteX13" fmla="*/ 1375 w 18681"/>
                <a:gd name="connsiteY13" fmla="*/ 1808 h 9938"/>
                <a:gd name="connsiteX14" fmla="*/ 3 w 18681"/>
                <a:gd name="connsiteY14" fmla="*/ 5168 h 9938"/>
                <a:gd name="connsiteX15" fmla="*/ 1375 w 18681"/>
                <a:gd name="connsiteY15" fmla="*/ 8528 h 9938"/>
                <a:gd name="connsiteX16" fmla="*/ 4736 w 18681"/>
                <a:gd name="connsiteY16" fmla="*/ 9901 h 9938"/>
                <a:gd name="connsiteX17" fmla="*/ 4736 w 18681"/>
                <a:gd name="connsiteY17" fmla="*/ 9901 h 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81" h="9938">
                  <a:moveTo>
                    <a:pt x="4736" y="9901"/>
                  </a:moveTo>
                  <a:cubicBezTo>
                    <a:pt x="6534" y="9901"/>
                    <a:pt x="8286" y="9854"/>
                    <a:pt x="10084" y="9901"/>
                  </a:cubicBezTo>
                  <a:cubicBezTo>
                    <a:pt x="12261" y="9996"/>
                    <a:pt x="14439" y="9996"/>
                    <a:pt x="16332" y="8812"/>
                  </a:cubicBezTo>
                  <a:cubicBezTo>
                    <a:pt x="17373" y="8150"/>
                    <a:pt x="18178" y="7156"/>
                    <a:pt x="18509" y="5973"/>
                  </a:cubicBezTo>
                  <a:cubicBezTo>
                    <a:pt x="18840" y="4789"/>
                    <a:pt x="18698" y="3322"/>
                    <a:pt x="18036" y="2328"/>
                  </a:cubicBezTo>
                  <a:cubicBezTo>
                    <a:pt x="17373" y="1334"/>
                    <a:pt x="16427" y="435"/>
                    <a:pt x="15196" y="151"/>
                  </a:cubicBezTo>
                  <a:cubicBezTo>
                    <a:pt x="13965" y="-133"/>
                    <a:pt x="12640" y="-38"/>
                    <a:pt x="11551" y="624"/>
                  </a:cubicBezTo>
                  <a:cubicBezTo>
                    <a:pt x="11409" y="719"/>
                    <a:pt x="11267" y="814"/>
                    <a:pt x="11078" y="861"/>
                  </a:cubicBezTo>
                  <a:lnTo>
                    <a:pt x="12214" y="388"/>
                  </a:lnTo>
                  <a:cubicBezTo>
                    <a:pt x="11930" y="482"/>
                    <a:pt x="11599" y="577"/>
                    <a:pt x="11315" y="624"/>
                  </a:cubicBezTo>
                  <a:lnTo>
                    <a:pt x="12593" y="435"/>
                  </a:lnTo>
                  <a:cubicBezTo>
                    <a:pt x="11457" y="577"/>
                    <a:pt x="10274" y="435"/>
                    <a:pt x="9138" y="435"/>
                  </a:cubicBezTo>
                  <a:cubicBezTo>
                    <a:pt x="7670" y="435"/>
                    <a:pt x="6203" y="435"/>
                    <a:pt x="4736" y="435"/>
                  </a:cubicBezTo>
                  <a:cubicBezTo>
                    <a:pt x="3505" y="435"/>
                    <a:pt x="2227" y="956"/>
                    <a:pt x="1375" y="1808"/>
                  </a:cubicBezTo>
                  <a:cubicBezTo>
                    <a:pt x="523" y="2659"/>
                    <a:pt x="-45" y="3985"/>
                    <a:pt x="3" y="5168"/>
                  </a:cubicBezTo>
                  <a:cubicBezTo>
                    <a:pt x="50" y="6351"/>
                    <a:pt x="476" y="7677"/>
                    <a:pt x="1375" y="8528"/>
                  </a:cubicBezTo>
                  <a:cubicBezTo>
                    <a:pt x="2275" y="9380"/>
                    <a:pt x="3458" y="9901"/>
                    <a:pt x="4736" y="9901"/>
                  </a:cubicBezTo>
                  <a:lnTo>
                    <a:pt x="4736" y="9901"/>
                  </a:lnTo>
                  <a:close/>
                </a:path>
              </a:pathLst>
            </a:custGeom>
            <a:solidFill>
              <a:srgbClr val="231F20"/>
            </a:solidFill>
            <a:ln w="4718" cap="flat">
              <a:noFill/>
              <a:prstDash val="solid"/>
              <a:miter/>
            </a:ln>
          </p:spPr>
          <p:txBody>
            <a:bodyPr rtlCol="0" anchor="ctr"/>
            <a:lstStyle/>
            <a:p>
              <a:endParaRPr lang="en-GB"/>
            </a:p>
          </p:txBody>
        </p:sp>
        <p:sp>
          <p:nvSpPr>
            <p:cNvPr id="1612" name="Freeform: Shape 1611">
              <a:extLst>
                <a:ext uri="{FF2B5EF4-FFF2-40B4-BE49-F238E27FC236}">
                  <a16:creationId xmlns:a16="http://schemas.microsoft.com/office/drawing/2014/main" id="{8A41B3C5-247F-0910-973B-F4F454EF5153}"/>
                </a:ext>
              </a:extLst>
            </p:cNvPr>
            <p:cNvSpPr/>
            <p:nvPr/>
          </p:nvSpPr>
          <p:spPr>
            <a:xfrm>
              <a:off x="2954685" y="2934071"/>
              <a:ext cx="19597" cy="12919"/>
            </a:xfrm>
            <a:custGeom>
              <a:avLst/>
              <a:gdLst>
                <a:gd name="connsiteX0" fmla="*/ 954 w 22255"/>
                <a:gd name="connsiteY0" fmla="*/ 4594 h 14671"/>
                <a:gd name="connsiteX1" fmla="*/ 954 w 22255"/>
                <a:gd name="connsiteY1" fmla="*/ 5256 h 14671"/>
                <a:gd name="connsiteX2" fmla="*/ 1144 w 22255"/>
                <a:gd name="connsiteY2" fmla="*/ 3978 h 14671"/>
                <a:gd name="connsiteX3" fmla="*/ 907 w 22255"/>
                <a:gd name="connsiteY3" fmla="*/ 4736 h 14671"/>
                <a:gd name="connsiteX4" fmla="*/ 1380 w 22255"/>
                <a:gd name="connsiteY4" fmla="*/ 3600 h 14671"/>
                <a:gd name="connsiteX5" fmla="*/ 8 w 22255"/>
                <a:gd name="connsiteY5" fmla="*/ 8427 h 14671"/>
                <a:gd name="connsiteX6" fmla="*/ 4646 w 22255"/>
                <a:gd name="connsiteY6" fmla="*/ 14391 h 14671"/>
                <a:gd name="connsiteX7" fmla="*/ 9426 w 22255"/>
                <a:gd name="connsiteY7" fmla="*/ 14296 h 14671"/>
                <a:gd name="connsiteX8" fmla="*/ 12361 w 22255"/>
                <a:gd name="connsiteY8" fmla="*/ 13539 h 14671"/>
                <a:gd name="connsiteX9" fmla="*/ 11083 w 22255"/>
                <a:gd name="connsiteY9" fmla="*/ 13728 h 14671"/>
                <a:gd name="connsiteX10" fmla="*/ 17520 w 22255"/>
                <a:gd name="connsiteY10" fmla="*/ 13728 h 14671"/>
                <a:gd name="connsiteX11" fmla="*/ 22253 w 22255"/>
                <a:gd name="connsiteY11" fmla="*/ 8995 h 14671"/>
                <a:gd name="connsiteX12" fmla="*/ 17520 w 22255"/>
                <a:gd name="connsiteY12" fmla="*/ 4262 h 14671"/>
                <a:gd name="connsiteX13" fmla="*/ 11509 w 22255"/>
                <a:gd name="connsiteY13" fmla="*/ 4262 h 14671"/>
                <a:gd name="connsiteX14" fmla="*/ 8007 w 22255"/>
                <a:gd name="connsiteY14" fmla="*/ 4878 h 14671"/>
                <a:gd name="connsiteX15" fmla="*/ 6066 w 22255"/>
                <a:gd name="connsiteY15" fmla="*/ 5398 h 14671"/>
                <a:gd name="connsiteX16" fmla="*/ 7344 w 22255"/>
                <a:gd name="connsiteY16" fmla="*/ 5209 h 14671"/>
                <a:gd name="connsiteX17" fmla="*/ 6208 w 22255"/>
                <a:gd name="connsiteY17" fmla="*/ 5209 h 14671"/>
                <a:gd name="connsiteX18" fmla="*/ 7486 w 22255"/>
                <a:gd name="connsiteY18" fmla="*/ 5398 h 14671"/>
                <a:gd name="connsiteX19" fmla="*/ 6965 w 22255"/>
                <a:gd name="connsiteY19" fmla="*/ 5256 h 14671"/>
                <a:gd name="connsiteX20" fmla="*/ 8101 w 22255"/>
                <a:gd name="connsiteY20" fmla="*/ 5730 h 14671"/>
                <a:gd name="connsiteX21" fmla="*/ 7770 w 22255"/>
                <a:gd name="connsiteY21" fmla="*/ 5540 h 14671"/>
                <a:gd name="connsiteX22" fmla="*/ 8716 w 22255"/>
                <a:gd name="connsiteY22" fmla="*/ 6298 h 14671"/>
                <a:gd name="connsiteX23" fmla="*/ 8433 w 22255"/>
                <a:gd name="connsiteY23" fmla="*/ 6014 h 14671"/>
                <a:gd name="connsiteX24" fmla="*/ 9190 w 22255"/>
                <a:gd name="connsiteY24" fmla="*/ 6960 h 14671"/>
                <a:gd name="connsiteX25" fmla="*/ 8953 w 22255"/>
                <a:gd name="connsiteY25" fmla="*/ 6582 h 14671"/>
                <a:gd name="connsiteX26" fmla="*/ 9426 w 22255"/>
                <a:gd name="connsiteY26" fmla="*/ 7717 h 14671"/>
                <a:gd name="connsiteX27" fmla="*/ 9284 w 22255"/>
                <a:gd name="connsiteY27" fmla="*/ 7244 h 14671"/>
                <a:gd name="connsiteX28" fmla="*/ 9474 w 22255"/>
                <a:gd name="connsiteY28" fmla="*/ 8522 h 14671"/>
                <a:gd name="connsiteX29" fmla="*/ 9474 w 22255"/>
                <a:gd name="connsiteY29" fmla="*/ 8049 h 14671"/>
                <a:gd name="connsiteX30" fmla="*/ 9284 w 22255"/>
                <a:gd name="connsiteY30" fmla="*/ 9327 h 14671"/>
                <a:gd name="connsiteX31" fmla="*/ 9521 w 22255"/>
                <a:gd name="connsiteY31" fmla="*/ 8427 h 14671"/>
                <a:gd name="connsiteX32" fmla="*/ 9048 w 22255"/>
                <a:gd name="connsiteY32" fmla="*/ 9563 h 14671"/>
                <a:gd name="connsiteX33" fmla="*/ 10420 w 22255"/>
                <a:gd name="connsiteY33" fmla="*/ 4736 h 14671"/>
                <a:gd name="connsiteX34" fmla="*/ 9048 w 22255"/>
                <a:gd name="connsiteY34" fmla="*/ 1375 h 14671"/>
                <a:gd name="connsiteX35" fmla="*/ 5687 w 22255"/>
                <a:gd name="connsiteY35" fmla="*/ 3 h 14671"/>
                <a:gd name="connsiteX36" fmla="*/ 2327 w 22255"/>
                <a:gd name="connsiteY36" fmla="*/ 1375 h 14671"/>
                <a:gd name="connsiteX37" fmla="*/ 954 w 22255"/>
                <a:gd name="connsiteY37" fmla="*/ 4736 h 14671"/>
                <a:gd name="connsiteX38" fmla="*/ 954 w 22255"/>
                <a:gd name="connsiteY38" fmla="*/ 4736 h 1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2255" h="14671">
                  <a:moveTo>
                    <a:pt x="954" y="4594"/>
                  </a:moveTo>
                  <a:cubicBezTo>
                    <a:pt x="954" y="4594"/>
                    <a:pt x="954" y="5020"/>
                    <a:pt x="954" y="5256"/>
                  </a:cubicBezTo>
                  <a:lnTo>
                    <a:pt x="1144" y="3978"/>
                  </a:lnTo>
                  <a:cubicBezTo>
                    <a:pt x="1096" y="4262"/>
                    <a:pt x="1002" y="4499"/>
                    <a:pt x="907" y="4736"/>
                  </a:cubicBezTo>
                  <a:lnTo>
                    <a:pt x="1380" y="3600"/>
                  </a:lnTo>
                  <a:cubicBezTo>
                    <a:pt x="718" y="5162"/>
                    <a:pt x="-87" y="6629"/>
                    <a:pt x="8" y="8427"/>
                  </a:cubicBezTo>
                  <a:cubicBezTo>
                    <a:pt x="197" y="11173"/>
                    <a:pt x="1901" y="13634"/>
                    <a:pt x="4646" y="14391"/>
                  </a:cubicBezTo>
                  <a:cubicBezTo>
                    <a:pt x="6208" y="14864"/>
                    <a:pt x="7865" y="14675"/>
                    <a:pt x="9426" y="14296"/>
                  </a:cubicBezTo>
                  <a:cubicBezTo>
                    <a:pt x="10420" y="14060"/>
                    <a:pt x="11367" y="13681"/>
                    <a:pt x="12361" y="13539"/>
                  </a:cubicBezTo>
                  <a:lnTo>
                    <a:pt x="11083" y="13728"/>
                  </a:lnTo>
                  <a:cubicBezTo>
                    <a:pt x="13213" y="13492"/>
                    <a:pt x="15390" y="13728"/>
                    <a:pt x="17520" y="13728"/>
                  </a:cubicBezTo>
                  <a:cubicBezTo>
                    <a:pt x="19981" y="13728"/>
                    <a:pt x="22348" y="11551"/>
                    <a:pt x="22253" y="8995"/>
                  </a:cubicBezTo>
                  <a:cubicBezTo>
                    <a:pt x="22158" y="6440"/>
                    <a:pt x="20171" y="4262"/>
                    <a:pt x="17520" y="4262"/>
                  </a:cubicBezTo>
                  <a:cubicBezTo>
                    <a:pt x="15532" y="4262"/>
                    <a:pt x="13497" y="4026"/>
                    <a:pt x="11509" y="4262"/>
                  </a:cubicBezTo>
                  <a:cubicBezTo>
                    <a:pt x="10326" y="4357"/>
                    <a:pt x="9142" y="4546"/>
                    <a:pt x="8007" y="4878"/>
                  </a:cubicBezTo>
                  <a:cubicBezTo>
                    <a:pt x="7344" y="5067"/>
                    <a:pt x="6729" y="5256"/>
                    <a:pt x="6066" y="5398"/>
                  </a:cubicBezTo>
                  <a:lnTo>
                    <a:pt x="7344" y="5209"/>
                  </a:lnTo>
                  <a:cubicBezTo>
                    <a:pt x="6965" y="5256"/>
                    <a:pt x="6587" y="5256"/>
                    <a:pt x="6208" y="5209"/>
                  </a:cubicBezTo>
                  <a:lnTo>
                    <a:pt x="7486" y="5398"/>
                  </a:lnTo>
                  <a:cubicBezTo>
                    <a:pt x="7486" y="5398"/>
                    <a:pt x="7155" y="5304"/>
                    <a:pt x="6965" y="5256"/>
                  </a:cubicBezTo>
                  <a:lnTo>
                    <a:pt x="8101" y="5730"/>
                  </a:lnTo>
                  <a:cubicBezTo>
                    <a:pt x="8101" y="5730"/>
                    <a:pt x="7865" y="5635"/>
                    <a:pt x="7770" y="5540"/>
                  </a:cubicBezTo>
                  <a:lnTo>
                    <a:pt x="8716" y="6298"/>
                  </a:lnTo>
                  <a:cubicBezTo>
                    <a:pt x="8716" y="6298"/>
                    <a:pt x="8527" y="6108"/>
                    <a:pt x="8433" y="6014"/>
                  </a:cubicBezTo>
                  <a:lnTo>
                    <a:pt x="9190" y="6960"/>
                  </a:lnTo>
                  <a:cubicBezTo>
                    <a:pt x="9190" y="6960"/>
                    <a:pt x="9048" y="6724"/>
                    <a:pt x="8953" y="6582"/>
                  </a:cubicBezTo>
                  <a:lnTo>
                    <a:pt x="9426" y="7717"/>
                  </a:lnTo>
                  <a:cubicBezTo>
                    <a:pt x="9426" y="7717"/>
                    <a:pt x="9332" y="7386"/>
                    <a:pt x="9284" y="7244"/>
                  </a:cubicBezTo>
                  <a:lnTo>
                    <a:pt x="9474" y="8522"/>
                  </a:lnTo>
                  <a:cubicBezTo>
                    <a:pt x="9474" y="8522"/>
                    <a:pt x="9474" y="8191"/>
                    <a:pt x="9474" y="8049"/>
                  </a:cubicBezTo>
                  <a:lnTo>
                    <a:pt x="9284" y="9327"/>
                  </a:lnTo>
                  <a:cubicBezTo>
                    <a:pt x="9284" y="8995"/>
                    <a:pt x="9426" y="8711"/>
                    <a:pt x="9521" y="8427"/>
                  </a:cubicBezTo>
                  <a:lnTo>
                    <a:pt x="9048" y="9563"/>
                  </a:lnTo>
                  <a:cubicBezTo>
                    <a:pt x="9710" y="8001"/>
                    <a:pt x="10610" y="6487"/>
                    <a:pt x="10420" y="4736"/>
                  </a:cubicBezTo>
                  <a:cubicBezTo>
                    <a:pt x="10278" y="3458"/>
                    <a:pt x="9994" y="2322"/>
                    <a:pt x="9048" y="1375"/>
                  </a:cubicBezTo>
                  <a:cubicBezTo>
                    <a:pt x="8243" y="571"/>
                    <a:pt x="6871" y="-45"/>
                    <a:pt x="5687" y="3"/>
                  </a:cubicBezTo>
                  <a:cubicBezTo>
                    <a:pt x="4504" y="50"/>
                    <a:pt x="3179" y="476"/>
                    <a:pt x="2327" y="1375"/>
                  </a:cubicBezTo>
                  <a:cubicBezTo>
                    <a:pt x="1522" y="2227"/>
                    <a:pt x="812" y="3505"/>
                    <a:pt x="954" y="4736"/>
                  </a:cubicBezTo>
                  <a:lnTo>
                    <a:pt x="954" y="4736"/>
                  </a:lnTo>
                  <a:close/>
                </a:path>
              </a:pathLst>
            </a:custGeom>
            <a:solidFill>
              <a:srgbClr val="231F20"/>
            </a:solidFill>
            <a:ln w="4718" cap="flat">
              <a:noFill/>
              <a:prstDash val="solid"/>
              <a:miter/>
            </a:ln>
          </p:spPr>
          <p:txBody>
            <a:bodyPr rtlCol="0" anchor="ctr"/>
            <a:lstStyle/>
            <a:p>
              <a:endParaRPr lang="en-GB"/>
            </a:p>
          </p:txBody>
        </p:sp>
        <p:sp>
          <p:nvSpPr>
            <p:cNvPr id="1613" name="Freeform: Shape 1612">
              <a:extLst>
                <a:ext uri="{FF2B5EF4-FFF2-40B4-BE49-F238E27FC236}">
                  <a16:creationId xmlns:a16="http://schemas.microsoft.com/office/drawing/2014/main" id="{0129B037-7B9E-25EC-DA53-5A529B2792B6}"/>
                </a:ext>
              </a:extLst>
            </p:cNvPr>
            <p:cNvSpPr/>
            <p:nvPr/>
          </p:nvSpPr>
          <p:spPr>
            <a:xfrm>
              <a:off x="2993408" y="2949785"/>
              <a:ext cx="19967" cy="8710"/>
            </a:xfrm>
            <a:custGeom>
              <a:avLst/>
              <a:gdLst>
                <a:gd name="connsiteX0" fmla="*/ 4736 w 22676"/>
                <a:gd name="connsiteY0" fmla="*/ 9466 h 9892"/>
                <a:gd name="connsiteX1" fmla="*/ 11457 w 22676"/>
                <a:gd name="connsiteY1" fmla="*/ 9466 h 9892"/>
                <a:gd name="connsiteX2" fmla="*/ 17941 w 22676"/>
                <a:gd name="connsiteY2" fmla="*/ 9892 h 9892"/>
                <a:gd name="connsiteX3" fmla="*/ 22674 w 22676"/>
                <a:gd name="connsiteY3" fmla="*/ 5159 h 9892"/>
                <a:gd name="connsiteX4" fmla="*/ 17941 w 22676"/>
                <a:gd name="connsiteY4" fmla="*/ 426 h 9892"/>
                <a:gd name="connsiteX5" fmla="*/ 11457 w 22676"/>
                <a:gd name="connsiteY5" fmla="*/ 0 h 9892"/>
                <a:gd name="connsiteX6" fmla="*/ 4736 w 22676"/>
                <a:gd name="connsiteY6" fmla="*/ 0 h 9892"/>
                <a:gd name="connsiteX7" fmla="*/ 3 w 22676"/>
                <a:gd name="connsiteY7" fmla="*/ 4733 h 9892"/>
                <a:gd name="connsiteX8" fmla="*/ 4736 w 22676"/>
                <a:gd name="connsiteY8" fmla="*/ 9466 h 9892"/>
                <a:gd name="connsiteX9" fmla="*/ 4736 w 22676"/>
                <a:gd name="connsiteY9" fmla="*/ 9466 h 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76" h="9892">
                  <a:moveTo>
                    <a:pt x="4736" y="9466"/>
                  </a:moveTo>
                  <a:cubicBezTo>
                    <a:pt x="6960" y="9466"/>
                    <a:pt x="9232" y="9466"/>
                    <a:pt x="11457" y="9466"/>
                  </a:cubicBezTo>
                  <a:cubicBezTo>
                    <a:pt x="13681" y="9466"/>
                    <a:pt x="15764" y="9892"/>
                    <a:pt x="17941" y="9892"/>
                  </a:cubicBezTo>
                  <a:cubicBezTo>
                    <a:pt x="20402" y="9892"/>
                    <a:pt x="22769" y="7715"/>
                    <a:pt x="22674" y="5159"/>
                  </a:cubicBezTo>
                  <a:cubicBezTo>
                    <a:pt x="22580" y="2603"/>
                    <a:pt x="20592" y="426"/>
                    <a:pt x="17941" y="426"/>
                  </a:cubicBezTo>
                  <a:cubicBezTo>
                    <a:pt x="15764" y="426"/>
                    <a:pt x="13634" y="0"/>
                    <a:pt x="11457" y="0"/>
                  </a:cubicBezTo>
                  <a:cubicBezTo>
                    <a:pt x="9280" y="0"/>
                    <a:pt x="6960" y="0"/>
                    <a:pt x="4736" y="0"/>
                  </a:cubicBezTo>
                  <a:cubicBezTo>
                    <a:pt x="2275" y="0"/>
                    <a:pt x="-92" y="2177"/>
                    <a:pt x="3" y="4733"/>
                  </a:cubicBezTo>
                  <a:cubicBezTo>
                    <a:pt x="97" y="7289"/>
                    <a:pt x="2085" y="9466"/>
                    <a:pt x="4736" y="9466"/>
                  </a:cubicBezTo>
                  <a:lnTo>
                    <a:pt x="4736" y="9466"/>
                  </a:lnTo>
                  <a:close/>
                </a:path>
              </a:pathLst>
            </a:custGeom>
            <a:solidFill>
              <a:srgbClr val="231F20"/>
            </a:solidFill>
            <a:ln w="4718" cap="flat">
              <a:noFill/>
              <a:prstDash val="solid"/>
              <a:miter/>
            </a:ln>
          </p:spPr>
          <p:txBody>
            <a:bodyPr rtlCol="0" anchor="ctr"/>
            <a:lstStyle/>
            <a:p>
              <a:endParaRPr lang="en-GB"/>
            </a:p>
          </p:txBody>
        </p:sp>
        <p:sp>
          <p:nvSpPr>
            <p:cNvPr id="1614" name="Freeform: Shape 1613">
              <a:extLst>
                <a:ext uri="{FF2B5EF4-FFF2-40B4-BE49-F238E27FC236}">
                  <a16:creationId xmlns:a16="http://schemas.microsoft.com/office/drawing/2014/main" id="{4612772D-5BC1-D7B6-1ADE-A9D76EBFA4BB}"/>
                </a:ext>
              </a:extLst>
            </p:cNvPr>
            <p:cNvSpPr/>
            <p:nvPr/>
          </p:nvSpPr>
          <p:spPr>
            <a:xfrm>
              <a:off x="2914557" y="2955159"/>
              <a:ext cx="9127" cy="16466"/>
            </a:xfrm>
            <a:custGeom>
              <a:avLst/>
              <a:gdLst>
                <a:gd name="connsiteX0" fmla="*/ 0 w 10365"/>
                <a:gd name="connsiteY0" fmla="*/ 4783 h 18700"/>
                <a:gd name="connsiteX1" fmla="*/ 805 w 10365"/>
                <a:gd name="connsiteY1" fmla="*/ 11599 h 18700"/>
                <a:gd name="connsiteX2" fmla="*/ 615 w 10365"/>
                <a:gd name="connsiteY2" fmla="*/ 10321 h 18700"/>
                <a:gd name="connsiteX3" fmla="*/ 899 w 10365"/>
                <a:gd name="connsiteY3" fmla="*/ 13965 h 18700"/>
                <a:gd name="connsiteX4" fmla="*/ 2272 w 10365"/>
                <a:gd name="connsiteY4" fmla="*/ 17326 h 18700"/>
                <a:gd name="connsiteX5" fmla="*/ 5632 w 10365"/>
                <a:gd name="connsiteY5" fmla="*/ 18698 h 18700"/>
                <a:gd name="connsiteX6" fmla="*/ 10365 w 10365"/>
                <a:gd name="connsiteY6" fmla="*/ 13965 h 18700"/>
                <a:gd name="connsiteX7" fmla="*/ 9608 w 10365"/>
                <a:gd name="connsiteY7" fmla="*/ 6629 h 18700"/>
                <a:gd name="connsiteX8" fmla="*/ 9797 w 10365"/>
                <a:gd name="connsiteY8" fmla="*/ 7907 h 18700"/>
                <a:gd name="connsiteX9" fmla="*/ 9513 w 10365"/>
                <a:gd name="connsiteY9" fmla="*/ 4736 h 18700"/>
                <a:gd name="connsiteX10" fmla="*/ 8141 w 10365"/>
                <a:gd name="connsiteY10" fmla="*/ 1375 h 18700"/>
                <a:gd name="connsiteX11" fmla="*/ 4780 w 10365"/>
                <a:gd name="connsiteY11" fmla="*/ 3 h 18700"/>
                <a:gd name="connsiteX12" fmla="*/ 1420 w 10365"/>
                <a:gd name="connsiteY12" fmla="*/ 1375 h 18700"/>
                <a:gd name="connsiteX13" fmla="*/ 47 w 10365"/>
                <a:gd name="connsiteY13" fmla="*/ 4736 h 18700"/>
                <a:gd name="connsiteX14" fmla="*/ 47 w 10365"/>
                <a:gd name="connsiteY14" fmla="*/ 4736 h 1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365" h="18700">
                  <a:moveTo>
                    <a:pt x="0" y="4783"/>
                  </a:moveTo>
                  <a:cubicBezTo>
                    <a:pt x="0" y="7055"/>
                    <a:pt x="473" y="9327"/>
                    <a:pt x="805" y="11599"/>
                  </a:cubicBezTo>
                  <a:lnTo>
                    <a:pt x="615" y="10321"/>
                  </a:lnTo>
                  <a:cubicBezTo>
                    <a:pt x="757" y="11551"/>
                    <a:pt x="899" y="12735"/>
                    <a:pt x="899" y="13965"/>
                  </a:cubicBezTo>
                  <a:cubicBezTo>
                    <a:pt x="899" y="15196"/>
                    <a:pt x="1420" y="16474"/>
                    <a:pt x="2272" y="17326"/>
                  </a:cubicBezTo>
                  <a:cubicBezTo>
                    <a:pt x="3124" y="18178"/>
                    <a:pt x="4449" y="18746"/>
                    <a:pt x="5632" y="18698"/>
                  </a:cubicBezTo>
                  <a:cubicBezTo>
                    <a:pt x="8236" y="18604"/>
                    <a:pt x="10318" y="16616"/>
                    <a:pt x="10365" y="13965"/>
                  </a:cubicBezTo>
                  <a:cubicBezTo>
                    <a:pt x="10365" y="11504"/>
                    <a:pt x="9939" y="9043"/>
                    <a:pt x="9608" y="6629"/>
                  </a:cubicBezTo>
                  <a:lnTo>
                    <a:pt x="9797" y="7907"/>
                  </a:lnTo>
                  <a:cubicBezTo>
                    <a:pt x="9655" y="6866"/>
                    <a:pt x="9561" y="5824"/>
                    <a:pt x="9513" y="4736"/>
                  </a:cubicBezTo>
                  <a:cubicBezTo>
                    <a:pt x="9513" y="3505"/>
                    <a:pt x="8993" y="2274"/>
                    <a:pt x="8141" y="1375"/>
                  </a:cubicBezTo>
                  <a:cubicBezTo>
                    <a:pt x="7336" y="571"/>
                    <a:pt x="5964" y="-45"/>
                    <a:pt x="4780" y="3"/>
                  </a:cubicBezTo>
                  <a:cubicBezTo>
                    <a:pt x="3597" y="50"/>
                    <a:pt x="2272" y="476"/>
                    <a:pt x="1420" y="1375"/>
                  </a:cubicBezTo>
                  <a:cubicBezTo>
                    <a:pt x="568" y="2274"/>
                    <a:pt x="0" y="3458"/>
                    <a:pt x="47" y="4736"/>
                  </a:cubicBezTo>
                  <a:lnTo>
                    <a:pt x="47" y="4736"/>
                  </a:lnTo>
                  <a:close/>
                </a:path>
              </a:pathLst>
            </a:custGeom>
            <a:solidFill>
              <a:srgbClr val="231F20"/>
            </a:solidFill>
            <a:ln w="4718" cap="flat">
              <a:noFill/>
              <a:prstDash val="solid"/>
              <a:miter/>
            </a:ln>
          </p:spPr>
          <p:txBody>
            <a:bodyPr rtlCol="0" anchor="ctr"/>
            <a:lstStyle/>
            <a:p>
              <a:endParaRPr lang="en-GB"/>
            </a:p>
          </p:txBody>
        </p:sp>
        <p:sp>
          <p:nvSpPr>
            <p:cNvPr id="1615" name="Freeform: Shape 1614">
              <a:extLst>
                <a:ext uri="{FF2B5EF4-FFF2-40B4-BE49-F238E27FC236}">
                  <a16:creationId xmlns:a16="http://schemas.microsoft.com/office/drawing/2014/main" id="{20E3E368-16DD-9C4D-2646-3198E75F69EC}"/>
                </a:ext>
              </a:extLst>
            </p:cNvPr>
            <p:cNvSpPr/>
            <p:nvPr/>
          </p:nvSpPr>
          <p:spPr>
            <a:xfrm>
              <a:off x="2909886" y="2959830"/>
              <a:ext cx="17592" cy="8713"/>
            </a:xfrm>
            <a:custGeom>
              <a:avLst/>
              <a:gdLst>
                <a:gd name="connsiteX0" fmla="*/ 4736 w 19978"/>
                <a:gd name="connsiteY0" fmla="*/ 9466 h 9895"/>
                <a:gd name="connsiteX1" fmla="*/ 10084 w 19978"/>
                <a:gd name="connsiteY1" fmla="*/ 9466 h 9895"/>
                <a:gd name="connsiteX2" fmla="*/ 15243 w 19978"/>
                <a:gd name="connsiteY2" fmla="*/ 9892 h 9895"/>
                <a:gd name="connsiteX3" fmla="*/ 18604 w 19978"/>
                <a:gd name="connsiteY3" fmla="*/ 8520 h 9895"/>
                <a:gd name="connsiteX4" fmla="*/ 19976 w 19978"/>
                <a:gd name="connsiteY4" fmla="*/ 5159 h 9895"/>
                <a:gd name="connsiteX5" fmla="*/ 18604 w 19978"/>
                <a:gd name="connsiteY5" fmla="*/ 1799 h 9895"/>
                <a:gd name="connsiteX6" fmla="*/ 15243 w 19978"/>
                <a:gd name="connsiteY6" fmla="*/ 426 h 9895"/>
                <a:gd name="connsiteX7" fmla="*/ 10084 w 19978"/>
                <a:gd name="connsiteY7" fmla="*/ 0 h 9895"/>
                <a:gd name="connsiteX8" fmla="*/ 4736 w 19978"/>
                <a:gd name="connsiteY8" fmla="*/ 0 h 9895"/>
                <a:gd name="connsiteX9" fmla="*/ 1375 w 19978"/>
                <a:gd name="connsiteY9" fmla="*/ 1373 h 9895"/>
                <a:gd name="connsiteX10" fmla="*/ 3 w 19978"/>
                <a:gd name="connsiteY10" fmla="*/ 4733 h 9895"/>
                <a:gd name="connsiteX11" fmla="*/ 4736 w 19978"/>
                <a:gd name="connsiteY11" fmla="*/ 9466 h 9895"/>
                <a:gd name="connsiteX12" fmla="*/ 4736 w 19978"/>
                <a:gd name="connsiteY12" fmla="*/ 9466 h 9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978" h="9895">
                  <a:moveTo>
                    <a:pt x="4736" y="9466"/>
                  </a:moveTo>
                  <a:cubicBezTo>
                    <a:pt x="6534" y="9466"/>
                    <a:pt x="8333" y="9466"/>
                    <a:pt x="10084" y="9466"/>
                  </a:cubicBezTo>
                  <a:cubicBezTo>
                    <a:pt x="11835" y="9466"/>
                    <a:pt x="13539" y="9939"/>
                    <a:pt x="15243" y="9892"/>
                  </a:cubicBezTo>
                  <a:cubicBezTo>
                    <a:pt x="16474" y="9892"/>
                    <a:pt x="17704" y="9372"/>
                    <a:pt x="18604" y="8520"/>
                  </a:cubicBezTo>
                  <a:cubicBezTo>
                    <a:pt x="19408" y="7715"/>
                    <a:pt x="20024" y="6342"/>
                    <a:pt x="19976" y="5159"/>
                  </a:cubicBezTo>
                  <a:cubicBezTo>
                    <a:pt x="19929" y="3976"/>
                    <a:pt x="19503" y="2651"/>
                    <a:pt x="18604" y="1799"/>
                  </a:cubicBezTo>
                  <a:cubicBezTo>
                    <a:pt x="17704" y="947"/>
                    <a:pt x="16521" y="379"/>
                    <a:pt x="15243" y="426"/>
                  </a:cubicBezTo>
                  <a:cubicBezTo>
                    <a:pt x="13492" y="426"/>
                    <a:pt x="11788" y="0"/>
                    <a:pt x="10084" y="0"/>
                  </a:cubicBezTo>
                  <a:cubicBezTo>
                    <a:pt x="8380" y="0"/>
                    <a:pt x="6487" y="0"/>
                    <a:pt x="4736" y="0"/>
                  </a:cubicBezTo>
                  <a:cubicBezTo>
                    <a:pt x="3505" y="0"/>
                    <a:pt x="2227" y="521"/>
                    <a:pt x="1375" y="1373"/>
                  </a:cubicBezTo>
                  <a:cubicBezTo>
                    <a:pt x="523" y="2225"/>
                    <a:pt x="-45" y="3550"/>
                    <a:pt x="3" y="4733"/>
                  </a:cubicBezTo>
                  <a:cubicBezTo>
                    <a:pt x="97" y="7289"/>
                    <a:pt x="2085" y="9466"/>
                    <a:pt x="4736" y="9466"/>
                  </a:cubicBezTo>
                  <a:lnTo>
                    <a:pt x="4736" y="9466"/>
                  </a:lnTo>
                  <a:close/>
                </a:path>
              </a:pathLst>
            </a:custGeom>
            <a:solidFill>
              <a:srgbClr val="231F20"/>
            </a:solidFill>
            <a:ln w="4718" cap="flat">
              <a:noFill/>
              <a:prstDash val="solid"/>
              <a:miter/>
            </a:ln>
          </p:spPr>
          <p:txBody>
            <a:bodyPr rtlCol="0" anchor="ctr"/>
            <a:lstStyle/>
            <a:p>
              <a:endParaRPr lang="en-GB"/>
            </a:p>
          </p:txBody>
        </p:sp>
        <p:sp>
          <p:nvSpPr>
            <p:cNvPr id="1616" name="Freeform: Shape 1615">
              <a:extLst>
                <a:ext uri="{FF2B5EF4-FFF2-40B4-BE49-F238E27FC236}">
                  <a16:creationId xmlns:a16="http://schemas.microsoft.com/office/drawing/2014/main" id="{0D827707-E13E-FF33-B32A-EF32F821DC5D}"/>
                </a:ext>
              </a:extLst>
            </p:cNvPr>
            <p:cNvSpPr/>
            <p:nvPr/>
          </p:nvSpPr>
          <p:spPr>
            <a:xfrm>
              <a:off x="2986073" y="3000464"/>
              <a:ext cx="17217" cy="8710"/>
            </a:xfrm>
            <a:custGeom>
              <a:avLst/>
              <a:gdLst>
                <a:gd name="connsiteX0" fmla="*/ 4736 w 19553"/>
                <a:gd name="connsiteY0" fmla="*/ 9892 h 9892"/>
                <a:gd name="connsiteX1" fmla="*/ 14817 w 19553"/>
                <a:gd name="connsiteY1" fmla="*/ 9466 h 9892"/>
                <a:gd name="connsiteX2" fmla="*/ 18178 w 19553"/>
                <a:gd name="connsiteY2" fmla="*/ 8094 h 9892"/>
                <a:gd name="connsiteX3" fmla="*/ 19550 w 19553"/>
                <a:gd name="connsiteY3" fmla="*/ 4733 h 9892"/>
                <a:gd name="connsiteX4" fmla="*/ 14817 w 19553"/>
                <a:gd name="connsiteY4" fmla="*/ 0 h 9892"/>
                <a:gd name="connsiteX5" fmla="*/ 4736 w 19553"/>
                <a:gd name="connsiteY5" fmla="*/ 426 h 9892"/>
                <a:gd name="connsiteX6" fmla="*/ 1375 w 19553"/>
                <a:gd name="connsiteY6" fmla="*/ 1799 h 9892"/>
                <a:gd name="connsiteX7" fmla="*/ 3 w 19553"/>
                <a:gd name="connsiteY7" fmla="*/ 5159 h 9892"/>
                <a:gd name="connsiteX8" fmla="*/ 4736 w 19553"/>
                <a:gd name="connsiteY8" fmla="*/ 9892 h 9892"/>
                <a:gd name="connsiteX9" fmla="*/ 4736 w 19553"/>
                <a:gd name="connsiteY9" fmla="*/ 9892 h 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53" h="9892">
                  <a:moveTo>
                    <a:pt x="4736" y="9892"/>
                  </a:moveTo>
                  <a:cubicBezTo>
                    <a:pt x="8096" y="9892"/>
                    <a:pt x="11457" y="9466"/>
                    <a:pt x="14817" y="9466"/>
                  </a:cubicBezTo>
                  <a:cubicBezTo>
                    <a:pt x="16048" y="9466"/>
                    <a:pt x="17326" y="8946"/>
                    <a:pt x="18178" y="8094"/>
                  </a:cubicBezTo>
                  <a:cubicBezTo>
                    <a:pt x="19030" y="7242"/>
                    <a:pt x="19598" y="5916"/>
                    <a:pt x="19550" y="4733"/>
                  </a:cubicBezTo>
                  <a:cubicBezTo>
                    <a:pt x="19456" y="2177"/>
                    <a:pt x="17468" y="0"/>
                    <a:pt x="14817" y="0"/>
                  </a:cubicBezTo>
                  <a:cubicBezTo>
                    <a:pt x="11457" y="0"/>
                    <a:pt x="8096" y="426"/>
                    <a:pt x="4736" y="426"/>
                  </a:cubicBezTo>
                  <a:cubicBezTo>
                    <a:pt x="3505" y="426"/>
                    <a:pt x="2227" y="947"/>
                    <a:pt x="1375" y="1799"/>
                  </a:cubicBezTo>
                  <a:cubicBezTo>
                    <a:pt x="523" y="2651"/>
                    <a:pt x="-45" y="3976"/>
                    <a:pt x="3" y="5159"/>
                  </a:cubicBezTo>
                  <a:cubicBezTo>
                    <a:pt x="97" y="7715"/>
                    <a:pt x="2085" y="9892"/>
                    <a:pt x="4736" y="9892"/>
                  </a:cubicBezTo>
                  <a:lnTo>
                    <a:pt x="4736" y="9892"/>
                  </a:lnTo>
                  <a:close/>
                </a:path>
              </a:pathLst>
            </a:custGeom>
            <a:solidFill>
              <a:srgbClr val="231F20"/>
            </a:solidFill>
            <a:ln w="4718" cap="flat">
              <a:noFill/>
              <a:prstDash val="solid"/>
              <a:miter/>
            </a:ln>
          </p:spPr>
          <p:txBody>
            <a:bodyPr rtlCol="0" anchor="ctr"/>
            <a:lstStyle/>
            <a:p>
              <a:endParaRPr lang="en-GB"/>
            </a:p>
          </p:txBody>
        </p:sp>
        <p:sp>
          <p:nvSpPr>
            <p:cNvPr id="1617" name="Freeform: Shape 1616">
              <a:extLst>
                <a:ext uri="{FF2B5EF4-FFF2-40B4-BE49-F238E27FC236}">
                  <a16:creationId xmlns:a16="http://schemas.microsoft.com/office/drawing/2014/main" id="{CDF3C01B-B01E-2915-9A15-4DD310118ACB}"/>
                </a:ext>
              </a:extLst>
            </p:cNvPr>
            <p:cNvSpPr/>
            <p:nvPr/>
          </p:nvSpPr>
          <p:spPr>
            <a:xfrm>
              <a:off x="2905012" y="3047018"/>
              <a:ext cx="17298" cy="4168"/>
            </a:xfrm>
            <a:custGeom>
              <a:avLst/>
              <a:gdLst>
                <a:gd name="connsiteX0" fmla="*/ 2368 w 19645"/>
                <a:gd name="connsiteY0" fmla="*/ 4733 h 4733"/>
                <a:gd name="connsiteX1" fmla="*/ 17277 w 19645"/>
                <a:gd name="connsiteY1" fmla="*/ 4733 h 4733"/>
                <a:gd name="connsiteX2" fmla="*/ 19644 w 19645"/>
                <a:gd name="connsiteY2" fmla="*/ 2367 h 4733"/>
                <a:gd name="connsiteX3" fmla="*/ 17277 w 19645"/>
                <a:gd name="connsiteY3" fmla="*/ 0 h 4733"/>
                <a:gd name="connsiteX4" fmla="*/ 2368 w 19645"/>
                <a:gd name="connsiteY4" fmla="*/ 0 h 4733"/>
                <a:gd name="connsiteX5" fmla="*/ 1 w 19645"/>
                <a:gd name="connsiteY5" fmla="*/ 2367 h 4733"/>
                <a:gd name="connsiteX6" fmla="*/ 2368 w 19645"/>
                <a:gd name="connsiteY6" fmla="*/ 4733 h 4733"/>
                <a:gd name="connsiteX7" fmla="*/ 2368 w 19645"/>
                <a:gd name="connsiteY7" fmla="*/ 4733 h 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45" h="4733">
                  <a:moveTo>
                    <a:pt x="2368" y="4733"/>
                  </a:moveTo>
                  <a:lnTo>
                    <a:pt x="17277" y="4733"/>
                  </a:lnTo>
                  <a:cubicBezTo>
                    <a:pt x="18508" y="4733"/>
                    <a:pt x="19691" y="3644"/>
                    <a:pt x="19644" y="2367"/>
                  </a:cubicBezTo>
                  <a:cubicBezTo>
                    <a:pt x="19596" y="1089"/>
                    <a:pt x="18602" y="0"/>
                    <a:pt x="17277" y="0"/>
                  </a:cubicBezTo>
                  <a:lnTo>
                    <a:pt x="2368" y="0"/>
                  </a:lnTo>
                  <a:cubicBezTo>
                    <a:pt x="1137" y="0"/>
                    <a:pt x="-46" y="1089"/>
                    <a:pt x="1" y="2367"/>
                  </a:cubicBezTo>
                  <a:cubicBezTo>
                    <a:pt x="49" y="3644"/>
                    <a:pt x="1043" y="4733"/>
                    <a:pt x="2368" y="4733"/>
                  </a:cubicBezTo>
                  <a:lnTo>
                    <a:pt x="2368" y="4733"/>
                  </a:lnTo>
                  <a:close/>
                </a:path>
              </a:pathLst>
            </a:custGeom>
            <a:solidFill>
              <a:srgbClr val="231F20"/>
            </a:solidFill>
            <a:ln w="4718" cap="flat">
              <a:noFill/>
              <a:prstDash val="solid"/>
              <a:miter/>
            </a:ln>
          </p:spPr>
          <p:txBody>
            <a:bodyPr rtlCol="0" anchor="ctr"/>
            <a:lstStyle/>
            <a:p>
              <a:endParaRPr lang="en-GB"/>
            </a:p>
          </p:txBody>
        </p:sp>
        <p:sp>
          <p:nvSpPr>
            <p:cNvPr id="1618" name="Freeform: Shape 1617">
              <a:extLst>
                <a:ext uri="{FF2B5EF4-FFF2-40B4-BE49-F238E27FC236}">
                  <a16:creationId xmlns:a16="http://schemas.microsoft.com/office/drawing/2014/main" id="{382DCE3F-4713-927B-A2D8-1F125407DEA1}"/>
                </a:ext>
              </a:extLst>
            </p:cNvPr>
            <p:cNvSpPr/>
            <p:nvPr/>
          </p:nvSpPr>
          <p:spPr>
            <a:xfrm>
              <a:off x="2958383" y="3036599"/>
              <a:ext cx="15773" cy="5362"/>
            </a:xfrm>
            <a:custGeom>
              <a:avLst/>
              <a:gdLst>
                <a:gd name="connsiteX0" fmla="*/ 1725 w 17913"/>
                <a:gd name="connsiteY0" fmla="*/ 5490 h 6089"/>
                <a:gd name="connsiteX1" fmla="*/ 9250 w 17913"/>
                <a:gd name="connsiteY1" fmla="*/ 6011 h 6089"/>
                <a:gd name="connsiteX2" fmla="*/ 12753 w 17913"/>
                <a:gd name="connsiteY2" fmla="*/ 5254 h 6089"/>
                <a:gd name="connsiteX3" fmla="*/ 14220 w 17913"/>
                <a:gd name="connsiteY3" fmla="*/ 4828 h 6089"/>
                <a:gd name="connsiteX4" fmla="*/ 14646 w 17913"/>
                <a:gd name="connsiteY4" fmla="*/ 4733 h 6089"/>
                <a:gd name="connsiteX5" fmla="*/ 15545 w 17913"/>
                <a:gd name="connsiteY5" fmla="*/ 4733 h 6089"/>
                <a:gd name="connsiteX6" fmla="*/ 17912 w 17913"/>
                <a:gd name="connsiteY6" fmla="*/ 2367 h 6089"/>
                <a:gd name="connsiteX7" fmla="*/ 15545 w 17913"/>
                <a:gd name="connsiteY7" fmla="*/ 0 h 6089"/>
                <a:gd name="connsiteX8" fmla="*/ 12137 w 17913"/>
                <a:gd name="connsiteY8" fmla="*/ 521 h 6089"/>
                <a:gd name="connsiteX9" fmla="*/ 10670 w 17913"/>
                <a:gd name="connsiteY9" fmla="*/ 947 h 6089"/>
                <a:gd name="connsiteX10" fmla="*/ 9818 w 17913"/>
                <a:gd name="connsiteY10" fmla="*/ 1183 h 6089"/>
                <a:gd name="connsiteX11" fmla="*/ 9298 w 17913"/>
                <a:gd name="connsiteY11" fmla="*/ 1325 h 6089"/>
                <a:gd name="connsiteX12" fmla="*/ 8682 w 17913"/>
                <a:gd name="connsiteY12" fmla="*/ 1325 h 6089"/>
                <a:gd name="connsiteX13" fmla="*/ 7830 w 17913"/>
                <a:gd name="connsiteY13" fmla="*/ 1325 h 6089"/>
                <a:gd name="connsiteX14" fmla="*/ 6126 w 17913"/>
                <a:gd name="connsiteY14" fmla="*/ 1325 h 6089"/>
                <a:gd name="connsiteX15" fmla="*/ 3003 w 17913"/>
                <a:gd name="connsiteY15" fmla="*/ 947 h 6089"/>
                <a:gd name="connsiteX16" fmla="*/ 68 w 17913"/>
                <a:gd name="connsiteY16" fmla="*/ 2603 h 6089"/>
                <a:gd name="connsiteX17" fmla="*/ 1725 w 17913"/>
                <a:gd name="connsiteY17" fmla="*/ 5538 h 6089"/>
                <a:gd name="connsiteX18" fmla="*/ 1725 w 17913"/>
                <a:gd name="connsiteY18" fmla="*/ 5538 h 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913" h="6089">
                  <a:moveTo>
                    <a:pt x="1725" y="5490"/>
                  </a:moveTo>
                  <a:cubicBezTo>
                    <a:pt x="4186" y="5916"/>
                    <a:pt x="6789" y="6248"/>
                    <a:pt x="9250" y="6011"/>
                  </a:cubicBezTo>
                  <a:cubicBezTo>
                    <a:pt x="10433" y="5869"/>
                    <a:pt x="11569" y="5585"/>
                    <a:pt x="12753" y="5254"/>
                  </a:cubicBezTo>
                  <a:cubicBezTo>
                    <a:pt x="13226" y="5112"/>
                    <a:pt x="13699" y="4970"/>
                    <a:pt x="14220" y="4828"/>
                  </a:cubicBezTo>
                  <a:cubicBezTo>
                    <a:pt x="14315" y="4828"/>
                    <a:pt x="15214" y="4686"/>
                    <a:pt x="14646" y="4733"/>
                  </a:cubicBezTo>
                  <a:cubicBezTo>
                    <a:pt x="14930" y="4733"/>
                    <a:pt x="15214" y="4733"/>
                    <a:pt x="15545" y="4733"/>
                  </a:cubicBezTo>
                  <a:cubicBezTo>
                    <a:pt x="16776" y="4733"/>
                    <a:pt x="17959" y="3644"/>
                    <a:pt x="17912" y="2367"/>
                  </a:cubicBezTo>
                  <a:cubicBezTo>
                    <a:pt x="17864" y="1089"/>
                    <a:pt x="16870" y="0"/>
                    <a:pt x="15545" y="0"/>
                  </a:cubicBezTo>
                  <a:cubicBezTo>
                    <a:pt x="14409" y="0"/>
                    <a:pt x="13226" y="189"/>
                    <a:pt x="12137" y="521"/>
                  </a:cubicBezTo>
                  <a:cubicBezTo>
                    <a:pt x="11664" y="663"/>
                    <a:pt x="11191" y="805"/>
                    <a:pt x="10670" y="947"/>
                  </a:cubicBezTo>
                  <a:cubicBezTo>
                    <a:pt x="10386" y="1041"/>
                    <a:pt x="10102" y="1089"/>
                    <a:pt x="9818" y="1183"/>
                  </a:cubicBezTo>
                  <a:cubicBezTo>
                    <a:pt x="9723" y="1183"/>
                    <a:pt x="9014" y="1325"/>
                    <a:pt x="9298" y="1325"/>
                  </a:cubicBezTo>
                  <a:cubicBezTo>
                    <a:pt x="9582" y="1325"/>
                    <a:pt x="8777" y="1325"/>
                    <a:pt x="8682" y="1325"/>
                  </a:cubicBezTo>
                  <a:cubicBezTo>
                    <a:pt x="8398" y="1325"/>
                    <a:pt x="8114" y="1325"/>
                    <a:pt x="7830" y="1325"/>
                  </a:cubicBezTo>
                  <a:cubicBezTo>
                    <a:pt x="7262" y="1325"/>
                    <a:pt x="6694" y="1325"/>
                    <a:pt x="6126" y="1325"/>
                  </a:cubicBezTo>
                  <a:cubicBezTo>
                    <a:pt x="4754" y="1231"/>
                    <a:pt x="4138" y="1136"/>
                    <a:pt x="3003" y="947"/>
                  </a:cubicBezTo>
                  <a:cubicBezTo>
                    <a:pt x="1772" y="757"/>
                    <a:pt x="399" y="1278"/>
                    <a:pt x="68" y="2603"/>
                  </a:cubicBezTo>
                  <a:cubicBezTo>
                    <a:pt x="-216" y="3739"/>
                    <a:pt x="399" y="5301"/>
                    <a:pt x="1725" y="5538"/>
                  </a:cubicBezTo>
                  <a:lnTo>
                    <a:pt x="1725" y="5538"/>
                  </a:lnTo>
                  <a:close/>
                </a:path>
              </a:pathLst>
            </a:custGeom>
            <a:solidFill>
              <a:srgbClr val="231F20"/>
            </a:solidFill>
            <a:ln w="4718" cap="flat">
              <a:noFill/>
              <a:prstDash val="solid"/>
              <a:miter/>
            </a:ln>
          </p:spPr>
          <p:txBody>
            <a:bodyPr rtlCol="0" anchor="ctr"/>
            <a:lstStyle/>
            <a:p>
              <a:endParaRPr lang="en-GB"/>
            </a:p>
          </p:txBody>
        </p:sp>
        <p:sp>
          <p:nvSpPr>
            <p:cNvPr id="1619" name="Freeform: Shape 1618">
              <a:extLst>
                <a:ext uri="{FF2B5EF4-FFF2-40B4-BE49-F238E27FC236}">
                  <a16:creationId xmlns:a16="http://schemas.microsoft.com/office/drawing/2014/main" id="{3491D773-8D0D-F7D2-EE87-221AF11DE1FC}"/>
                </a:ext>
              </a:extLst>
            </p:cNvPr>
            <p:cNvSpPr/>
            <p:nvPr/>
          </p:nvSpPr>
          <p:spPr>
            <a:xfrm>
              <a:off x="3023372" y="3040815"/>
              <a:ext cx="18059" cy="6227"/>
            </a:xfrm>
            <a:custGeom>
              <a:avLst/>
              <a:gdLst>
                <a:gd name="connsiteX0" fmla="*/ 1709 w 20509"/>
                <a:gd name="connsiteY0" fmla="*/ 4631 h 7072"/>
                <a:gd name="connsiteX1" fmla="*/ 6253 w 20509"/>
                <a:gd name="connsiteY1" fmla="*/ 5862 h 7072"/>
                <a:gd name="connsiteX2" fmla="*/ 10986 w 20509"/>
                <a:gd name="connsiteY2" fmla="*/ 6808 h 7072"/>
                <a:gd name="connsiteX3" fmla="*/ 19363 w 20509"/>
                <a:gd name="connsiteY3" fmla="*/ 6146 h 7072"/>
                <a:gd name="connsiteX4" fmla="*/ 20215 w 20509"/>
                <a:gd name="connsiteY4" fmla="*/ 2927 h 7072"/>
                <a:gd name="connsiteX5" fmla="*/ 16997 w 20509"/>
                <a:gd name="connsiteY5" fmla="*/ 2075 h 7072"/>
                <a:gd name="connsiteX6" fmla="*/ 16665 w 20509"/>
                <a:gd name="connsiteY6" fmla="*/ 2122 h 7072"/>
                <a:gd name="connsiteX7" fmla="*/ 15813 w 20509"/>
                <a:gd name="connsiteY7" fmla="*/ 2264 h 7072"/>
                <a:gd name="connsiteX8" fmla="*/ 15293 w 20509"/>
                <a:gd name="connsiteY8" fmla="*/ 2264 h 7072"/>
                <a:gd name="connsiteX9" fmla="*/ 14583 w 20509"/>
                <a:gd name="connsiteY9" fmla="*/ 2264 h 7072"/>
                <a:gd name="connsiteX10" fmla="*/ 12737 w 20509"/>
                <a:gd name="connsiteY10" fmla="*/ 2264 h 7072"/>
                <a:gd name="connsiteX11" fmla="*/ 12358 w 20509"/>
                <a:gd name="connsiteY11" fmla="*/ 2264 h 7072"/>
                <a:gd name="connsiteX12" fmla="*/ 11554 w 20509"/>
                <a:gd name="connsiteY12" fmla="*/ 2122 h 7072"/>
                <a:gd name="connsiteX13" fmla="*/ 7247 w 20509"/>
                <a:gd name="connsiteY13" fmla="*/ 1223 h 7072"/>
                <a:gd name="connsiteX14" fmla="*/ 2987 w 20509"/>
                <a:gd name="connsiteY14" fmla="*/ 40 h 7072"/>
                <a:gd name="connsiteX15" fmla="*/ 52 w 20509"/>
                <a:gd name="connsiteY15" fmla="*/ 1697 h 7072"/>
                <a:gd name="connsiteX16" fmla="*/ 1709 w 20509"/>
                <a:gd name="connsiteY16" fmla="*/ 4631 h 7072"/>
                <a:gd name="connsiteX17" fmla="*/ 1709 w 20509"/>
                <a:gd name="connsiteY17" fmla="*/ 4631 h 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509" h="7072">
                  <a:moveTo>
                    <a:pt x="1709" y="4631"/>
                  </a:moveTo>
                  <a:cubicBezTo>
                    <a:pt x="3271" y="4868"/>
                    <a:pt x="4738" y="5530"/>
                    <a:pt x="6253" y="5862"/>
                  </a:cubicBezTo>
                  <a:cubicBezTo>
                    <a:pt x="7767" y="6193"/>
                    <a:pt x="9424" y="6572"/>
                    <a:pt x="10986" y="6808"/>
                  </a:cubicBezTo>
                  <a:cubicBezTo>
                    <a:pt x="13778" y="7234"/>
                    <a:pt x="16713" y="7234"/>
                    <a:pt x="19363" y="6146"/>
                  </a:cubicBezTo>
                  <a:cubicBezTo>
                    <a:pt x="20547" y="5625"/>
                    <a:pt x="20783" y="3921"/>
                    <a:pt x="20215" y="2927"/>
                  </a:cubicBezTo>
                  <a:cubicBezTo>
                    <a:pt x="19505" y="1697"/>
                    <a:pt x="18180" y="1555"/>
                    <a:pt x="16997" y="2075"/>
                  </a:cubicBezTo>
                  <a:cubicBezTo>
                    <a:pt x="17565" y="1838"/>
                    <a:pt x="16807" y="2075"/>
                    <a:pt x="16665" y="2122"/>
                  </a:cubicBezTo>
                  <a:cubicBezTo>
                    <a:pt x="16381" y="2170"/>
                    <a:pt x="16097" y="2264"/>
                    <a:pt x="15813" y="2264"/>
                  </a:cubicBezTo>
                  <a:cubicBezTo>
                    <a:pt x="16334" y="2170"/>
                    <a:pt x="15388" y="2264"/>
                    <a:pt x="15293" y="2264"/>
                  </a:cubicBezTo>
                  <a:cubicBezTo>
                    <a:pt x="15056" y="2264"/>
                    <a:pt x="14820" y="2264"/>
                    <a:pt x="14583" y="2264"/>
                  </a:cubicBezTo>
                  <a:cubicBezTo>
                    <a:pt x="13968" y="2264"/>
                    <a:pt x="13352" y="2264"/>
                    <a:pt x="12737" y="2264"/>
                  </a:cubicBezTo>
                  <a:cubicBezTo>
                    <a:pt x="12642" y="2264"/>
                    <a:pt x="11743" y="2122"/>
                    <a:pt x="12358" y="2264"/>
                  </a:cubicBezTo>
                  <a:cubicBezTo>
                    <a:pt x="12074" y="2264"/>
                    <a:pt x="11838" y="2170"/>
                    <a:pt x="11554" y="2122"/>
                  </a:cubicBezTo>
                  <a:cubicBezTo>
                    <a:pt x="10086" y="1838"/>
                    <a:pt x="8667" y="1555"/>
                    <a:pt x="7247" y="1223"/>
                  </a:cubicBezTo>
                  <a:cubicBezTo>
                    <a:pt x="5827" y="892"/>
                    <a:pt x="4454" y="277"/>
                    <a:pt x="2987" y="40"/>
                  </a:cubicBezTo>
                  <a:cubicBezTo>
                    <a:pt x="1756" y="-149"/>
                    <a:pt x="384" y="324"/>
                    <a:pt x="52" y="1697"/>
                  </a:cubicBezTo>
                  <a:cubicBezTo>
                    <a:pt x="-184" y="2832"/>
                    <a:pt x="384" y="4442"/>
                    <a:pt x="1709" y="4631"/>
                  </a:cubicBezTo>
                  <a:lnTo>
                    <a:pt x="1709" y="4631"/>
                  </a:lnTo>
                  <a:close/>
                </a:path>
              </a:pathLst>
            </a:custGeom>
            <a:solidFill>
              <a:srgbClr val="231F20"/>
            </a:solidFill>
            <a:ln w="4718" cap="flat">
              <a:noFill/>
              <a:prstDash val="solid"/>
              <a:miter/>
            </a:ln>
          </p:spPr>
          <p:txBody>
            <a:bodyPr rtlCol="0" anchor="ctr"/>
            <a:lstStyle/>
            <a:p>
              <a:endParaRPr lang="en-GB"/>
            </a:p>
          </p:txBody>
        </p:sp>
      </p:grpSp>
      <p:sp>
        <p:nvSpPr>
          <p:cNvPr id="38" name="TextBox 37">
            <a:extLst>
              <a:ext uri="{FF2B5EF4-FFF2-40B4-BE49-F238E27FC236}">
                <a16:creationId xmlns:a16="http://schemas.microsoft.com/office/drawing/2014/main" id="{7C39F0BE-639A-53BC-AF2A-67AFD0893754}"/>
              </a:ext>
            </a:extLst>
          </p:cNvPr>
          <p:cNvSpPr txBox="1"/>
          <p:nvPr/>
        </p:nvSpPr>
        <p:spPr>
          <a:xfrm>
            <a:off x="2633158" y="3342212"/>
            <a:ext cx="630044" cy="146258"/>
          </a:xfrm>
          <a:prstGeom prst="rect">
            <a:avLst/>
          </a:prstGeom>
          <a:noFill/>
        </p:spPr>
        <p:txBody>
          <a:bodyPr vert="horz" wrap="none" lIns="18288" tIns="18288" rIns="18288" bIns="18288" rtlCol="0" anchor="t">
            <a:spAutoFit/>
          </a:bodyPr>
          <a:lstStyle/>
          <a:p>
            <a:pPr algn="ctr">
              <a:lnSpc>
                <a:spcPct val="110000"/>
              </a:lnSpc>
            </a:pPr>
            <a:r>
              <a:rPr lang="en-GB" sz="700" b="1">
                <a:solidFill>
                  <a:schemeClr val="accent1"/>
                </a:solidFill>
              </a:rPr>
              <a:t>Blast Furnace</a:t>
            </a:r>
          </a:p>
        </p:txBody>
      </p:sp>
      <p:sp>
        <p:nvSpPr>
          <p:cNvPr id="1042" name="Rectangle 1041">
            <a:extLst>
              <a:ext uri="{FF2B5EF4-FFF2-40B4-BE49-F238E27FC236}">
                <a16:creationId xmlns:a16="http://schemas.microsoft.com/office/drawing/2014/main" id="{42B6A8BF-8BE6-6AF1-44F3-8B9DB820C403}"/>
              </a:ext>
            </a:extLst>
          </p:cNvPr>
          <p:cNvSpPr/>
          <p:nvPr/>
        </p:nvSpPr>
        <p:spPr>
          <a:xfrm>
            <a:off x="3648140" y="1440335"/>
            <a:ext cx="1097280" cy="2468880"/>
          </a:xfrm>
          <a:prstGeom prst="rect">
            <a:avLst/>
          </a:prstGeom>
          <a:solidFill>
            <a:srgbClr val="EDF8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a:solidFill>
                <a:schemeClr val="tx2"/>
              </a:solidFill>
            </a:endParaRPr>
          </a:p>
        </p:txBody>
      </p:sp>
      <p:sp>
        <p:nvSpPr>
          <p:cNvPr id="8" name="ObjectTitle">
            <a:extLst>
              <a:ext uri="{FF2B5EF4-FFF2-40B4-BE49-F238E27FC236}">
                <a16:creationId xmlns:a16="http://schemas.microsoft.com/office/drawing/2014/main" id="{4F693E9C-EBE6-AAD2-C5F6-BBFADE0E592A}"/>
              </a:ext>
            </a:extLst>
          </p:cNvPr>
          <p:cNvSpPr/>
          <p:nvPr>
            <p:custDataLst>
              <p:tags r:id="rId6"/>
            </p:custDataLst>
          </p:nvPr>
        </p:nvSpPr>
        <p:spPr>
          <a:xfrm>
            <a:off x="3648941" y="1218060"/>
            <a:ext cx="1095678" cy="246888"/>
          </a:xfrm>
          <a:prstGeom prst="rect">
            <a:avLst/>
          </a:prstGeom>
          <a:solidFill>
            <a:schemeClr val="bg1"/>
          </a:solidFill>
          <a:ln w="9525" cap="flat" cmpd="sng" algn="ctr">
            <a:noFill/>
            <a:prstDash val="solid"/>
          </a:ln>
          <a:effectLst>
            <a:outerShdw dist="12700" dir="5400000" algn="t"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45720" bIns="27432" numCol="1" spcCol="0" rtlCol="0" fromWordArt="0" anchor="ctr" anchorCtr="0" forceAA="0" compatLnSpc="0">
            <a:prstTxWarp prst="textNoShape">
              <a:avLst/>
            </a:prstTxWarp>
            <a:noAutofit/>
          </a:bodyPr>
          <a:lstStyle/>
          <a:p>
            <a:pPr algn="ctr"/>
            <a:r>
              <a:rPr lang="en-GB" sz="1200" b="1">
                <a:solidFill>
                  <a:schemeClr val="accent1"/>
                </a:solidFill>
                <a:latin typeface="Arial" panose="020B0604020202020204" pitchFamily="34" charset="0"/>
              </a:rPr>
              <a:t>Steelmaking</a:t>
            </a:r>
          </a:p>
        </p:txBody>
      </p:sp>
      <p:sp>
        <p:nvSpPr>
          <p:cNvPr id="13" name="Rounded Rectangle 4">
            <a:extLst>
              <a:ext uri="{FF2B5EF4-FFF2-40B4-BE49-F238E27FC236}">
                <a16:creationId xmlns:a16="http://schemas.microsoft.com/office/drawing/2014/main" id="{2AD3DDB7-1158-5C5E-99C8-E6AE2B15C246}"/>
              </a:ext>
            </a:extLst>
          </p:cNvPr>
          <p:cNvSpPr/>
          <p:nvPr>
            <p:custDataLst>
              <p:tags r:id="rId7"/>
            </p:custDataLst>
          </p:nvPr>
        </p:nvSpPr>
        <p:spPr>
          <a:xfrm>
            <a:off x="3647339" y="3373882"/>
            <a:ext cx="1097280" cy="523908"/>
          </a:xfrm>
          <a:prstGeom prst="roundRect">
            <a:avLst>
              <a:gd name="adj" fmla="val 0"/>
            </a:avLst>
          </a:prstGeom>
          <a:noFill/>
          <a:ln w="9525">
            <a:noFill/>
          </a:ln>
          <a:effectLst>
            <a:outerShdw blurRad="127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t" anchorCtr="0" forceAA="0" compatLnSpc="0">
            <a:prstTxWarp prst="textNoShape">
              <a:avLst/>
            </a:prstTxWarp>
            <a:spAutoFit/>
          </a:bodyPr>
          <a:lstStyle/>
          <a:p>
            <a:pPr marL="0" lvl="1" algn="ctr">
              <a:lnSpc>
                <a:spcPct val="110000"/>
              </a:lnSpc>
              <a:spcBef>
                <a:spcPts val="600"/>
              </a:spcBef>
              <a:spcAft>
                <a:spcPct val="0"/>
              </a:spcAft>
              <a:buClr>
                <a:schemeClr val="accent1">
                  <a:lumMod val="100000"/>
                </a:schemeClr>
              </a:buClr>
              <a:buSzPct val="92000"/>
            </a:pPr>
            <a:r>
              <a:rPr lang="en-GB" sz="800" b="1">
                <a:solidFill>
                  <a:schemeClr val="tx1"/>
                </a:solidFill>
                <a:latin typeface="Arial" panose="020B0604020202020204" pitchFamily="34" charset="0"/>
              </a:rPr>
              <a:t>Conversion of scrap steel, iron and alloys into round billets</a:t>
            </a:r>
          </a:p>
        </p:txBody>
      </p:sp>
      <p:grpSp>
        <p:nvGrpSpPr>
          <p:cNvPr id="1026" name="Graphic 47">
            <a:extLst>
              <a:ext uri="{FF2B5EF4-FFF2-40B4-BE49-F238E27FC236}">
                <a16:creationId xmlns:a16="http://schemas.microsoft.com/office/drawing/2014/main" id="{98C78217-D1D8-5877-C131-1A74F3323554}"/>
              </a:ext>
            </a:extLst>
          </p:cNvPr>
          <p:cNvGrpSpPr/>
          <p:nvPr/>
        </p:nvGrpSpPr>
        <p:grpSpPr>
          <a:xfrm>
            <a:off x="3889707" y="2083524"/>
            <a:ext cx="614146" cy="684676"/>
            <a:chOff x="948695" y="-155771"/>
            <a:chExt cx="614146" cy="684676"/>
          </a:xfrm>
        </p:grpSpPr>
        <p:sp>
          <p:nvSpPr>
            <p:cNvPr id="1031" name="Freeform: Shape 1030">
              <a:extLst>
                <a:ext uri="{FF2B5EF4-FFF2-40B4-BE49-F238E27FC236}">
                  <a16:creationId xmlns:a16="http://schemas.microsoft.com/office/drawing/2014/main" id="{42971994-D6A5-D52F-7BEF-D42888922BDB}"/>
                </a:ext>
              </a:extLst>
            </p:cNvPr>
            <p:cNvSpPr/>
            <p:nvPr/>
          </p:nvSpPr>
          <p:spPr>
            <a:xfrm>
              <a:off x="951434" y="-32703"/>
              <a:ext cx="605194" cy="146064"/>
            </a:xfrm>
            <a:custGeom>
              <a:avLst/>
              <a:gdLst>
                <a:gd name="connsiteX0" fmla="*/ 605195 w 605194"/>
                <a:gd name="connsiteY0" fmla="*/ 73032 h 146064"/>
                <a:gd name="connsiteX1" fmla="*/ 302597 w 605194"/>
                <a:gd name="connsiteY1" fmla="*/ 146065 h 146064"/>
                <a:gd name="connsiteX2" fmla="*/ 0 w 605194"/>
                <a:gd name="connsiteY2" fmla="*/ 73032 h 146064"/>
                <a:gd name="connsiteX3" fmla="*/ 302597 w 605194"/>
                <a:gd name="connsiteY3" fmla="*/ 0 h 146064"/>
                <a:gd name="connsiteX4" fmla="*/ 605195 w 605194"/>
                <a:gd name="connsiteY4" fmla="*/ 73032 h 14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194" h="146064">
                  <a:moveTo>
                    <a:pt x="605195" y="73032"/>
                  </a:moveTo>
                  <a:cubicBezTo>
                    <a:pt x="605195" y="113367"/>
                    <a:pt x="469717" y="146065"/>
                    <a:pt x="302597" y="146065"/>
                  </a:cubicBezTo>
                  <a:cubicBezTo>
                    <a:pt x="135477" y="146065"/>
                    <a:pt x="0" y="113367"/>
                    <a:pt x="0" y="73032"/>
                  </a:cubicBezTo>
                  <a:cubicBezTo>
                    <a:pt x="0" y="32698"/>
                    <a:pt x="135477" y="0"/>
                    <a:pt x="302597" y="0"/>
                  </a:cubicBezTo>
                  <a:cubicBezTo>
                    <a:pt x="469717" y="0"/>
                    <a:pt x="605195" y="32698"/>
                    <a:pt x="605195" y="73032"/>
                  </a:cubicBezTo>
                  <a:close/>
                </a:path>
              </a:pathLst>
            </a:custGeom>
            <a:solidFill>
              <a:srgbClr val="0C3D60"/>
            </a:solidFill>
            <a:ln w="4842" cap="flat">
              <a:noFill/>
              <a:prstDash val="solid"/>
              <a:miter/>
            </a:ln>
          </p:spPr>
          <p:txBody>
            <a:bodyPr rtlCol="0" anchor="ctr"/>
            <a:lstStyle/>
            <a:p>
              <a:endParaRPr lang="en-GB"/>
            </a:p>
          </p:txBody>
        </p:sp>
        <p:sp>
          <p:nvSpPr>
            <p:cNvPr id="1033" name="Freeform: Shape 1032">
              <a:extLst>
                <a:ext uri="{FF2B5EF4-FFF2-40B4-BE49-F238E27FC236}">
                  <a16:creationId xmlns:a16="http://schemas.microsoft.com/office/drawing/2014/main" id="{AE998F16-4344-548F-9833-E7387DECE2A0}"/>
                </a:ext>
              </a:extLst>
            </p:cNvPr>
            <p:cNvSpPr/>
            <p:nvPr/>
          </p:nvSpPr>
          <p:spPr>
            <a:xfrm>
              <a:off x="997269" y="-32507"/>
              <a:ext cx="520471" cy="89517"/>
            </a:xfrm>
            <a:custGeom>
              <a:avLst/>
              <a:gdLst>
                <a:gd name="connsiteX0" fmla="*/ 520471 w 520471"/>
                <a:gd name="connsiteY0" fmla="*/ 44759 h 89517"/>
                <a:gd name="connsiteX1" fmla="*/ 260236 w 520471"/>
                <a:gd name="connsiteY1" fmla="*/ 89517 h 89517"/>
                <a:gd name="connsiteX2" fmla="*/ 0 w 520471"/>
                <a:gd name="connsiteY2" fmla="*/ 44759 h 89517"/>
                <a:gd name="connsiteX3" fmla="*/ 260236 w 520471"/>
                <a:gd name="connsiteY3" fmla="*/ 0 h 89517"/>
                <a:gd name="connsiteX4" fmla="*/ 520471 w 520471"/>
                <a:gd name="connsiteY4" fmla="*/ 44759 h 89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471" h="89517">
                  <a:moveTo>
                    <a:pt x="520471" y="44759"/>
                  </a:moveTo>
                  <a:cubicBezTo>
                    <a:pt x="520471" y="69478"/>
                    <a:pt x="403960" y="89517"/>
                    <a:pt x="260236" y="89517"/>
                  </a:cubicBezTo>
                  <a:cubicBezTo>
                    <a:pt x="116511" y="89517"/>
                    <a:pt x="0" y="69478"/>
                    <a:pt x="0" y="44759"/>
                  </a:cubicBezTo>
                  <a:cubicBezTo>
                    <a:pt x="0" y="20039"/>
                    <a:pt x="116511" y="0"/>
                    <a:pt x="260236" y="0"/>
                  </a:cubicBezTo>
                  <a:cubicBezTo>
                    <a:pt x="403960" y="0"/>
                    <a:pt x="520471" y="20039"/>
                    <a:pt x="520471" y="44759"/>
                  </a:cubicBezTo>
                  <a:close/>
                </a:path>
              </a:pathLst>
            </a:custGeom>
            <a:solidFill>
              <a:srgbClr val="A9C7DE"/>
            </a:solidFill>
            <a:ln w="4842" cap="flat">
              <a:noFill/>
              <a:prstDash val="solid"/>
              <a:miter/>
            </a:ln>
          </p:spPr>
          <p:txBody>
            <a:bodyPr rtlCol="0" anchor="ctr"/>
            <a:lstStyle/>
            <a:p>
              <a:endParaRPr lang="en-GB"/>
            </a:p>
          </p:txBody>
        </p:sp>
        <p:sp>
          <p:nvSpPr>
            <p:cNvPr id="1034" name="Freeform: Shape 1033">
              <a:extLst>
                <a:ext uri="{FF2B5EF4-FFF2-40B4-BE49-F238E27FC236}">
                  <a16:creationId xmlns:a16="http://schemas.microsoft.com/office/drawing/2014/main" id="{F543E29D-E87B-C6BA-01DC-0853FD044AA6}"/>
                </a:ext>
              </a:extLst>
            </p:cNvPr>
            <p:cNvSpPr/>
            <p:nvPr/>
          </p:nvSpPr>
          <p:spPr>
            <a:xfrm>
              <a:off x="948695" y="143885"/>
              <a:ext cx="308809" cy="385020"/>
            </a:xfrm>
            <a:custGeom>
              <a:avLst/>
              <a:gdLst>
                <a:gd name="connsiteX0" fmla="*/ 308810 w 308809"/>
                <a:gd name="connsiteY0" fmla="*/ 376168 h 385020"/>
                <a:gd name="connsiteX1" fmla="*/ 110747 w 308809"/>
                <a:gd name="connsiteY1" fmla="*/ 383456 h 385020"/>
                <a:gd name="connsiteX2" fmla="*/ 42362 w 308809"/>
                <a:gd name="connsiteY2" fmla="*/ 311060 h 385020"/>
                <a:gd name="connsiteX3" fmla="*/ 32676 w 308809"/>
                <a:gd name="connsiteY3" fmla="*/ 142885 h 385020"/>
                <a:gd name="connsiteX4" fmla="*/ 0 w 308809"/>
                <a:gd name="connsiteY4" fmla="*/ 142885 h 385020"/>
                <a:gd name="connsiteX5" fmla="*/ 0 w 308809"/>
                <a:gd name="connsiteY5" fmla="*/ 63004 h 385020"/>
                <a:gd name="connsiteX6" fmla="*/ 20887 w 308809"/>
                <a:gd name="connsiteY6" fmla="*/ 63004 h 385020"/>
                <a:gd name="connsiteX7" fmla="*/ 21132 w 308809"/>
                <a:gd name="connsiteY7" fmla="*/ 0 h 385020"/>
                <a:gd name="connsiteX8" fmla="*/ 304994 w 308809"/>
                <a:gd name="connsiteY8" fmla="*/ 52243 h 385020"/>
                <a:gd name="connsiteX9" fmla="*/ 308810 w 308809"/>
                <a:gd name="connsiteY9" fmla="*/ 376168 h 38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8809" h="385020">
                  <a:moveTo>
                    <a:pt x="308810" y="376168"/>
                  </a:moveTo>
                  <a:cubicBezTo>
                    <a:pt x="227608" y="374994"/>
                    <a:pt x="145282" y="376070"/>
                    <a:pt x="110747" y="383456"/>
                  </a:cubicBezTo>
                  <a:cubicBezTo>
                    <a:pt x="110747" y="383456"/>
                    <a:pt x="53857" y="402045"/>
                    <a:pt x="42362" y="311060"/>
                  </a:cubicBezTo>
                  <a:lnTo>
                    <a:pt x="32676" y="142885"/>
                  </a:lnTo>
                  <a:lnTo>
                    <a:pt x="0" y="142885"/>
                  </a:lnTo>
                  <a:lnTo>
                    <a:pt x="0" y="63004"/>
                  </a:lnTo>
                  <a:lnTo>
                    <a:pt x="20887" y="63004"/>
                  </a:lnTo>
                  <a:lnTo>
                    <a:pt x="21132" y="0"/>
                  </a:lnTo>
                  <a:cubicBezTo>
                    <a:pt x="21132" y="0"/>
                    <a:pt x="138874" y="57819"/>
                    <a:pt x="304994" y="52243"/>
                  </a:cubicBezTo>
                  <a:lnTo>
                    <a:pt x="308810" y="376168"/>
                  </a:lnTo>
                  <a:close/>
                </a:path>
              </a:pathLst>
            </a:custGeom>
            <a:solidFill>
              <a:srgbClr val="0C3D60"/>
            </a:solidFill>
            <a:ln w="4842" cap="flat">
              <a:noFill/>
              <a:prstDash val="solid"/>
              <a:miter/>
            </a:ln>
          </p:spPr>
          <p:txBody>
            <a:bodyPr rtlCol="0" anchor="ctr"/>
            <a:lstStyle/>
            <a:p>
              <a:endParaRPr lang="en-GB"/>
            </a:p>
          </p:txBody>
        </p:sp>
        <p:sp>
          <p:nvSpPr>
            <p:cNvPr id="1036" name="Freeform: Shape 1035">
              <a:extLst>
                <a:ext uri="{FF2B5EF4-FFF2-40B4-BE49-F238E27FC236}">
                  <a16:creationId xmlns:a16="http://schemas.microsoft.com/office/drawing/2014/main" id="{FEB40CF2-1CD1-C3CF-BC93-ACC7480AB86B}"/>
                </a:ext>
              </a:extLst>
            </p:cNvPr>
            <p:cNvSpPr/>
            <p:nvPr/>
          </p:nvSpPr>
          <p:spPr>
            <a:xfrm>
              <a:off x="1257505" y="140950"/>
              <a:ext cx="305336" cy="386195"/>
            </a:xfrm>
            <a:custGeom>
              <a:avLst/>
              <a:gdLst>
                <a:gd name="connsiteX0" fmla="*/ 0 w 305336"/>
                <a:gd name="connsiteY0" fmla="*/ 379103 h 386195"/>
                <a:gd name="connsiteX1" fmla="*/ 216309 w 305336"/>
                <a:gd name="connsiteY1" fmla="*/ 386196 h 386195"/>
                <a:gd name="connsiteX2" fmla="*/ 268845 w 305336"/>
                <a:gd name="connsiteY2" fmla="*/ 300739 h 386195"/>
                <a:gd name="connsiteX3" fmla="*/ 272171 w 305336"/>
                <a:gd name="connsiteY3" fmla="*/ 138580 h 386195"/>
                <a:gd name="connsiteX4" fmla="*/ 305337 w 305336"/>
                <a:gd name="connsiteY4" fmla="*/ 137651 h 386195"/>
                <a:gd name="connsiteX5" fmla="*/ 305337 w 305336"/>
                <a:gd name="connsiteY5" fmla="*/ 72396 h 386195"/>
                <a:gd name="connsiteX6" fmla="*/ 284449 w 305336"/>
                <a:gd name="connsiteY6" fmla="*/ 72396 h 386195"/>
                <a:gd name="connsiteX7" fmla="*/ 285721 w 305336"/>
                <a:gd name="connsiteY7" fmla="*/ 0 h 386195"/>
                <a:gd name="connsiteX8" fmla="*/ 0 w 305336"/>
                <a:gd name="connsiteY8" fmla="*/ 55080 h 386195"/>
                <a:gd name="connsiteX9" fmla="*/ 0 w 305336"/>
                <a:gd name="connsiteY9" fmla="*/ 379103 h 38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336" h="386195">
                  <a:moveTo>
                    <a:pt x="0" y="379103"/>
                  </a:moveTo>
                  <a:cubicBezTo>
                    <a:pt x="81201" y="377929"/>
                    <a:pt x="181774" y="378858"/>
                    <a:pt x="216309" y="386196"/>
                  </a:cubicBezTo>
                  <a:cubicBezTo>
                    <a:pt x="216309" y="386196"/>
                    <a:pt x="259747" y="383652"/>
                    <a:pt x="268845" y="300739"/>
                  </a:cubicBezTo>
                  <a:lnTo>
                    <a:pt x="272171" y="138580"/>
                  </a:lnTo>
                  <a:lnTo>
                    <a:pt x="305337" y="137651"/>
                  </a:lnTo>
                  <a:lnTo>
                    <a:pt x="305337" y="72396"/>
                  </a:lnTo>
                  <a:lnTo>
                    <a:pt x="284449" y="72396"/>
                  </a:lnTo>
                  <a:cubicBezTo>
                    <a:pt x="284449" y="72396"/>
                    <a:pt x="285721" y="0"/>
                    <a:pt x="285721" y="0"/>
                  </a:cubicBezTo>
                  <a:cubicBezTo>
                    <a:pt x="285721" y="0"/>
                    <a:pt x="172333" y="50531"/>
                    <a:pt x="0" y="55080"/>
                  </a:cubicBezTo>
                  <a:lnTo>
                    <a:pt x="0" y="379103"/>
                  </a:lnTo>
                  <a:close/>
                </a:path>
              </a:pathLst>
            </a:custGeom>
            <a:solidFill>
              <a:srgbClr val="0B77BE"/>
            </a:solidFill>
            <a:ln w="4842" cap="flat">
              <a:noFill/>
              <a:prstDash val="solid"/>
              <a:miter/>
            </a:ln>
          </p:spPr>
          <p:txBody>
            <a:bodyPr rtlCol="0" anchor="ctr"/>
            <a:lstStyle/>
            <a:p>
              <a:endParaRPr lang="en-GB"/>
            </a:p>
          </p:txBody>
        </p:sp>
        <p:sp>
          <p:nvSpPr>
            <p:cNvPr id="1046" name="Freeform: Shape 1045">
              <a:extLst>
                <a:ext uri="{FF2B5EF4-FFF2-40B4-BE49-F238E27FC236}">
                  <a16:creationId xmlns:a16="http://schemas.microsoft.com/office/drawing/2014/main" id="{DA5D12D8-BE26-D916-981F-8C328A7EB02A}"/>
                </a:ext>
              </a:extLst>
            </p:cNvPr>
            <p:cNvSpPr/>
            <p:nvPr/>
          </p:nvSpPr>
          <p:spPr>
            <a:xfrm>
              <a:off x="1010721" y="270271"/>
              <a:ext cx="486621" cy="221349"/>
            </a:xfrm>
            <a:custGeom>
              <a:avLst/>
              <a:gdLst>
                <a:gd name="connsiteX0" fmla="*/ 486621 w 486621"/>
                <a:gd name="connsiteY0" fmla="*/ 37876 h 221349"/>
                <a:gd name="connsiteX1" fmla="*/ 474783 w 486621"/>
                <a:gd name="connsiteY1" fmla="*/ 178658 h 221349"/>
                <a:gd name="connsiteX2" fmla="*/ 429878 w 486621"/>
                <a:gd name="connsiteY2" fmla="*/ 220530 h 221349"/>
                <a:gd name="connsiteX3" fmla="*/ 76114 w 486621"/>
                <a:gd name="connsiteY3" fmla="*/ 220530 h 221349"/>
                <a:gd name="connsiteX4" fmla="*/ 17806 w 486621"/>
                <a:gd name="connsiteY4" fmla="*/ 182620 h 221349"/>
                <a:gd name="connsiteX5" fmla="*/ 0 w 486621"/>
                <a:gd name="connsiteY5" fmla="*/ 37876 h 221349"/>
                <a:gd name="connsiteX6" fmla="*/ 259111 w 486621"/>
                <a:gd name="connsiteY6" fmla="*/ 161 h 221349"/>
                <a:gd name="connsiteX7" fmla="*/ 486621 w 486621"/>
                <a:gd name="connsiteY7" fmla="*/ 37876 h 22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6621" h="221349">
                  <a:moveTo>
                    <a:pt x="486621" y="37876"/>
                  </a:moveTo>
                  <a:lnTo>
                    <a:pt x="474783" y="178658"/>
                  </a:lnTo>
                  <a:cubicBezTo>
                    <a:pt x="474783" y="178658"/>
                    <a:pt x="465489" y="211970"/>
                    <a:pt x="429878" y="220530"/>
                  </a:cubicBezTo>
                  <a:cubicBezTo>
                    <a:pt x="429878" y="220530"/>
                    <a:pt x="144988" y="211481"/>
                    <a:pt x="76114" y="220530"/>
                  </a:cubicBezTo>
                  <a:cubicBezTo>
                    <a:pt x="76114" y="220530"/>
                    <a:pt x="27589" y="230264"/>
                    <a:pt x="17806" y="182620"/>
                  </a:cubicBezTo>
                  <a:lnTo>
                    <a:pt x="0" y="37876"/>
                  </a:lnTo>
                  <a:cubicBezTo>
                    <a:pt x="0" y="37876"/>
                    <a:pt x="109915" y="-2872"/>
                    <a:pt x="259111" y="161"/>
                  </a:cubicBezTo>
                  <a:cubicBezTo>
                    <a:pt x="259111" y="161"/>
                    <a:pt x="352786" y="19581"/>
                    <a:pt x="486621" y="37876"/>
                  </a:cubicBezTo>
                  <a:close/>
                </a:path>
              </a:pathLst>
            </a:custGeom>
            <a:solidFill>
              <a:srgbClr val="F7ED49"/>
            </a:solidFill>
            <a:ln w="4842" cap="flat">
              <a:noFill/>
              <a:prstDash val="solid"/>
              <a:miter/>
            </a:ln>
          </p:spPr>
          <p:txBody>
            <a:bodyPr rtlCol="0" anchor="ctr"/>
            <a:lstStyle/>
            <a:p>
              <a:endParaRPr lang="en-GB"/>
            </a:p>
          </p:txBody>
        </p:sp>
        <p:sp>
          <p:nvSpPr>
            <p:cNvPr id="1053" name="Freeform: Shape 1052">
              <a:extLst>
                <a:ext uri="{FF2B5EF4-FFF2-40B4-BE49-F238E27FC236}">
                  <a16:creationId xmlns:a16="http://schemas.microsoft.com/office/drawing/2014/main" id="{A4A45B70-1EC4-9553-62DF-910022F7875B}"/>
                </a:ext>
              </a:extLst>
            </p:cNvPr>
            <p:cNvSpPr/>
            <p:nvPr/>
          </p:nvSpPr>
          <p:spPr>
            <a:xfrm>
              <a:off x="1010672" y="270271"/>
              <a:ext cx="246832" cy="221349"/>
            </a:xfrm>
            <a:custGeom>
              <a:avLst/>
              <a:gdLst>
                <a:gd name="connsiteX0" fmla="*/ 246833 w 246832"/>
                <a:gd name="connsiteY0" fmla="*/ 216764 h 221349"/>
                <a:gd name="connsiteX1" fmla="*/ 75038 w 246832"/>
                <a:gd name="connsiteY1" fmla="*/ 220530 h 221349"/>
                <a:gd name="connsiteX2" fmla="*/ 17561 w 246832"/>
                <a:gd name="connsiteY2" fmla="*/ 182620 h 221349"/>
                <a:gd name="connsiteX3" fmla="*/ 0 w 246832"/>
                <a:gd name="connsiteY3" fmla="*/ 37876 h 221349"/>
                <a:gd name="connsiteX4" fmla="*/ 245707 w 246832"/>
                <a:gd name="connsiteY4" fmla="*/ 161 h 221349"/>
                <a:gd name="connsiteX5" fmla="*/ 246784 w 246832"/>
                <a:gd name="connsiteY5" fmla="*/ 216764 h 22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832" h="221349">
                  <a:moveTo>
                    <a:pt x="246833" y="216764"/>
                  </a:moveTo>
                  <a:cubicBezTo>
                    <a:pt x="246833" y="216764"/>
                    <a:pt x="142983" y="211481"/>
                    <a:pt x="75038" y="220530"/>
                  </a:cubicBezTo>
                  <a:cubicBezTo>
                    <a:pt x="75038" y="220530"/>
                    <a:pt x="27198" y="230264"/>
                    <a:pt x="17561" y="182620"/>
                  </a:cubicBezTo>
                  <a:lnTo>
                    <a:pt x="0" y="37876"/>
                  </a:lnTo>
                  <a:cubicBezTo>
                    <a:pt x="0" y="37876"/>
                    <a:pt x="98665" y="-2872"/>
                    <a:pt x="245707" y="161"/>
                  </a:cubicBezTo>
                  <a:cubicBezTo>
                    <a:pt x="245707" y="161"/>
                    <a:pt x="246784" y="165841"/>
                    <a:pt x="246784" y="216764"/>
                  </a:cubicBezTo>
                  <a:close/>
                </a:path>
              </a:pathLst>
            </a:custGeom>
            <a:solidFill>
              <a:srgbClr val="FADE00"/>
            </a:solidFill>
            <a:ln w="4842" cap="flat">
              <a:noFill/>
              <a:prstDash val="solid"/>
              <a:miter/>
            </a:ln>
          </p:spPr>
          <p:txBody>
            <a:bodyPr rtlCol="0" anchor="ctr"/>
            <a:lstStyle/>
            <a:p>
              <a:endParaRPr lang="en-GB"/>
            </a:p>
          </p:txBody>
        </p:sp>
        <p:sp>
          <p:nvSpPr>
            <p:cNvPr id="1054" name="Freeform: Shape 1053">
              <a:extLst>
                <a:ext uri="{FF2B5EF4-FFF2-40B4-BE49-F238E27FC236}">
                  <a16:creationId xmlns:a16="http://schemas.microsoft.com/office/drawing/2014/main" id="{842F0F00-F6DF-BBF8-AA6E-0A55CA148589}"/>
                </a:ext>
              </a:extLst>
            </p:cNvPr>
            <p:cNvSpPr/>
            <p:nvPr/>
          </p:nvSpPr>
          <p:spPr>
            <a:xfrm>
              <a:off x="1010721" y="211438"/>
              <a:ext cx="486621" cy="96707"/>
            </a:xfrm>
            <a:custGeom>
              <a:avLst/>
              <a:gdLst>
                <a:gd name="connsiteX0" fmla="*/ 0 w 486621"/>
                <a:gd name="connsiteY0" fmla="*/ 96708 h 96707"/>
                <a:gd name="connsiteX1" fmla="*/ 0 w 486621"/>
                <a:gd name="connsiteY1" fmla="*/ 0 h 96707"/>
                <a:gd name="connsiteX2" fmla="*/ 486621 w 486621"/>
                <a:gd name="connsiteY2" fmla="*/ 0 h 96707"/>
                <a:gd name="connsiteX3" fmla="*/ 486621 w 486621"/>
                <a:gd name="connsiteY3" fmla="*/ 96708 h 96707"/>
                <a:gd name="connsiteX4" fmla="*/ 0 w 486621"/>
                <a:gd name="connsiteY4" fmla="*/ 96708 h 96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621" h="96707">
                  <a:moveTo>
                    <a:pt x="0" y="96708"/>
                  </a:moveTo>
                  <a:lnTo>
                    <a:pt x="0" y="0"/>
                  </a:lnTo>
                  <a:lnTo>
                    <a:pt x="486621" y="0"/>
                  </a:lnTo>
                  <a:lnTo>
                    <a:pt x="486621" y="96708"/>
                  </a:lnTo>
                  <a:cubicBezTo>
                    <a:pt x="486621" y="96708"/>
                    <a:pt x="127917" y="64032"/>
                    <a:pt x="0" y="96708"/>
                  </a:cubicBezTo>
                  <a:close/>
                </a:path>
              </a:pathLst>
            </a:custGeom>
            <a:solidFill>
              <a:srgbClr val="FDB714"/>
            </a:solidFill>
            <a:ln w="4842" cap="flat">
              <a:noFill/>
              <a:prstDash val="solid"/>
              <a:miter/>
            </a:ln>
          </p:spPr>
          <p:txBody>
            <a:bodyPr rtlCol="0" anchor="ctr"/>
            <a:lstStyle/>
            <a:p>
              <a:endParaRPr lang="en-GB"/>
            </a:p>
          </p:txBody>
        </p:sp>
        <p:sp>
          <p:nvSpPr>
            <p:cNvPr id="1055" name="Freeform: Shape 1054">
              <a:extLst>
                <a:ext uri="{FF2B5EF4-FFF2-40B4-BE49-F238E27FC236}">
                  <a16:creationId xmlns:a16="http://schemas.microsoft.com/office/drawing/2014/main" id="{EAAE0420-0242-C211-8DDE-C6A84F72E1EE}"/>
                </a:ext>
              </a:extLst>
            </p:cNvPr>
            <p:cNvSpPr/>
            <p:nvPr/>
          </p:nvSpPr>
          <p:spPr>
            <a:xfrm>
              <a:off x="1010378" y="154940"/>
              <a:ext cx="486621" cy="120334"/>
            </a:xfrm>
            <a:custGeom>
              <a:avLst/>
              <a:gdLst>
                <a:gd name="connsiteX0" fmla="*/ 0 w 486621"/>
                <a:gd name="connsiteY0" fmla="*/ 2593 h 120334"/>
                <a:gd name="connsiteX1" fmla="*/ 0 w 486621"/>
                <a:gd name="connsiteY1" fmla="*/ 120335 h 120334"/>
                <a:gd name="connsiteX2" fmla="*/ 252409 w 486621"/>
                <a:gd name="connsiteY2" fmla="*/ 61488 h 120334"/>
                <a:gd name="connsiteX3" fmla="*/ 486621 w 486621"/>
                <a:gd name="connsiteY3" fmla="*/ 120335 h 120334"/>
                <a:gd name="connsiteX4" fmla="*/ 486621 w 486621"/>
                <a:gd name="connsiteY4" fmla="*/ 0 h 120334"/>
                <a:gd name="connsiteX5" fmla="*/ 247126 w 486621"/>
                <a:gd name="connsiteY5" fmla="*/ 37764 h 120334"/>
                <a:gd name="connsiteX6" fmla="*/ 0 w 486621"/>
                <a:gd name="connsiteY6" fmla="*/ 2593 h 12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6621" h="120334">
                  <a:moveTo>
                    <a:pt x="0" y="2593"/>
                  </a:moveTo>
                  <a:lnTo>
                    <a:pt x="0" y="120335"/>
                  </a:lnTo>
                  <a:cubicBezTo>
                    <a:pt x="0" y="120335"/>
                    <a:pt x="71809" y="49797"/>
                    <a:pt x="252409" y="61488"/>
                  </a:cubicBezTo>
                  <a:cubicBezTo>
                    <a:pt x="433009" y="73179"/>
                    <a:pt x="486621" y="120335"/>
                    <a:pt x="486621" y="120335"/>
                  </a:cubicBezTo>
                  <a:lnTo>
                    <a:pt x="486621" y="0"/>
                  </a:lnTo>
                  <a:cubicBezTo>
                    <a:pt x="486621" y="0"/>
                    <a:pt x="353519" y="41383"/>
                    <a:pt x="247126" y="37764"/>
                  </a:cubicBezTo>
                  <a:cubicBezTo>
                    <a:pt x="247126" y="37764"/>
                    <a:pt x="125177" y="41921"/>
                    <a:pt x="0" y="2593"/>
                  </a:cubicBezTo>
                  <a:close/>
                </a:path>
              </a:pathLst>
            </a:custGeom>
            <a:solidFill>
              <a:srgbClr val="D82F27"/>
            </a:solidFill>
            <a:ln w="4842" cap="flat">
              <a:noFill/>
              <a:prstDash val="solid"/>
              <a:miter/>
            </a:ln>
          </p:spPr>
          <p:txBody>
            <a:bodyPr rtlCol="0" anchor="ctr"/>
            <a:lstStyle/>
            <a:p>
              <a:endParaRPr lang="en-GB"/>
            </a:p>
          </p:txBody>
        </p:sp>
        <p:sp>
          <p:nvSpPr>
            <p:cNvPr id="1056" name="Freeform: Shape 1055">
              <a:extLst>
                <a:ext uri="{FF2B5EF4-FFF2-40B4-BE49-F238E27FC236}">
                  <a16:creationId xmlns:a16="http://schemas.microsoft.com/office/drawing/2014/main" id="{328B5C82-CAB6-E800-E4DB-2A36D98B97EA}"/>
                </a:ext>
              </a:extLst>
            </p:cNvPr>
            <p:cNvSpPr/>
            <p:nvPr/>
          </p:nvSpPr>
          <p:spPr>
            <a:xfrm>
              <a:off x="1110315" y="185121"/>
              <a:ext cx="74450" cy="59922"/>
            </a:xfrm>
            <a:custGeom>
              <a:avLst/>
              <a:gdLst>
                <a:gd name="connsiteX0" fmla="*/ 0 w 74450"/>
                <a:gd name="connsiteY0" fmla="*/ 0 h 59922"/>
                <a:gd name="connsiteX1" fmla="*/ 0 w 74450"/>
                <a:gd name="connsiteY1" fmla="*/ 59923 h 59922"/>
                <a:gd name="connsiteX2" fmla="*/ 74451 w 74450"/>
                <a:gd name="connsiteY2" fmla="*/ 59923 h 59922"/>
                <a:gd name="connsiteX3" fmla="*/ 74451 w 74450"/>
                <a:gd name="connsiteY3" fmla="*/ 8952 h 59922"/>
                <a:gd name="connsiteX4" fmla="*/ 0 w 74450"/>
                <a:gd name="connsiteY4" fmla="*/ 0 h 5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50" h="59922">
                  <a:moveTo>
                    <a:pt x="0" y="0"/>
                  </a:moveTo>
                  <a:lnTo>
                    <a:pt x="0" y="59923"/>
                  </a:lnTo>
                  <a:lnTo>
                    <a:pt x="74451" y="59923"/>
                  </a:lnTo>
                  <a:lnTo>
                    <a:pt x="74451" y="8952"/>
                  </a:lnTo>
                  <a:cubicBezTo>
                    <a:pt x="74451" y="8952"/>
                    <a:pt x="30866" y="3620"/>
                    <a:pt x="0" y="0"/>
                  </a:cubicBezTo>
                  <a:close/>
                </a:path>
              </a:pathLst>
            </a:custGeom>
            <a:solidFill>
              <a:srgbClr val="BD6D29"/>
            </a:solidFill>
            <a:ln w="4842" cap="flat">
              <a:noFill/>
              <a:prstDash val="solid"/>
              <a:miter/>
            </a:ln>
          </p:spPr>
          <p:txBody>
            <a:bodyPr rtlCol="0" anchor="ctr"/>
            <a:lstStyle/>
            <a:p>
              <a:endParaRPr lang="en-GB"/>
            </a:p>
          </p:txBody>
        </p:sp>
        <p:sp>
          <p:nvSpPr>
            <p:cNvPr id="1057" name="Freeform: Shape 1056">
              <a:extLst>
                <a:ext uri="{FF2B5EF4-FFF2-40B4-BE49-F238E27FC236}">
                  <a16:creationId xmlns:a16="http://schemas.microsoft.com/office/drawing/2014/main" id="{E27CE0EF-FD4F-B518-E22B-D8AC47635293}"/>
                </a:ext>
              </a:extLst>
            </p:cNvPr>
            <p:cNvSpPr/>
            <p:nvPr/>
          </p:nvSpPr>
          <p:spPr>
            <a:xfrm>
              <a:off x="1218322" y="194220"/>
              <a:ext cx="76260" cy="58993"/>
            </a:xfrm>
            <a:custGeom>
              <a:avLst/>
              <a:gdLst>
                <a:gd name="connsiteX0" fmla="*/ 76261 w 76260"/>
                <a:gd name="connsiteY0" fmla="*/ 0 h 58993"/>
                <a:gd name="connsiteX1" fmla="*/ 76261 w 76260"/>
                <a:gd name="connsiteY1" fmla="*/ 58993 h 58993"/>
                <a:gd name="connsiteX2" fmla="*/ 0 w 76260"/>
                <a:gd name="connsiteY2" fmla="*/ 58993 h 58993"/>
                <a:gd name="connsiteX3" fmla="*/ 0 w 76260"/>
                <a:gd name="connsiteY3" fmla="*/ 0 h 58993"/>
                <a:gd name="connsiteX4" fmla="*/ 76261 w 76260"/>
                <a:gd name="connsiteY4" fmla="*/ 0 h 58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60" h="58993">
                  <a:moveTo>
                    <a:pt x="76261" y="0"/>
                  </a:moveTo>
                  <a:lnTo>
                    <a:pt x="76261" y="58993"/>
                  </a:lnTo>
                  <a:lnTo>
                    <a:pt x="0" y="58993"/>
                  </a:lnTo>
                  <a:lnTo>
                    <a:pt x="0" y="0"/>
                  </a:lnTo>
                  <a:cubicBezTo>
                    <a:pt x="0" y="0"/>
                    <a:pt x="33606" y="6359"/>
                    <a:pt x="76261" y="0"/>
                  </a:cubicBezTo>
                  <a:close/>
                </a:path>
              </a:pathLst>
            </a:custGeom>
            <a:solidFill>
              <a:srgbClr val="BD6D29"/>
            </a:solidFill>
            <a:ln w="4842" cap="flat">
              <a:noFill/>
              <a:prstDash val="solid"/>
              <a:miter/>
            </a:ln>
          </p:spPr>
          <p:txBody>
            <a:bodyPr rtlCol="0" anchor="ctr"/>
            <a:lstStyle/>
            <a:p>
              <a:endParaRPr lang="en-GB"/>
            </a:p>
          </p:txBody>
        </p:sp>
        <p:sp>
          <p:nvSpPr>
            <p:cNvPr id="1059" name="Freeform: Shape 1058">
              <a:extLst>
                <a:ext uri="{FF2B5EF4-FFF2-40B4-BE49-F238E27FC236}">
                  <a16:creationId xmlns:a16="http://schemas.microsoft.com/office/drawing/2014/main" id="{104DCDA9-EA56-49FE-C57B-41E10A83BA84}"/>
                </a:ext>
              </a:extLst>
            </p:cNvPr>
            <p:cNvSpPr/>
            <p:nvPr/>
          </p:nvSpPr>
          <p:spPr>
            <a:xfrm>
              <a:off x="1331760" y="181453"/>
              <a:ext cx="70782" cy="63542"/>
            </a:xfrm>
            <a:custGeom>
              <a:avLst/>
              <a:gdLst>
                <a:gd name="connsiteX0" fmla="*/ 0 w 70782"/>
                <a:gd name="connsiteY0" fmla="*/ 9098 h 63542"/>
                <a:gd name="connsiteX1" fmla="*/ 0 w 70782"/>
                <a:gd name="connsiteY1" fmla="*/ 63543 h 63542"/>
                <a:gd name="connsiteX2" fmla="*/ 70782 w 70782"/>
                <a:gd name="connsiteY2" fmla="*/ 63543 h 63542"/>
                <a:gd name="connsiteX3" fmla="*/ 70782 w 70782"/>
                <a:gd name="connsiteY3" fmla="*/ 0 h 63542"/>
                <a:gd name="connsiteX4" fmla="*/ 0 w 70782"/>
                <a:gd name="connsiteY4" fmla="*/ 9050 h 63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782" h="63542">
                  <a:moveTo>
                    <a:pt x="0" y="9098"/>
                  </a:moveTo>
                  <a:lnTo>
                    <a:pt x="0" y="63543"/>
                  </a:lnTo>
                  <a:lnTo>
                    <a:pt x="70782" y="63543"/>
                  </a:lnTo>
                  <a:lnTo>
                    <a:pt x="70782" y="0"/>
                  </a:lnTo>
                  <a:cubicBezTo>
                    <a:pt x="70782" y="0"/>
                    <a:pt x="39035" y="9979"/>
                    <a:pt x="0" y="9050"/>
                  </a:cubicBezTo>
                  <a:close/>
                </a:path>
              </a:pathLst>
            </a:custGeom>
            <a:solidFill>
              <a:srgbClr val="BD6D29"/>
            </a:solidFill>
            <a:ln w="4842" cap="flat">
              <a:noFill/>
              <a:prstDash val="solid"/>
              <a:miter/>
            </a:ln>
          </p:spPr>
          <p:txBody>
            <a:bodyPr rtlCol="0" anchor="ctr"/>
            <a:lstStyle/>
            <a:p>
              <a:endParaRPr lang="en-GB"/>
            </a:p>
          </p:txBody>
        </p:sp>
        <p:sp>
          <p:nvSpPr>
            <p:cNvPr id="1060" name="Freeform: Shape 1059">
              <a:extLst>
                <a:ext uri="{FF2B5EF4-FFF2-40B4-BE49-F238E27FC236}">
                  <a16:creationId xmlns:a16="http://schemas.microsoft.com/office/drawing/2014/main" id="{FE7BEC88-2C98-40BB-C359-84B479B174EA}"/>
                </a:ext>
              </a:extLst>
            </p:cNvPr>
            <p:cNvSpPr/>
            <p:nvPr/>
          </p:nvSpPr>
          <p:spPr>
            <a:xfrm>
              <a:off x="1100287" y="-155771"/>
              <a:ext cx="90788" cy="146205"/>
            </a:xfrm>
            <a:custGeom>
              <a:avLst/>
              <a:gdLst>
                <a:gd name="connsiteX0" fmla="*/ 0 w 90788"/>
                <a:gd name="connsiteY0" fmla="*/ 146206 h 146205"/>
                <a:gd name="connsiteX1" fmla="*/ 90789 w 90788"/>
                <a:gd name="connsiteY1" fmla="*/ 146206 h 146205"/>
                <a:gd name="connsiteX2" fmla="*/ 90789 w 90788"/>
                <a:gd name="connsiteY2" fmla="*/ 46808 h 146205"/>
                <a:gd name="connsiteX3" fmla="*/ 0 w 90788"/>
                <a:gd name="connsiteY3" fmla="*/ 46808 h 146205"/>
                <a:gd name="connsiteX4" fmla="*/ 0 w 90788"/>
                <a:gd name="connsiteY4" fmla="*/ 146206 h 146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788" h="146205">
                  <a:moveTo>
                    <a:pt x="0" y="146206"/>
                  </a:moveTo>
                  <a:lnTo>
                    <a:pt x="90789" y="146206"/>
                  </a:lnTo>
                  <a:lnTo>
                    <a:pt x="90789" y="46808"/>
                  </a:lnTo>
                  <a:cubicBezTo>
                    <a:pt x="90789" y="46808"/>
                    <a:pt x="50873" y="-58510"/>
                    <a:pt x="0" y="46808"/>
                  </a:cubicBezTo>
                  <a:lnTo>
                    <a:pt x="0" y="146206"/>
                  </a:lnTo>
                  <a:close/>
                </a:path>
              </a:pathLst>
            </a:custGeom>
            <a:solidFill>
              <a:srgbClr val="0C3D60"/>
            </a:solidFill>
            <a:ln w="4842" cap="flat">
              <a:solidFill>
                <a:srgbClr val="231F20"/>
              </a:solidFill>
              <a:prstDash val="solid"/>
              <a:miter/>
            </a:ln>
          </p:spPr>
          <p:txBody>
            <a:bodyPr rtlCol="0" anchor="ctr"/>
            <a:lstStyle/>
            <a:p>
              <a:endParaRPr lang="en-GB"/>
            </a:p>
          </p:txBody>
        </p:sp>
        <p:sp>
          <p:nvSpPr>
            <p:cNvPr id="1061" name="Freeform: Shape 1060">
              <a:extLst>
                <a:ext uri="{FF2B5EF4-FFF2-40B4-BE49-F238E27FC236}">
                  <a16:creationId xmlns:a16="http://schemas.microsoft.com/office/drawing/2014/main" id="{D70AAC89-8181-9630-0A9F-A376CD796623}"/>
                </a:ext>
              </a:extLst>
            </p:cNvPr>
            <p:cNvSpPr/>
            <p:nvPr/>
          </p:nvSpPr>
          <p:spPr>
            <a:xfrm>
              <a:off x="1212110" y="-155771"/>
              <a:ext cx="90788" cy="146205"/>
            </a:xfrm>
            <a:custGeom>
              <a:avLst/>
              <a:gdLst>
                <a:gd name="connsiteX0" fmla="*/ 0 w 90788"/>
                <a:gd name="connsiteY0" fmla="*/ 146206 h 146205"/>
                <a:gd name="connsiteX1" fmla="*/ 90789 w 90788"/>
                <a:gd name="connsiteY1" fmla="*/ 146206 h 146205"/>
                <a:gd name="connsiteX2" fmla="*/ 90789 w 90788"/>
                <a:gd name="connsiteY2" fmla="*/ 46808 h 146205"/>
                <a:gd name="connsiteX3" fmla="*/ 0 w 90788"/>
                <a:gd name="connsiteY3" fmla="*/ 46808 h 146205"/>
                <a:gd name="connsiteX4" fmla="*/ 0 w 90788"/>
                <a:gd name="connsiteY4" fmla="*/ 146206 h 146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788" h="146205">
                  <a:moveTo>
                    <a:pt x="0" y="146206"/>
                  </a:moveTo>
                  <a:lnTo>
                    <a:pt x="90789" y="146206"/>
                  </a:lnTo>
                  <a:lnTo>
                    <a:pt x="90789" y="46808"/>
                  </a:lnTo>
                  <a:cubicBezTo>
                    <a:pt x="90789" y="46808"/>
                    <a:pt x="50873" y="-58510"/>
                    <a:pt x="0" y="46808"/>
                  </a:cubicBezTo>
                  <a:lnTo>
                    <a:pt x="0" y="146206"/>
                  </a:lnTo>
                  <a:close/>
                </a:path>
              </a:pathLst>
            </a:custGeom>
            <a:solidFill>
              <a:srgbClr val="0C3D60"/>
            </a:solidFill>
            <a:ln w="4842" cap="flat">
              <a:solidFill>
                <a:srgbClr val="231F20"/>
              </a:solidFill>
              <a:prstDash val="solid"/>
              <a:miter/>
            </a:ln>
          </p:spPr>
          <p:txBody>
            <a:bodyPr rtlCol="0" anchor="ctr"/>
            <a:lstStyle/>
            <a:p>
              <a:endParaRPr lang="en-GB"/>
            </a:p>
          </p:txBody>
        </p:sp>
        <p:sp>
          <p:nvSpPr>
            <p:cNvPr id="1062" name="Freeform: Shape 1061">
              <a:extLst>
                <a:ext uri="{FF2B5EF4-FFF2-40B4-BE49-F238E27FC236}">
                  <a16:creationId xmlns:a16="http://schemas.microsoft.com/office/drawing/2014/main" id="{CD6FD73D-13C4-73DE-4A8C-8C2BD5AB667D}"/>
                </a:ext>
              </a:extLst>
            </p:cNvPr>
            <p:cNvSpPr/>
            <p:nvPr/>
          </p:nvSpPr>
          <p:spPr>
            <a:xfrm>
              <a:off x="1323933" y="-155771"/>
              <a:ext cx="90788" cy="146205"/>
            </a:xfrm>
            <a:custGeom>
              <a:avLst/>
              <a:gdLst>
                <a:gd name="connsiteX0" fmla="*/ 0 w 90788"/>
                <a:gd name="connsiteY0" fmla="*/ 146206 h 146205"/>
                <a:gd name="connsiteX1" fmla="*/ 90789 w 90788"/>
                <a:gd name="connsiteY1" fmla="*/ 146206 h 146205"/>
                <a:gd name="connsiteX2" fmla="*/ 90789 w 90788"/>
                <a:gd name="connsiteY2" fmla="*/ 46808 h 146205"/>
                <a:gd name="connsiteX3" fmla="*/ 0 w 90788"/>
                <a:gd name="connsiteY3" fmla="*/ 46808 h 146205"/>
                <a:gd name="connsiteX4" fmla="*/ 0 w 90788"/>
                <a:gd name="connsiteY4" fmla="*/ 146206 h 146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788" h="146205">
                  <a:moveTo>
                    <a:pt x="0" y="146206"/>
                  </a:moveTo>
                  <a:lnTo>
                    <a:pt x="90789" y="146206"/>
                  </a:lnTo>
                  <a:lnTo>
                    <a:pt x="90789" y="46808"/>
                  </a:lnTo>
                  <a:cubicBezTo>
                    <a:pt x="90789" y="46808"/>
                    <a:pt x="50873" y="-58510"/>
                    <a:pt x="0" y="46808"/>
                  </a:cubicBezTo>
                  <a:lnTo>
                    <a:pt x="0" y="146206"/>
                  </a:lnTo>
                  <a:close/>
                </a:path>
              </a:pathLst>
            </a:custGeom>
            <a:solidFill>
              <a:srgbClr val="0C3D60"/>
            </a:solidFill>
            <a:ln w="4842" cap="flat">
              <a:solidFill>
                <a:srgbClr val="231F20"/>
              </a:solidFill>
              <a:prstDash val="solid"/>
              <a:miter/>
            </a:ln>
          </p:spPr>
          <p:txBody>
            <a:bodyPr rtlCol="0" anchor="ctr"/>
            <a:lstStyle/>
            <a:p>
              <a:endParaRPr lang="en-GB"/>
            </a:p>
          </p:txBody>
        </p:sp>
        <p:sp>
          <p:nvSpPr>
            <p:cNvPr id="1063" name="Freeform: Shape 1062">
              <a:extLst>
                <a:ext uri="{FF2B5EF4-FFF2-40B4-BE49-F238E27FC236}">
                  <a16:creationId xmlns:a16="http://schemas.microsoft.com/office/drawing/2014/main" id="{86496899-DD6F-4DD9-3F4A-CD4841B648D6}"/>
                </a:ext>
              </a:extLst>
            </p:cNvPr>
            <p:cNvSpPr/>
            <p:nvPr/>
          </p:nvSpPr>
          <p:spPr>
            <a:xfrm>
              <a:off x="951434" y="34497"/>
              <a:ext cx="605145" cy="161668"/>
            </a:xfrm>
            <a:custGeom>
              <a:avLst/>
              <a:gdLst>
                <a:gd name="connsiteX0" fmla="*/ 0 w 605145"/>
                <a:gd name="connsiteY0" fmla="*/ 5831 h 161668"/>
                <a:gd name="connsiteX1" fmla="*/ 0 w 605145"/>
                <a:gd name="connsiteY1" fmla="*/ 104642 h 161668"/>
                <a:gd name="connsiteX2" fmla="*/ 605146 w 605145"/>
                <a:gd name="connsiteY2" fmla="*/ 104642 h 161668"/>
                <a:gd name="connsiteX3" fmla="*/ 605146 w 605145"/>
                <a:gd name="connsiteY3" fmla="*/ 5831 h 161668"/>
                <a:gd name="connsiteX4" fmla="*/ 311353 w 605145"/>
                <a:gd name="connsiteY4" fmla="*/ 78863 h 161668"/>
                <a:gd name="connsiteX5" fmla="*/ 0 w 605145"/>
                <a:gd name="connsiteY5" fmla="*/ 5831 h 16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145" h="161668">
                  <a:moveTo>
                    <a:pt x="0" y="5831"/>
                  </a:moveTo>
                  <a:lnTo>
                    <a:pt x="0" y="104642"/>
                  </a:lnTo>
                  <a:cubicBezTo>
                    <a:pt x="0" y="104642"/>
                    <a:pt x="254170" y="232950"/>
                    <a:pt x="605146" y="104642"/>
                  </a:cubicBezTo>
                  <a:cubicBezTo>
                    <a:pt x="605146" y="104642"/>
                    <a:pt x="605146" y="-29144"/>
                    <a:pt x="605146" y="5831"/>
                  </a:cubicBezTo>
                  <a:cubicBezTo>
                    <a:pt x="605146" y="40806"/>
                    <a:pt x="492002" y="78863"/>
                    <a:pt x="311353" y="78863"/>
                  </a:cubicBezTo>
                  <a:cubicBezTo>
                    <a:pt x="260431" y="78863"/>
                    <a:pt x="19077" y="66194"/>
                    <a:pt x="0" y="5831"/>
                  </a:cubicBezTo>
                  <a:close/>
                </a:path>
              </a:pathLst>
            </a:custGeom>
            <a:gradFill>
              <a:gsLst>
                <a:gs pos="0">
                  <a:srgbClr val="0C3D60"/>
                </a:gs>
                <a:gs pos="24000">
                  <a:srgbClr val="005991"/>
                </a:gs>
                <a:gs pos="54000">
                  <a:srgbClr val="A9C8DE"/>
                </a:gs>
                <a:gs pos="77000">
                  <a:srgbClr val="3A739E"/>
                </a:gs>
                <a:gs pos="99000">
                  <a:srgbClr val="0C3D60"/>
                </a:gs>
              </a:gsLst>
              <a:lin ang="0" scaled="1"/>
            </a:gradFill>
            <a:ln w="4842" cap="flat">
              <a:noFill/>
              <a:prstDash val="solid"/>
              <a:miter/>
            </a:ln>
          </p:spPr>
          <p:txBody>
            <a:bodyPr rtlCol="0" anchor="ctr"/>
            <a:lstStyle/>
            <a:p>
              <a:endParaRPr lang="en-GB"/>
            </a:p>
          </p:txBody>
        </p:sp>
        <p:sp>
          <p:nvSpPr>
            <p:cNvPr id="1064" name="Freeform: Shape 1063">
              <a:extLst>
                <a:ext uri="{FF2B5EF4-FFF2-40B4-BE49-F238E27FC236}">
                  <a16:creationId xmlns:a16="http://schemas.microsoft.com/office/drawing/2014/main" id="{4F7E7146-BC33-C86B-E2BB-A634F20F3F4F}"/>
                </a:ext>
              </a:extLst>
            </p:cNvPr>
            <p:cNvSpPr/>
            <p:nvPr/>
          </p:nvSpPr>
          <p:spPr>
            <a:xfrm>
              <a:off x="1096227" y="-93261"/>
              <a:ext cx="99838" cy="4891"/>
            </a:xfrm>
            <a:custGeom>
              <a:avLst/>
              <a:gdLst>
                <a:gd name="connsiteX0" fmla="*/ 0 w 99838"/>
                <a:gd name="connsiteY0" fmla="*/ 0 h 4891"/>
                <a:gd name="connsiteX1" fmla="*/ 99839 w 99838"/>
                <a:gd name="connsiteY1" fmla="*/ 0 h 4891"/>
              </a:gdLst>
              <a:ahLst/>
              <a:cxnLst>
                <a:cxn ang="0">
                  <a:pos x="connsiteX0" y="connsiteY0"/>
                </a:cxn>
                <a:cxn ang="0">
                  <a:pos x="connsiteX1" y="connsiteY1"/>
                </a:cxn>
              </a:cxnLst>
              <a:rect l="l" t="t" r="r" b="b"/>
              <a:pathLst>
                <a:path w="99838" h="4891">
                  <a:moveTo>
                    <a:pt x="0" y="0"/>
                  </a:moveTo>
                  <a:lnTo>
                    <a:pt x="99839" y="0"/>
                  </a:lnTo>
                </a:path>
              </a:pathLst>
            </a:custGeom>
            <a:ln w="10895" cap="rnd">
              <a:solidFill>
                <a:srgbClr val="231F20"/>
              </a:solidFill>
              <a:prstDash val="solid"/>
              <a:round/>
            </a:ln>
          </p:spPr>
          <p:txBody>
            <a:bodyPr rtlCol="0" anchor="ctr"/>
            <a:lstStyle/>
            <a:p>
              <a:endParaRPr lang="en-GB"/>
            </a:p>
          </p:txBody>
        </p:sp>
        <p:sp>
          <p:nvSpPr>
            <p:cNvPr id="1065" name="Freeform: Shape 1064">
              <a:extLst>
                <a:ext uri="{FF2B5EF4-FFF2-40B4-BE49-F238E27FC236}">
                  <a16:creationId xmlns:a16="http://schemas.microsoft.com/office/drawing/2014/main" id="{4BAEA542-647B-3B0B-0FEB-A967F573F50D}"/>
                </a:ext>
              </a:extLst>
            </p:cNvPr>
            <p:cNvSpPr/>
            <p:nvPr/>
          </p:nvSpPr>
          <p:spPr>
            <a:xfrm>
              <a:off x="1207610" y="-93261"/>
              <a:ext cx="99838" cy="4891"/>
            </a:xfrm>
            <a:custGeom>
              <a:avLst/>
              <a:gdLst>
                <a:gd name="connsiteX0" fmla="*/ 0 w 99838"/>
                <a:gd name="connsiteY0" fmla="*/ 0 h 4891"/>
                <a:gd name="connsiteX1" fmla="*/ 99839 w 99838"/>
                <a:gd name="connsiteY1" fmla="*/ 0 h 4891"/>
              </a:gdLst>
              <a:ahLst/>
              <a:cxnLst>
                <a:cxn ang="0">
                  <a:pos x="connsiteX0" y="connsiteY0"/>
                </a:cxn>
                <a:cxn ang="0">
                  <a:pos x="connsiteX1" y="connsiteY1"/>
                </a:cxn>
              </a:cxnLst>
              <a:rect l="l" t="t" r="r" b="b"/>
              <a:pathLst>
                <a:path w="99838" h="4891">
                  <a:moveTo>
                    <a:pt x="0" y="0"/>
                  </a:moveTo>
                  <a:lnTo>
                    <a:pt x="99839" y="0"/>
                  </a:lnTo>
                </a:path>
              </a:pathLst>
            </a:custGeom>
            <a:ln w="10895" cap="rnd">
              <a:solidFill>
                <a:srgbClr val="231F20"/>
              </a:solidFill>
              <a:prstDash val="solid"/>
              <a:round/>
            </a:ln>
          </p:spPr>
          <p:txBody>
            <a:bodyPr rtlCol="0" anchor="ctr"/>
            <a:lstStyle/>
            <a:p>
              <a:endParaRPr lang="en-GB"/>
            </a:p>
          </p:txBody>
        </p:sp>
        <p:sp>
          <p:nvSpPr>
            <p:cNvPr id="1066" name="Freeform: Shape 1065">
              <a:extLst>
                <a:ext uri="{FF2B5EF4-FFF2-40B4-BE49-F238E27FC236}">
                  <a16:creationId xmlns:a16="http://schemas.microsoft.com/office/drawing/2014/main" id="{EC0F14C5-DFDE-7B6D-FD9E-25DE633FF353}"/>
                </a:ext>
              </a:extLst>
            </p:cNvPr>
            <p:cNvSpPr/>
            <p:nvPr/>
          </p:nvSpPr>
          <p:spPr>
            <a:xfrm>
              <a:off x="1319384" y="-93261"/>
              <a:ext cx="99887" cy="4891"/>
            </a:xfrm>
            <a:custGeom>
              <a:avLst/>
              <a:gdLst>
                <a:gd name="connsiteX0" fmla="*/ 0 w 99887"/>
                <a:gd name="connsiteY0" fmla="*/ 0 h 4891"/>
                <a:gd name="connsiteX1" fmla="*/ 99887 w 99887"/>
                <a:gd name="connsiteY1" fmla="*/ 0 h 4891"/>
              </a:gdLst>
              <a:ahLst/>
              <a:cxnLst>
                <a:cxn ang="0">
                  <a:pos x="connsiteX0" y="connsiteY0"/>
                </a:cxn>
                <a:cxn ang="0">
                  <a:pos x="connsiteX1" y="connsiteY1"/>
                </a:cxn>
              </a:cxnLst>
              <a:rect l="l" t="t" r="r" b="b"/>
              <a:pathLst>
                <a:path w="99887" h="4891">
                  <a:moveTo>
                    <a:pt x="0" y="0"/>
                  </a:moveTo>
                  <a:lnTo>
                    <a:pt x="99887" y="0"/>
                  </a:lnTo>
                </a:path>
              </a:pathLst>
            </a:custGeom>
            <a:ln w="10895" cap="rnd">
              <a:solidFill>
                <a:srgbClr val="231F20"/>
              </a:solidFill>
              <a:prstDash val="solid"/>
              <a:round/>
            </a:ln>
          </p:spPr>
          <p:txBody>
            <a:bodyPr rtlCol="0" anchor="ctr"/>
            <a:lstStyle/>
            <a:p>
              <a:endParaRPr lang="en-GB"/>
            </a:p>
          </p:txBody>
        </p:sp>
      </p:grpSp>
      <p:sp>
        <p:nvSpPr>
          <p:cNvPr id="1051" name="Rectangle 1050">
            <a:extLst>
              <a:ext uri="{FF2B5EF4-FFF2-40B4-BE49-F238E27FC236}">
                <a16:creationId xmlns:a16="http://schemas.microsoft.com/office/drawing/2014/main" id="{D527FE7D-51A8-8FAD-7DFB-AF4D04EE12F4}"/>
              </a:ext>
            </a:extLst>
          </p:cNvPr>
          <p:cNvSpPr/>
          <p:nvPr/>
        </p:nvSpPr>
        <p:spPr>
          <a:xfrm>
            <a:off x="7662287" y="1422238"/>
            <a:ext cx="1097280" cy="2495563"/>
          </a:xfrm>
          <a:prstGeom prst="rect">
            <a:avLst/>
          </a:prstGeom>
          <a:solidFill>
            <a:srgbClr val="EDF8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b="1">
              <a:solidFill>
                <a:schemeClr val="tx2"/>
              </a:solidFill>
            </a:endParaRPr>
          </a:p>
        </p:txBody>
      </p:sp>
      <p:sp>
        <p:nvSpPr>
          <p:cNvPr id="11" name="ObjectTitle">
            <a:extLst>
              <a:ext uri="{FF2B5EF4-FFF2-40B4-BE49-F238E27FC236}">
                <a16:creationId xmlns:a16="http://schemas.microsoft.com/office/drawing/2014/main" id="{D3E6F05C-D427-5372-8A5E-71A77A438802}"/>
              </a:ext>
            </a:extLst>
          </p:cNvPr>
          <p:cNvSpPr/>
          <p:nvPr>
            <p:custDataLst>
              <p:tags r:id="rId8"/>
            </p:custDataLst>
          </p:nvPr>
        </p:nvSpPr>
        <p:spPr>
          <a:xfrm>
            <a:off x="7662287" y="1218060"/>
            <a:ext cx="1097280" cy="246888"/>
          </a:xfrm>
          <a:prstGeom prst="rect">
            <a:avLst/>
          </a:prstGeom>
          <a:solidFill>
            <a:schemeClr val="bg1"/>
          </a:solidFill>
          <a:ln w="9525" cap="flat" cmpd="sng" algn="ctr">
            <a:noFill/>
            <a:prstDash val="solid"/>
          </a:ln>
          <a:effectLst>
            <a:outerShdw dist="12700" dir="5400000" algn="t"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45720" bIns="27432" numCol="1" spcCol="0" rtlCol="0" fromWordArt="0" anchor="ctr" anchorCtr="0" forceAA="0" compatLnSpc="0">
            <a:prstTxWarp prst="textNoShape">
              <a:avLst/>
            </a:prstTxWarp>
            <a:noAutofit/>
          </a:bodyPr>
          <a:lstStyle/>
          <a:p>
            <a:pPr algn="ctr"/>
            <a:r>
              <a:rPr lang="en-GB" sz="1200" b="1">
                <a:solidFill>
                  <a:schemeClr val="accent1"/>
                </a:solidFill>
                <a:latin typeface="Arial" panose="020B0604020202020204" pitchFamily="34" charset="0"/>
              </a:rPr>
              <a:t>Threading</a:t>
            </a:r>
          </a:p>
        </p:txBody>
      </p:sp>
      <p:sp>
        <p:nvSpPr>
          <p:cNvPr id="16" name="Rounded Rectangle 4">
            <a:extLst>
              <a:ext uri="{FF2B5EF4-FFF2-40B4-BE49-F238E27FC236}">
                <a16:creationId xmlns:a16="http://schemas.microsoft.com/office/drawing/2014/main" id="{CEF06BC3-B45D-A354-D28E-23353B2C555A}"/>
              </a:ext>
            </a:extLst>
          </p:cNvPr>
          <p:cNvSpPr/>
          <p:nvPr>
            <p:custDataLst>
              <p:tags r:id="rId9"/>
            </p:custDataLst>
          </p:nvPr>
        </p:nvSpPr>
        <p:spPr>
          <a:xfrm>
            <a:off x="7681339" y="3373882"/>
            <a:ext cx="1059176" cy="523908"/>
          </a:xfrm>
          <a:prstGeom prst="roundRect">
            <a:avLst>
              <a:gd name="adj" fmla="val 0"/>
            </a:avLst>
          </a:prstGeom>
          <a:noFill/>
          <a:ln w="9525">
            <a:noFill/>
          </a:ln>
          <a:effectLst>
            <a:outerShdw blurRad="127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t" anchorCtr="0" forceAA="0" compatLnSpc="0">
            <a:prstTxWarp prst="textNoShape">
              <a:avLst/>
            </a:prstTxWarp>
            <a:spAutoFit/>
          </a:bodyPr>
          <a:lstStyle/>
          <a:p>
            <a:pPr marL="0" lvl="1" algn="ctr">
              <a:lnSpc>
                <a:spcPct val="110000"/>
              </a:lnSpc>
              <a:spcBef>
                <a:spcPts val="600"/>
              </a:spcBef>
              <a:spcAft>
                <a:spcPct val="0"/>
              </a:spcAft>
              <a:buClr>
                <a:schemeClr val="accent1">
                  <a:lumMod val="100000"/>
                </a:schemeClr>
              </a:buClr>
              <a:buSzPct val="92000"/>
            </a:pPr>
            <a:r>
              <a:rPr lang="en-GB" sz="800" b="1">
                <a:solidFill>
                  <a:schemeClr val="tx1"/>
                </a:solidFill>
                <a:latin typeface="Arial" panose="020B0604020202020204" pitchFamily="34" charset="0"/>
              </a:rPr>
              <a:t>Machining connection threads onto ends of tubes</a:t>
            </a:r>
          </a:p>
        </p:txBody>
      </p:sp>
      <p:grpSp>
        <p:nvGrpSpPr>
          <p:cNvPr id="5" name="Group 4">
            <a:extLst>
              <a:ext uri="{FF2B5EF4-FFF2-40B4-BE49-F238E27FC236}">
                <a16:creationId xmlns:a16="http://schemas.microsoft.com/office/drawing/2014/main" id="{4BECB7AC-AB8F-F829-3C3B-59C00AA1C453}"/>
              </a:ext>
            </a:extLst>
          </p:cNvPr>
          <p:cNvGrpSpPr>
            <a:grpSpLocks noChangeAspect="1"/>
          </p:cNvGrpSpPr>
          <p:nvPr/>
        </p:nvGrpSpPr>
        <p:grpSpPr>
          <a:xfrm>
            <a:off x="7753727" y="2096661"/>
            <a:ext cx="914400" cy="738809"/>
            <a:chOff x="7509372" y="1732179"/>
            <a:chExt cx="1062847" cy="858749"/>
          </a:xfrm>
        </p:grpSpPr>
        <p:sp>
          <p:nvSpPr>
            <p:cNvPr id="1048" name="Freeform: Shape 1047">
              <a:extLst>
                <a:ext uri="{FF2B5EF4-FFF2-40B4-BE49-F238E27FC236}">
                  <a16:creationId xmlns:a16="http://schemas.microsoft.com/office/drawing/2014/main" id="{297E19D5-4768-FDBF-DB50-2F4BE7039A42}"/>
                </a:ext>
              </a:extLst>
            </p:cNvPr>
            <p:cNvSpPr/>
            <p:nvPr/>
          </p:nvSpPr>
          <p:spPr>
            <a:xfrm>
              <a:off x="7509372" y="1929922"/>
              <a:ext cx="156793" cy="459040"/>
            </a:xfrm>
            <a:custGeom>
              <a:avLst/>
              <a:gdLst>
                <a:gd name="connsiteX0" fmla="*/ 156794 w 156793"/>
                <a:gd name="connsiteY0" fmla="*/ 459002 h 459040"/>
                <a:gd name="connsiteX1" fmla="*/ 38133 w 156793"/>
                <a:gd name="connsiteY1" fmla="*/ 459002 h 459040"/>
                <a:gd name="connsiteX2" fmla="*/ 0 w 156793"/>
                <a:gd name="connsiteY2" fmla="*/ 415199 h 459040"/>
                <a:gd name="connsiteX3" fmla="*/ 0 w 156793"/>
                <a:gd name="connsiteY3" fmla="*/ 35279 h 459040"/>
                <a:gd name="connsiteX4" fmla="*/ 33566 w 156793"/>
                <a:gd name="connsiteY4" fmla="*/ 2702 h 459040"/>
                <a:gd name="connsiteX5" fmla="*/ 37067 w 156793"/>
                <a:gd name="connsiteY5" fmla="*/ 1713 h 459040"/>
                <a:gd name="connsiteX6" fmla="*/ 45211 w 156793"/>
                <a:gd name="connsiteY6" fmla="*/ 0 h 459040"/>
                <a:gd name="connsiteX7" fmla="*/ 156794 w 156793"/>
                <a:gd name="connsiteY7" fmla="*/ 0 h 459040"/>
                <a:gd name="connsiteX8" fmla="*/ 156794 w 156793"/>
                <a:gd name="connsiteY8" fmla="*/ 459040 h 45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93" h="459040">
                  <a:moveTo>
                    <a:pt x="156794" y="459002"/>
                  </a:moveTo>
                  <a:lnTo>
                    <a:pt x="38133" y="459002"/>
                  </a:lnTo>
                  <a:cubicBezTo>
                    <a:pt x="38133" y="459002"/>
                    <a:pt x="12711" y="461818"/>
                    <a:pt x="0" y="415199"/>
                  </a:cubicBezTo>
                  <a:lnTo>
                    <a:pt x="0" y="35279"/>
                  </a:lnTo>
                  <a:cubicBezTo>
                    <a:pt x="0" y="35279"/>
                    <a:pt x="2283" y="12445"/>
                    <a:pt x="33566" y="2702"/>
                  </a:cubicBezTo>
                  <a:cubicBezTo>
                    <a:pt x="34708" y="2360"/>
                    <a:pt x="35849" y="2017"/>
                    <a:pt x="37067" y="1713"/>
                  </a:cubicBezTo>
                  <a:cubicBezTo>
                    <a:pt x="39617" y="1066"/>
                    <a:pt x="42319" y="457"/>
                    <a:pt x="45211" y="0"/>
                  </a:cubicBezTo>
                  <a:lnTo>
                    <a:pt x="156794" y="0"/>
                  </a:lnTo>
                  <a:lnTo>
                    <a:pt x="156794" y="459040"/>
                  </a:lnTo>
                  <a:close/>
                </a:path>
              </a:pathLst>
            </a:custGeom>
            <a:noFill/>
            <a:ln w="8522" cap="flat">
              <a:solidFill>
                <a:srgbClr val="231F20"/>
              </a:solidFill>
              <a:prstDash val="solid"/>
              <a:miter/>
            </a:ln>
          </p:spPr>
          <p:txBody>
            <a:bodyPr rtlCol="0" anchor="ctr"/>
            <a:lstStyle/>
            <a:p>
              <a:endParaRPr lang="en-US"/>
            </a:p>
          </p:txBody>
        </p:sp>
        <p:sp>
          <p:nvSpPr>
            <p:cNvPr id="1067" name="Freeform: Shape 1066">
              <a:extLst>
                <a:ext uri="{FF2B5EF4-FFF2-40B4-BE49-F238E27FC236}">
                  <a16:creationId xmlns:a16="http://schemas.microsoft.com/office/drawing/2014/main" id="{2EE47447-BD4E-DB41-C286-3C86BEE3A8A6}"/>
                </a:ext>
              </a:extLst>
            </p:cNvPr>
            <p:cNvSpPr/>
            <p:nvPr/>
          </p:nvSpPr>
          <p:spPr>
            <a:xfrm>
              <a:off x="7541453" y="1932624"/>
              <a:ext cx="3805" cy="455614"/>
            </a:xfrm>
            <a:custGeom>
              <a:avLst/>
              <a:gdLst>
                <a:gd name="connsiteX0" fmla="*/ 0 w 3805"/>
                <a:gd name="connsiteY0" fmla="*/ 455615 h 455614"/>
                <a:gd name="connsiteX1" fmla="*/ 0 w 3805"/>
                <a:gd name="connsiteY1" fmla="*/ 0 h 455614"/>
              </a:gdLst>
              <a:ahLst/>
              <a:cxnLst>
                <a:cxn ang="0">
                  <a:pos x="connsiteX0" y="connsiteY0"/>
                </a:cxn>
                <a:cxn ang="0">
                  <a:pos x="connsiteX1" y="connsiteY1"/>
                </a:cxn>
              </a:cxnLst>
              <a:rect l="l" t="t" r="r" b="b"/>
              <a:pathLst>
                <a:path w="3805" h="455614">
                  <a:moveTo>
                    <a:pt x="0" y="455615"/>
                  </a:moveTo>
                  <a:lnTo>
                    <a:pt x="0" y="0"/>
                  </a:lnTo>
                </a:path>
              </a:pathLst>
            </a:custGeom>
            <a:ln w="8522" cap="flat">
              <a:solidFill>
                <a:srgbClr val="231F20"/>
              </a:solidFill>
              <a:prstDash val="solid"/>
              <a:miter/>
            </a:ln>
          </p:spPr>
          <p:txBody>
            <a:bodyPr rtlCol="0" anchor="ctr"/>
            <a:lstStyle/>
            <a:p>
              <a:endParaRPr lang="en-US"/>
            </a:p>
          </p:txBody>
        </p:sp>
        <p:sp>
          <p:nvSpPr>
            <p:cNvPr id="1068" name="Freeform: Shape 1067">
              <a:extLst>
                <a:ext uri="{FF2B5EF4-FFF2-40B4-BE49-F238E27FC236}">
                  <a16:creationId xmlns:a16="http://schemas.microsoft.com/office/drawing/2014/main" id="{C15EEDA8-301C-33B7-5EA5-E4D7763C78FB}"/>
                </a:ext>
              </a:extLst>
            </p:cNvPr>
            <p:cNvSpPr/>
            <p:nvPr/>
          </p:nvSpPr>
          <p:spPr>
            <a:xfrm>
              <a:off x="7666165" y="1732179"/>
              <a:ext cx="252810" cy="858749"/>
            </a:xfrm>
            <a:custGeom>
              <a:avLst/>
              <a:gdLst>
                <a:gd name="connsiteX0" fmla="*/ 0 w 252810"/>
                <a:gd name="connsiteY0" fmla="*/ 858750 h 858749"/>
                <a:gd name="connsiteX1" fmla="*/ 0 w 252810"/>
                <a:gd name="connsiteY1" fmla="*/ 0 h 858749"/>
                <a:gd name="connsiteX2" fmla="*/ 80490 w 252810"/>
                <a:gd name="connsiteY2" fmla="*/ 0 h 858749"/>
                <a:gd name="connsiteX3" fmla="*/ 80490 w 252810"/>
                <a:gd name="connsiteY3" fmla="*/ 79082 h 858749"/>
                <a:gd name="connsiteX4" fmla="*/ 177953 w 252810"/>
                <a:gd name="connsiteY4" fmla="*/ 79082 h 858749"/>
                <a:gd name="connsiteX5" fmla="*/ 177953 w 252810"/>
                <a:gd name="connsiteY5" fmla="*/ 173729 h 858749"/>
                <a:gd name="connsiteX6" fmla="*/ 252811 w 252810"/>
                <a:gd name="connsiteY6" fmla="*/ 173729 h 858749"/>
                <a:gd name="connsiteX7" fmla="*/ 252811 w 252810"/>
                <a:gd name="connsiteY7" fmla="*/ 685021 h 858749"/>
                <a:gd name="connsiteX8" fmla="*/ 173691 w 252810"/>
                <a:gd name="connsiteY8" fmla="*/ 685021 h 858749"/>
                <a:gd name="connsiteX9" fmla="*/ 173691 w 252810"/>
                <a:gd name="connsiteY9" fmla="*/ 778222 h 858749"/>
                <a:gd name="connsiteX10" fmla="*/ 81898 w 252810"/>
                <a:gd name="connsiteY10" fmla="*/ 778222 h 858749"/>
                <a:gd name="connsiteX11" fmla="*/ 81898 w 252810"/>
                <a:gd name="connsiteY11" fmla="*/ 858750 h 858749"/>
                <a:gd name="connsiteX12" fmla="*/ 0 w 252810"/>
                <a:gd name="connsiteY12" fmla="*/ 858750 h 858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810" h="858749">
                  <a:moveTo>
                    <a:pt x="0" y="858750"/>
                  </a:moveTo>
                  <a:lnTo>
                    <a:pt x="0" y="0"/>
                  </a:lnTo>
                  <a:lnTo>
                    <a:pt x="80490" y="0"/>
                  </a:lnTo>
                  <a:lnTo>
                    <a:pt x="80490" y="79082"/>
                  </a:lnTo>
                  <a:lnTo>
                    <a:pt x="177953" y="79082"/>
                  </a:lnTo>
                  <a:lnTo>
                    <a:pt x="177953" y="173729"/>
                  </a:lnTo>
                  <a:lnTo>
                    <a:pt x="252811" y="173729"/>
                  </a:lnTo>
                  <a:lnTo>
                    <a:pt x="252811" y="685021"/>
                  </a:lnTo>
                  <a:lnTo>
                    <a:pt x="173691" y="685021"/>
                  </a:lnTo>
                  <a:lnTo>
                    <a:pt x="173691" y="778222"/>
                  </a:lnTo>
                  <a:lnTo>
                    <a:pt x="81898" y="778222"/>
                  </a:lnTo>
                  <a:lnTo>
                    <a:pt x="81898" y="858750"/>
                  </a:lnTo>
                  <a:lnTo>
                    <a:pt x="0" y="858750"/>
                  </a:lnTo>
                  <a:close/>
                </a:path>
              </a:pathLst>
            </a:custGeom>
            <a:noFill/>
            <a:ln w="8522" cap="flat">
              <a:solidFill>
                <a:srgbClr val="231F20"/>
              </a:solidFill>
              <a:prstDash val="solid"/>
              <a:miter/>
            </a:ln>
          </p:spPr>
          <p:txBody>
            <a:bodyPr rtlCol="0" anchor="ctr"/>
            <a:lstStyle/>
            <a:p>
              <a:endParaRPr lang="en-US"/>
            </a:p>
          </p:txBody>
        </p:sp>
        <p:sp>
          <p:nvSpPr>
            <p:cNvPr id="1069" name="Freeform: Shape 1068">
              <a:extLst>
                <a:ext uri="{FF2B5EF4-FFF2-40B4-BE49-F238E27FC236}">
                  <a16:creationId xmlns:a16="http://schemas.microsoft.com/office/drawing/2014/main" id="{53087F5E-06B5-F796-7821-F2D23FCEC046}"/>
                </a:ext>
              </a:extLst>
            </p:cNvPr>
            <p:cNvSpPr/>
            <p:nvPr/>
          </p:nvSpPr>
          <p:spPr>
            <a:xfrm>
              <a:off x="8339883" y="2242063"/>
              <a:ext cx="122847" cy="83306"/>
            </a:xfrm>
            <a:custGeom>
              <a:avLst/>
              <a:gdLst>
                <a:gd name="connsiteX0" fmla="*/ 0 w 122847"/>
                <a:gd name="connsiteY0" fmla="*/ 83306 h 83306"/>
                <a:gd name="connsiteX1" fmla="*/ 60700 w 122847"/>
                <a:gd name="connsiteY1" fmla="*/ 0 h 83306"/>
                <a:gd name="connsiteX2" fmla="*/ 122847 w 122847"/>
                <a:gd name="connsiteY2" fmla="*/ 83306 h 83306"/>
                <a:gd name="connsiteX3" fmla="*/ 0 w 122847"/>
                <a:gd name="connsiteY3" fmla="*/ 83306 h 83306"/>
              </a:gdLst>
              <a:ahLst/>
              <a:cxnLst>
                <a:cxn ang="0">
                  <a:pos x="connsiteX0" y="connsiteY0"/>
                </a:cxn>
                <a:cxn ang="0">
                  <a:pos x="connsiteX1" y="connsiteY1"/>
                </a:cxn>
                <a:cxn ang="0">
                  <a:pos x="connsiteX2" y="connsiteY2"/>
                </a:cxn>
                <a:cxn ang="0">
                  <a:pos x="connsiteX3" y="connsiteY3"/>
                </a:cxn>
              </a:cxnLst>
              <a:rect l="l" t="t" r="r" b="b"/>
              <a:pathLst>
                <a:path w="122847" h="83306">
                  <a:moveTo>
                    <a:pt x="0" y="83306"/>
                  </a:moveTo>
                  <a:lnTo>
                    <a:pt x="60700" y="0"/>
                  </a:lnTo>
                  <a:lnTo>
                    <a:pt x="122847" y="83306"/>
                  </a:lnTo>
                  <a:lnTo>
                    <a:pt x="0" y="83306"/>
                  </a:lnTo>
                  <a:close/>
                </a:path>
              </a:pathLst>
            </a:custGeom>
            <a:noFill/>
            <a:ln w="8522" cap="rnd">
              <a:solidFill>
                <a:srgbClr val="231F20"/>
              </a:solidFill>
              <a:prstDash val="solid"/>
              <a:round/>
            </a:ln>
          </p:spPr>
          <p:txBody>
            <a:bodyPr rtlCol="0" anchor="ctr"/>
            <a:lstStyle/>
            <a:p>
              <a:endParaRPr lang="en-US"/>
            </a:p>
          </p:txBody>
        </p:sp>
        <p:sp>
          <p:nvSpPr>
            <p:cNvPr id="1070" name="Freeform: Shape 1069">
              <a:extLst>
                <a:ext uri="{FF2B5EF4-FFF2-40B4-BE49-F238E27FC236}">
                  <a16:creationId xmlns:a16="http://schemas.microsoft.com/office/drawing/2014/main" id="{AD6B3913-00D3-1171-EFF1-2A473BD43235}"/>
                </a:ext>
              </a:extLst>
            </p:cNvPr>
            <p:cNvSpPr/>
            <p:nvPr/>
          </p:nvSpPr>
          <p:spPr>
            <a:xfrm>
              <a:off x="7666165" y="2028755"/>
              <a:ext cx="442066" cy="262705"/>
            </a:xfrm>
            <a:custGeom>
              <a:avLst/>
              <a:gdLst>
                <a:gd name="connsiteX0" fmla="*/ 0 w 442066"/>
                <a:gd name="connsiteY0" fmla="*/ 0 h 262705"/>
                <a:gd name="connsiteX1" fmla="*/ 442067 w 442066"/>
                <a:gd name="connsiteY1" fmla="*/ 0 h 262705"/>
                <a:gd name="connsiteX2" fmla="*/ 442067 w 442066"/>
                <a:gd name="connsiteY2" fmla="*/ 262705 h 262705"/>
                <a:gd name="connsiteX3" fmla="*/ 0 w 442066"/>
                <a:gd name="connsiteY3" fmla="*/ 262705 h 262705"/>
              </a:gdLst>
              <a:ahLst/>
              <a:cxnLst>
                <a:cxn ang="0">
                  <a:pos x="connsiteX0" y="connsiteY0"/>
                </a:cxn>
                <a:cxn ang="0">
                  <a:pos x="connsiteX1" y="connsiteY1"/>
                </a:cxn>
                <a:cxn ang="0">
                  <a:pos x="connsiteX2" y="connsiteY2"/>
                </a:cxn>
                <a:cxn ang="0">
                  <a:pos x="connsiteX3" y="connsiteY3"/>
                </a:cxn>
              </a:cxnLst>
              <a:rect l="l" t="t" r="r" b="b"/>
              <a:pathLst>
                <a:path w="442066" h="262705">
                  <a:moveTo>
                    <a:pt x="0" y="0"/>
                  </a:moveTo>
                  <a:lnTo>
                    <a:pt x="442067" y="0"/>
                  </a:lnTo>
                  <a:lnTo>
                    <a:pt x="442067" y="262705"/>
                  </a:lnTo>
                  <a:lnTo>
                    <a:pt x="0" y="262705"/>
                  </a:lnTo>
                  <a:close/>
                </a:path>
              </a:pathLst>
            </a:custGeom>
            <a:solidFill>
              <a:srgbClr val="A9C7DE">
                <a:alpha val="80000"/>
              </a:srgbClr>
            </a:solidFill>
            <a:ln w="8522" cap="flat">
              <a:solidFill>
                <a:srgbClr val="231F20">
                  <a:alpha val="80000"/>
                </a:srgbClr>
              </a:solidFill>
              <a:prstDash val="solid"/>
              <a:miter/>
            </a:ln>
          </p:spPr>
          <p:txBody>
            <a:bodyPr rtlCol="0" anchor="ctr"/>
            <a:lstStyle/>
            <a:p>
              <a:endParaRPr lang="en-US"/>
            </a:p>
          </p:txBody>
        </p:sp>
        <p:sp>
          <p:nvSpPr>
            <p:cNvPr id="1071" name="Freeform: Shape 1070">
              <a:extLst>
                <a:ext uri="{FF2B5EF4-FFF2-40B4-BE49-F238E27FC236}">
                  <a16:creationId xmlns:a16="http://schemas.microsoft.com/office/drawing/2014/main" id="{68B4B050-8211-7912-8164-8010C1687993}"/>
                </a:ext>
              </a:extLst>
            </p:cNvPr>
            <p:cNvSpPr/>
            <p:nvPr/>
          </p:nvSpPr>
          <p:spPr>
            <a:xfrm>
              <a:off x="8108232" y="2064071"/>
              <a:ext cx="96055" cy="187847"/>
            </a:xfrm>
            <a:custGeom>
              <a:avLst/>
              <a:gdLst>
                <a:gd name="connsiteX0" fmla="*/ 0 w 96055"/>
                <a:gd name="connsiteY0" fmla="*/ 0 h 187847"/>
                <a:gd name="connsiteX1" fmla="*/ 96055 w 96055"/>
                <a:gd name="connsiteY1" fmla="*/ 0 h 187847"/>
                <a:gd name="connsiteX2" fmla="*/ 96055 w 96055"/>
                <a:gd name="connsiteY2" fmla="*/ 187848 h 187847"/>
                <a:gd name="connsiteX3" fmla="*/ 0 w 96055"/>
                <a:gd name="connsiteY3" fmla="*/ 187848 h 187847"/>
              </a:gdLst>
              <a:ahLst/>
              <a:cxnLst>
                <a:cxn ang="0">
                  <a:pos x="connsiteX0" y="connsiteY0"/>
                </a:cxn>
                <a:cxn ang="0">
                  <a:pos x="connsiteX1" y="connsiteY1"/>
                </a:cxn>
                <a:cxn ang="0">
                  <a:pos x="connsiteX2" y="connsiteY2"/>
                </a:cxn>
                <a:cxn ang="0">
                  <a:pos x="connsiteX3" y="connsiteY3"/>
                </a:cxn>
              </a:cxnLst>
              <a:rect l="l" t="t" r="r" b="b"/>
              <a:pathLst>
                <a:path w="96055" h="187847">
                  <a:moveTo>
                    <a:pt x="0" y="0"/>
                  </a:moveTo>
                  <a:lnTo>
                    <a:pt x="96055" y="0"/>
                  </a:lnTo>
                  <a:lnTo>
                    <a:pt x="96055" y="187848"/>
                  </a:lnTo>
                  <a:lnTo>
                    <a:pt x="0" y="187848"/>
                  </a:lnTo>
                  <a:close/>
                </a:path>
              </a:pathLst>
            </a:custGeom>
            <a:noFill/>
            <a:ln w="8522" cap="flat">
              <a:solidFill>
                <a:srgbClr val="231F20"/>
              </a:solidFill>
              <a:prstDash val="solid"/>
              <a:miter/>
            </a:ln>
          </p:spPr>
          <p:txBody>
            <a:bodyPr rtlCol="0" anchor="ctr"/>
            <a:lstStyle/>
            <a:p>
              <a:endParaRPr lang="en-US"/>
            </a:p>
          </p:txBody>
        </p:sp>
        <p:sp>
          <p:nvSpPr>
            <p:cNvPr id="1072" name="Freeform: Shape 1071">
              <a:extLst>
                <a:ext uri="{FF2B5EF4-FFF2-40B4-BE49-F238E27FC236}">
                  <a16:creationId xmlns:a16="http://schemas.microsoft.com/office/drawing/2014/main" id="{93214E63-A9B8-935E-7B53-B42809BC1856}"/>
                </a:ext>
              </a:extLst>
            </p:cNvPr>
            <p:cNvSpPr/>
            <p:nvPr/>
          </p:nvSpPr>
          <p:spPr>
            <a:xfrm>
              <a:off x="8521376" y="2098703"/>
              <a:ext cx="50843" cy="115121"/>
            </a:xfrm>
            <a:custGeom>
              <a:avLst/>
              <a:gdLst>
                <a:gd name="connsiteX0" fmla="*/ 0 w 50843"/>
                <a:gd name="connsiteY0" fmla="*/ 0 h 115121"/>
                <a:gd name="connsiteX1" fmla="*/ 50844 w 50843"/>
                <a:gd name="connsiteY1" fmla="*/ 0 h 115121"/>
                <a:gd name="connsiteX2" fmla="*/ 50844 w 50843"/>
                <a:gd name="connsiteY2" fmla="*/ 115122 h 115121"/>
                <a:gd name="connsiteX3" fmla="*/ 0 w 50843"/>
                <a:gd name="connsiteY3" fmla="*/ 115122 h 115121"/>
              </a:gdLst>
              <a:ahLst/>
              <a:cxnLst>
                <a:cxn ang="0">
                  <a:pos x="connsiteX0" y="connsiteY0"/>
                </a:cxn>
                <a:cxn ang="0">
                  <a:pos x="connsiteX1" y="connsiteY1"/>
                </a:cxn>
                <a:cxn ang="0">
                  <a:pos x="connsiteX2" y="connsiteY2"/>
                </a:cxn>
                <a:cxn ang="0">
                  <a:pos x="connsiteX3" y="connsiteY3"/>
                </a:cxn>
              </a:cxnLst>
              <a:rect l="l" t="t" r="r" b="b"/>
              <a:pathLst>
                <a:path w="50843" h="115121">
                  <a:moveTo>
                    <a:pt x="0" y="0"/>
                  </a:moveTo>
                  <a:lnTo>
                    <a:pt x="50844" y="0"/>
                  </a:lnTo>
                  <a:lnTo>
                    <a:pt x="50844" y="115122"/>
                  </a:lnTo>
                  <a:lnTo>
                    <a:pt x="0" y="115122"/>
                  </a:lnTo>
                  <a:close/>
                </a:path>
              </a:pathLst>
            </a:custGeom>
            <a:noFill/>
            <a:ln w="8522" cap="flat">
              <a:solidFill>
                <a:srgbClr val="231F20"/>
              </a:solidFill>
              <a:prstDash val="solid"/>
              <a:miter/>
            </a:ln>
          </p:spPr>
          <p:txBody>
            <a:bodyPr rtlCol="0" anchor="ctr"/>
            <a:lstStyle/>
            <a:p>
              <a:endParaRPr lang="en-US"/>
            </a:p>
          </p:txBody>
        </p:sp>
        <p:sp>
          <p:nvSpPr>
            <p:cNvPr id="1073" name="Freeform: Shape 1072">
              <a:extLst>
                <a:ext uri="{FF2B5EF4-FFF2-40B4-BE49-F238E27FC236}">
                  <a16:creationId xmlns:a16="http://schemas.microsoft.com/office/drawing/2014/main" id="{C58EC363-5437-C81C-CB07-2437AFF8ABEB}"/>
                </a:ext>
              </a:extLst>
            </p:cNvPr>
            <p:cNvSpPr/>
            <p:nvPr/>
          </p:nvSpPr>
          <p:spPr>
            <a:xfrm>
              <a:off x="8339883" y="2325369"/>
              <a:ext cx="168058" cy="190702"/>
            </a:xfrm>
            <a:custGeom>
              <a:avLst/>
              <a:gdLst>
                <a:gd name="connsiteX0" fmla="*/ 0 w 168058"/>
                <a:gd name="connsiteY0" fmla="*/ 0 h 190702"/>
                <a:gd name="connsiteX1" fmla="*/ 122847 w 168058"/>
                <a:gd name="connsiteY1" fmla="*/ 0 h 190702"/>
                <a:gd name="connsiteX2" fmla="*/ 122847 w 168058"/>
                <a:gd name="connsiteY2" fmla="*/ 87568 h 190702"/>
                <a:gd name="connsiteX3" fmla="*/ 168059 w 168058"/>
                <a:gd name="connsiteY3" fmla="*/ 87568 h 190702"/>
                <a:gd name="connsiteX4" fmla="*/ 168059 w 168058"/>
                <a:gd name="connsiteY4" fmla="*/ 190702 h 190702"/>
                <a:gd name="connsiteX5" fmla="*/ 0 w 168058"/>
                <a:gd name="connsiteY5" fmla="*/ 190702 h 190702"/>
                <a:gd name="connsiteX6" fmla="*/ 0 w 168058"/>
                <a:gd name="connsiteY6" fmla="*/ 0 h 19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058" h="190702">
                  <a:moveTo>
                    <a:pt x="0" y="0"/>
                  </a:moveTo>
                  <a:lnTo>
                    <a:pt x="122847" y="0"/>
                  </a:lnTo>
                  <a:lnTo>
                    <a:pt x="122847" y="87568"/>
                  </a:lnTo>
                  <a:lnTo>
                    <a:pt x="168059" y="87568"/>
                  </a:lnTo>
                  <a:lnTo>
                    <a:pt x="168059" y="190702"/>
                  </a:lnTo>
                  <a:lnTo>
                    <a:pt x="0" y="190702"/>
                  </a:lnTo>
                  <a:lnTo>
                    <a:pt x="0" y="0"/>
                  </a:lnTo>
                  <a:close/>
                </a:path>
              </a:pathLst>
            </a:custGeom>
            <a:solidFill>
              <a:srgbClr val="A9C7DE">
                <a:alpha val="80000"/>
              </a:srgbClr>
            </a:solidFill>
            <a:ln w="8522" cap="flat">
              <a:solidFill>
                <a:srgbClr val="231F20">
                  <a:alpha val="80000"/>
                </a:srgbClr>
              </a:solidFill>
              <a:prstDash val="solid"/>
              <a:miter/>
            </a:ln>
          </p:spPr>
          <p:txBody>
            <a:bodyPr rtlCol="0" anchor="ctr"/>
            <a:lstStyle/>
            <a:p>
              <a:endParaRPr lang="en-US"/>
            </a:p>
          </p:txBody>
        </p:sp>
        <p:sp>
          <p:nvSpPr>
            <p:cNvPr id="1074" name="Freeform: Shape 1073">
              <a:extLst>
                <a:ext uri="{FF2B5EF4-FFF2-40B4-BE49-F238E27FC236}">
                  <a16:creationId xmlns:a16="http://schemas.microsoft.com/office/drawing/2014/main" id="{4A781D9D-A460-DC44-E4B7-F7BBCEF37870}"/>
                </a:ext>
              </a:extLst>
            </p:cNvPr>
            <p:cNvSpPr/>
            <p:nvPr/>
          </p:nvSpPr>
          <p:spPr>
            <a:xfrm>
              <a:off x="8204287" y="2048544"/>
              <a:ext cx="237968" cy="193518"/>
            </a:xfrm>
            <a:custGeom>
              <a:avLst/>
              <a:gdLst>
                <a:gd name="connsiteX0" fmla="*/ 0 w 237968"/>
                <a:gd name="connsiteY0" fmla="*/ 38133 h 193518"/>
                <a:gd name="connsiteX1" fmla="*/ 200559 w 237968"/>
                <a:gd name="connsiteY1" fmla="*/ 24737 h 193518"/>
                <a:gd name="connsiteX2" fmla="*/ 219625 w 237968"/>
                <a:gd name="connsiteY2" fmla="*/ 0 h 193518"/>
                <a:gd name="connsiteX3" fmla="*/ 237969 w 237968"/>
                <a:gd name="connsiteY3" fmla="*/ 21883 h 193518"/>
                <a:gd name="connsiteX4" fmla="*/ 237969 w 237968"/>
                <a:gd name="connsiteY4" fmla="*/ 173729 h 193518"/>
                <a:gd name="connsiteX5" fmla="*/ 222441 w 237968"/>
                <a:gd name="connsiteY5" fmla="*/ 193518 h 193518"/>
                <a:gd name="connsiteX6" fmla="*/ 0 w 237968"/>
                <a:gd name="connsiteY6" fmla="*/ 193518 h 193518"/>
                <a:gd name="connsiteX7" fmla="*/ 0 w 237968"/>
                <a:gd name="connsiteY7" fmla="*/ 38133 h 19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968" h="193518">
                  <a:moveTo>
                    <a:pt x="0" y="38133"/>
                  </a:moveTo>
                  <a:lnTo>
                    <a:pt x="200559" y="24737"/>
                  </a:lnTo>
                  <a:lnTo>
                    <a:pt x="219625" y="0"/>
                  </a:lnTo>
                  <a:lnTo>
                    <a:pt x="237969" y="21883"/>
                  </a:lnTo>
                  <a:lnTo>
                    <a:pt x="237969" y="173729"/>
                  </a:lnTo>
                  <a:lnTo>
                    <a:pt x="222441" y="193518"/>
                  </a:lnTo>
                  <a:lnTo>
                    <a:pt x="0" y="193518"/>
                  </a:lnTo>
                  <a:lnTo>
                    <a:pt x="0" y="38133"/>
                  </a:lnTo>
                  <a:close/>
                </a:path>
              </a:pathLst>
            </a:custGeom>
            <a:noFill/>
            <a:ln w="8522" cap="rnd">
              <a:solidFill>
                <a:srgbClr val="231F20"/>
              </a:solidFill>
              <a:prstDash val="solid"/>
              <a:round/>
            </a:ln>
          </p:spPr>
          <p:txBody>
            <a:bodyPr rtlCol="0" anchor="ctr"/>
            <a:lstStyle/>
            <a:p>
              <a:endParaRPr lang="en-US"/>
            </a:p>
          </p:txBody>
        </p:sp>
        <p:sp>
          <p:nvSpPr>
            <p:cNvPr id="1075" name="Freeform: Shape 1074">
              <a:extLst>
                <a:ext uri="{FF2B5EF4-FFF2-40B4-BE49-F238E27FC236}">
                  <a16:creationId xmlns:a16="http://schemas.microsoft.com/office/drawing/2014/main" id="{1624DA89-1260-60D0-5061-AEC763D3A43F}"/>
                </a:ext>
              </a:extLst>
            </p:cNvPr>
            <p:cNvSpPr/>
            <p:nvPr/>
          </p:nvSpPr>
          <p:spPr>
            <a:xfrm>
              <a:off x="8204287" y="2054900"/>
              <a:ext cx="216809" cy="216809"/>
            </a:xfrm>
            <a:custGeom>
              <a:avLst/>
              <a:gdLst>
                <a:gd name="connsiteX0" fmla="*/ 216809 w 216809"/>
                <a:gd name="connsiteY0" fmla="*/ 187163 h 216809"/>
                <a:gd name="connsiteX1" fmla="*/ 200559 w 216809"/>
                <a:gd name="connsiteY1" fmla="*/ 18381 h 216809"/>
                <a:gd name="connsiteX2" fmla="*/ 196297 w 216809"/>
                <a:gd name="connsiteY2" fmla="*/ 187163 h 216809"/>
                <a:gd name="connsiteX3" fmla="*/ 177953 w 216809"/>
                <a:gd name="connsiteY3" fmla="*/ 0 h 216809"/>
                <a:gd name="connsiteX4" fmla="*/ 161703 w 216809"/>
                <a:gd name="connsiteY4" fmla="*/ 201967 h 216809"/>
                <a:gd name="connsiteX5" fmla="*/ 141952 w 216809"/>
                <a:gd name="connsiteY5" fmla="*/ 0 h 216809"/>
                <a:gd name="connsiteX6" fmla="*/ 126386 w 216809"/>
                <a:gd name="connsiteY6" fmla="*/ 203375 h 216809"/>
                <a:gd name="connsiteX7" fmla="*/ 104504 w 216809"/>
                <a:gd name="connsiteY7" fmla="*/ 3539 h 216809"/>
                <a:gd name="connsiteX8" fmla="*/ 89662 w 216809"/>
                <a:gd name="connsiteY8" fmla="*/ 209046 h 216809"/>
                <a:gd name="connsiteX9" fmla="*/ 69187 w 216809"/>
                <a:gd name="connsiteY9" fmla="*/ 9172 h 216809"/>
                <a:gd name="connsiteX10" fmla="*/ 52937 w 216809"/>
                <a:gd name="connsiteY10" fmla="*/ 208322 h 216809"/>
                <a:gd name="connsiteX11" fmla="*/ 34594 w 216809"/>
                <a:gd name="connsiteY11" fmla="*/ 9172 h 216809"/>
                <a:gd name="connsiteX12" fmla="*/ 16250 w 216809"/>
                <a:gd name="connsiteY12" fmla="*/ 216809 h 216809"/>
                <a:gd name="connsiteX13" fmla="*/ 0 w 216809"/>
                <a:gd name="connsiteY13" fmla="*/ 190664 h 216809"/>
                <a:gd name="connsiteX14" fmla="*/ 15527 w 216809"/>
                <a:gd name="connsiteY14" fmla="*/ 27553 h 216809"/>
                <a:gd name="connsiteX15" fmla="*/ 32462 w 216809"/>
                <a:gd name="connsiteY15" fmla="*/ 187163 h 216809"/>
                <a:gd name="connsiteX16" fmla="*/ 53013 w 216809"/>
                <a:gd name="connsiteY16" fmla="*/ 28238 h 216809"/>
                <a:gd name="connsiteX17" fmla="*/ 70595 w 216809"/>
                <a:gd name="connsiteY17" fmla="*/ 187163 h 216809"/>
                <a:gd name="connsiteX18" fmla="*/ 90309 w 216809"/>
                <a:gd name="connsiteY18" fmla="*/ 25726 h 216809"/>
                <a:gd name="connsiteX19" fmla="*/ 105227 w 216809"/>
                <a:gd name="connsiteY19" fmla="*/ 187163 h 216809"/>
                <a:gd name="connsiteX20" fmla="*/ 126463 w 216809"/>
                <a:gd name="connsiteY20" fmla="*/ 23329 h 216809"/>
                <a:gd name="connsiteX21" fmla="*/ 142637 w 216809"/>
                <a:gd name="connsiteY21" fmla="*/ 187163 h 216809"/>
                <a:gd name="connsiteX22" fmla="*/ 161056 w 216809"/>
                <a:gd name="connsiteY22" fmla="*/ 21007 h 216809"/>
                <a:gd name="connsiteX23" fmla="*/ 178676 w 216809"/>
                <a:gd name="connsiteY23" fmla="*/ 187163 h 216809"/>
                <a:gd name="connsiteX24" fmla="*/ 192871 w 216809"/>
                <a:gd name="connsiteY24" fmla="*/ 18876 h 21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6809" h="216809">
                  <a:moveTo>
                    <a:pt x="216809" y="187163"/>
                  </a:moveTo>
                  <a:lnTo>
                    <a:pt x="200559" y="18381"/>
                  </a:lnTo>
                  <a:lnTo>
                    <a:pt x="196297" y="187163"/>
                  </a:lnTo>
                  <a:lnTo>
                    <a:pt x="177953" y="0"/>
                  </a:lnTo>
                  <a:lnTo>
                    <a:pt x="161703" y="201967"/>
                  </a:lnTo>
                  <a:lnTo>
                    <a:pt x="141952" y="0"/>
                  </a:lnTo>
                  <a:lnTo>
                    <a:pt x="126386" y="203375"/>
                  </a:lnTo>
                  <a:lnTo>
                    <a:pt x="104504" y="3539"/>
                  </a:lnTo>
                  <a:lnTo>
                    <a:pt x="89662" y="209046"/>
                  </a:lnTo>
                  <a:lnTo>
                    <a:pt x="69187" y="9172"/>
                  </a:lnTo>
                  <a:lnTo>
                    <a:pt x="52937" y="208322"/>
                  </a:lnTo>
                  <a:lnTo>
                    <a:pt x="34594" y="9172"/>
                  </a:lnTo>
                  <a:lnTo>
                    <a:pt x="16250" y="216809"/>
                  </a:lnTo>
                  <a:lnTo>
                    <a:pt x="0" y="190664"/>
                  </a:lnTo>
                  <a:lnTo>
                    <a:pt x="15527" y="27553"/>
                  </a:lnTo>
                  <a:lnTo>
                    <a:pt x="32462" y="187163"/>
                  </a:lnTo>
                  <a:lnTo>
                    <a:pt x="53013" y="28238"/>
                  </a:lnTo>
                  <a:lnTo>
                    <a:pt x="70595" y="187163"/>
                  </a:lnTo>
                  <a:lnTo>
                    <a:pt x="90309" y="25726"/>
                  </a:lnTo>
                  <a:lnTo>
                    <a:pt x="105227" y="187163"/>
                  </a:lnTo>
                  <a:lnTo>
                    <a:pt x="126463" y="23329"/>
                  </a:lnTo>
                  <a:lnTo>
                    <a:pt x="142637" y="187163"/>
                  </a:lnTo>
                  <a:lnTo>
                    <a:pt x="161056" y="21007"/>
                  </a:lnTo>
                  <a:lnTo>
                    <a:pt x="178676" y="187163"/>
                  </a:lnTo>
                  <a:lnTo>
                    <a:pt x="192871" y="18876"/>
                  </a:lnTo>
                </a:path>
              </a:pathLst>
            </a:custGeom>
            <a:noFill/>
            <a:ln w="8522" cap="rnd">
              <a:solidFill>
                <a:srgbClr val="231F20"/>
              </a:solidFill>
              <a:prstDash val="solid"/>
              <a:round/>
            </a:ln>
          </p:spPr>
          <p:txBody>
            <a:bodyPr rtlCol="0" anchor="ctr"/>
            <a:lstStyle/>
            <a:p>
              <a:endParaRPr lang="en-US"/>
            </a:p>
          </p:txBody>
        </p:sp>
        <p:sp>
          <p:nvSpPr>
            <p:cNvPr id="1076" name="Freeform: Shape 1075">
              <a:extLst>
                <a:ext uri="{FF2B5EF4-FFF2-40B4-BE49-F238E27FC236}">
                  <a16:creationId xmlns:a16="http://schemas.microsoft.com/office/drawing/2014/main" id="{8F087A0C-0204-C7C8-B973-53CF4F72D6F2}"/>
                </a:ext>
              </a:extLst>
            </p:cNvPr>
            <p:cNvSpPr/>
            <p:nvPr/>
          </p:nvSpPr>
          <p:spPr>
            <a:xfrm>
              <a:off x="8458506" y="2128349"/>
              <a:ext cx="62869" cy="60015"/>
            </a:xfrm>
            <a:custGeom>
              <a:avLst/>
              <a:gdLst>
                <a:gd name="connsiteX0" fmla="*/ 62870 w 62869"/>
                <a:gd name="connsiteY0" fmla="*/ 0 h 60015"/>
                <a:gd name="connsiteX1" fmla="*/ 29684 w 62869"/>
                <a:gd name="connsiteY1" fmla="*/ 0 h 60015"/>
                <a:gd name="connsiteX2" fmla="*/ 0 w 62869"/>
                <a:gd name="connsiteY2" fmla="*/ 27896 h 60015"/>
                <a:gd name="connsiteX3" fmla="*/ 31435 w 62869"/>
                <a:gd name="connsiteY3" fmla="*/ 60015 h 60015"/>
                <a:gd name="connsiteX4" fmla="*/ 41444 w 62869"/>
                <a:gd name="connsiteY4" fmla="*/ 60015 h 60015"/>
                <a:gd name="connsiteX5" fmla="*/ 62870 w 62869"/>
                <a:gd name="connsiteY5" fmla="*/ 60015 h 60015"/>
                <a:gd name="connsiteX6" fmla="*/ 62870 w 62869"/>
                <a:gd name="connsiteY6" fmla="*/ 0 h 6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9" h="60015">
                  <a:moveTo>
                    <a:pt x="62870" y="0"/>
                  </a:moveTo>
                  <a:lnTo>
                    <a:pt x="29684" y="0"/>
                  </a:lnTo>
                  <a:lnTo>
                    <a:pt x="0" y="27896"/>
                  </a:lnTo>
                  <a:lnTo>
                    <a:pt x="31435" y="60015"/>
                  </a:lnTo>
                  <a:lnTo>
                    <a:pt x="41444" y="60015"/>
                  </a:lnTo>
                  <a:lnTo>
                    <a:pt x="62870" y="60015"/>
                  </a:lnTo>
                  <a:lnTo>
                    <a:pt x="62870" y="0"/>
                  </a:lnTo>
                  <a:close/>
                </a:path>
              </a:pathLst>
            </a:custGeom>
            <a:noFill/>
            <a:ln w="8522" cap="rnd">
              <a:solidFill>
                <a:srgbClr val="231F20"/>
              </a:solidFill>
              <a:prstDash val="solid"/>
              <a:round/>
            </a:ln>
          </p:spPr>
          <p:txBody>
            <a:bodyPr rtlCol="0" anchor="ctr"/>
            <a:lstStyle/>
            <a:p>
              <a:endParaRPr lang="en-US"/>
            </a:p>
          </p:txBody>
        </p:sp>
        <p:sp>
          <p:nvSpPr>
            <p:cNvPr id="1077" name="Freeform: Shape 1076">
              <a:extLst>
                <a:ext uri="{FF2B5EF4-FFF2-40B4-BE49-F238E27FC236}">
                  <a16:creationId xmlns:a16="http://schemas.microsoft.com/office/drawing/2014/main" id="{673BA9D3-51DA-2B0F-1D4B-4C859BB0D8BF}"/>
                </a:ext>
              </a:extLst>
            </p:cNvPr>
            <p:cNvSpPr/>
            <p:nvPr/>
          </p:nvSpPr>
          <p:spPr>
            <a:xfrm>
              <a:off x="8489941" y="2126941"/>
              <a:ext cx="3805" cy="60015"/>
            </a:xfrm>
            <a:custGeom>
              <a:avLst/>
              <a:gdLst>
                <a:gd name="connsiteX0" fmla="*/ 0 w 3805"/>
                <a:gd name="connsiteY0" fmla="*/ 0 h 60015"/>
                <a:gd name="connsiteX1" fmla="*/ 0 w 3805"/>
                <a:gd name="connsiteY1" fmla="*/ 60015 h 60015"/>
              </a:gdLst>
              <a:ahLst/>
              <a:cxnLst>
                <a:cxn ang="0">
                  <a:pos x="connsiteX0" y="connsiteY0"/>
                </a:cxn>
                <a:cxn ang="0">
                  <a:pos x="connsiteX1" y="connsiteY1"/>
                </a:cxn>
              </a:cxnLst>
              <a:rect l="l" t="t" r="r" b="b"/>
              <a:pathLst>
                <a:path w="3805" h="60015">
                  <a:moveTo>
                    <a:pt x="0" y="0"/>
                  </a:moveTo>
                  <a:lnTo>
                    <a:pt x="0" y="60015"/>
                  </a:lnTo>
                </a:path>
              </a:pathLst>
            </a:custGeom>
            <a:ln w="8522" cap="rnd">
              <a:solidFill>
                <a:srgbClr val="231F20"/>
              </a:solidFill>
              <a:prstDash val="solid"/>
              <a:round/>
            </a:ln>
          </p:spPr>
          <p:txBody>
            <a:bodyPr rtlCol="0" anchor="ctr"/>
            <a:lstStyle/>
            <a:p>
              <a:endParaRPr lang="en-US"/>
            </a:p>
          </p:txBody>
        </p:sp>
      </p:grpSp>
      <p:pic>
        <p:nvPicPr>
          <p:cNvPr id="4" name="Picture 2">
            <a:extLst>
              <a:ext uri="{FF2B5EF4-FFF2-40B4-BE49-F238E27FC236}">
                <a16:creationId xmlns:a16="http://schemas.microsoft.com/office/drawing/2014/main" id="{84FBC48F-26DB-9DE6-10D7-D04F8B70A0AF}"/>
              </a:ext>
            </a:extLst>
          </p:cNvPr>
          <p:cNvPicPr>
            <a:picLocks noChangeAspect="1" noChangeArrowheads="1"/>
          </p:cNvPicPr>
          <p:nvPr/>
        </p:nvPicPr>
        <p:blipFill rotWithShape="1">
          <a:blip r:embed="rId16">
            <a:duotone>
              <a:schemeClr val="accent2">
                <a:shade val="45000"/>
                <a:satMod val="135000"/>
              </a:schemeClr>
              <a:prstClr val="white"/>
            </a:duotone>
            <a:extLst>
              <a:ext uri="{BEBA8EAE-BF5A-486C-A8C5-ECC9F3942E4B}">
                <a14:imgProps xmlns:a14="http://schemas.microsoft.com/office/drawing/2010/main">
                  <a14:imgLayer r:embed="rId17">
                    <a14:imgEffect>
                      <a14:backgroundRemoval t="9524" b="88889" l="1961" r="86275">
                        <a14:foregroundMark x1="35294" y1="85714" x2="35294" y2="85714"/>
                        <a14:foregroundMark x1="19608" y1="50794" x2="19608" y2="50794"/>
                        <a14:foregroundMark x1="3922" y1="79365" x2="3922" y2="79365"/>
                      </a14:backgroundRemoval>
                    </a14:imgEffect>
                    <a14:imgEffect>
                      <a14:saturation sat="0"/>
                    </a14:imgEffect>
                  </a14:imgLayer>
                </a14:imgProps>
              </a:ext>
              <a:ext uri="{28A0092B-C50C-407E-A947-70E740481C1C}">
                <a14:useLocalDpi xmlns:a14="http://schemas.microsoft.com/office/drawing/2010/main" val="0"/>
              </a:ext>
            </a:extLst>
          </a:blip>
          <a:srcRect/>
          <a:stretch/>
        </p:blipFill>
        <p:spPr bwMode="auto">
          <a:xfrm>
            <a:off x="1284273" y="2427439"/>
            <a:ext cx="279288" cy="345002"/>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a:extLst>
              <a:ext uri="{FF2B5EF4-FFF2-40B4-BE49-F238E27FC236}">
                <a16:creationId xmlns:a16="http://schemas.microsoft.com/office/drawing/2014/main" id="{BB183EC0-FE82-ACEB-4845-A99859D6D736}"/>
              </a:ext>
            </a:extLst>
          </p:cNvPr>
          <p:cNvSpPr/>
          <p:nvPr/>
        </p:nvSpPr>
        <p:spPr>
          <a:xfrm>
            <a:off x="5068266" y="1422238"/>
            <a:ext cx="1097280" cy="2486977"/>
          </a:xfrm>
          <a:prstGeom prst="rect">
            <a:avLst/>
          </a:prstGeom>
          <a:solidFill>
            <a:srgbClr val="EDF8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a:solidFill>
                <a:schemeClr val="tx2"/>
              </a:solidFill>
            </a:endParaRPr>
          </a:p>
        </p:txBody>
      </p:sp>
      <p:sp>
        <p:nvSpPr>
          <p:cNvPr id="9" name="ObjectTitle">
            <a:extLst>
              <a:ext uri="{FF2B5EF4-FFF2-40B4-BE49-F238E27FC236}">
                <a16:creationId xmlns:a16="http://schemas.microsoft.com/office/drawing/2014/main" id="{614C2577-D1C8-F9EB-557D-6F2B19960F0F}"/>
              </a:ext>
            </a:extLst>
          </p:cNvPr>
          <p:cNvSpPr/>
          <p:nvPr>
            <p:custDataLst>
              <p:tags r:id="rId10"/>
            </p:custDataLst>
          </p:nvPr>
        </p:nvSpPr>
        <p:spPr>
          <a:xfrm>
            <a:off x="5068266" y="1218060"/>
            <a:ext cx="1097280" cy="246888"/>
          </a:xfrm>
          <a:prstGeom prst="rect">
            <a:avLst/>
          </a:prstGeom>
          <a:solidFill>
            <a:schemeClr val="bg1"/>
          </a:solidFill>
          <a:ln w="9525" cap="flat" cmpd="sng" algn="ctr">
            <a:noFill/>
            <a:prstDash val="solid"/>
          </a:ln>
          <a:effectLst>
            <a:outerShdw dist="12700" dir="5400000" algn="t"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45720" bIns="27432" numCol="1" spcCol="0" rtlCol="0" fromWordArt="0" anchor="ctr" anchorCtr="0" forceAA="0" compatLnSpc="0">
            <a:prstTxWarp prst="textNoShape">
              <a:avLst/>
            </a:prstTxWarp>
            <a:noAutofit/>
          </a:bodyPr>
          <a:lstStyle/>
          <a:p>
            <a:pPr algn="ctr"/>
            <a:r>
              <a:rPr lang="en-GB" sz="1200" b="1">
                <a:solidFill>
                  <a:schemeClr val="accent1"/>
                </a:solidFill>
                <a:latin typeface="Arial" panose="020B0604020202020204" pitchFamily="34" charset="0"/>
              </a:rPr>
              <a:t>Rolling</a:t>
            </a:r>
          </a:p>
        </p:txBody>
      </p:sp>
      <p:sp>
        <p:nvSpPr>
          <p:cNvPr id="14" name="Rounded Rectangle 4">
            <a:extLst>
              <a:ext uri="{FF2B5EF4-FFF2-40B4-BE49-F238E27FC236}">
                <a16:creationId xmlns:a16="http://schemas.microsoft.com/office/drawing/2014/main" id="{014CD0D0-DD41-F9D7-ED9A-2280FAAEC09A}"/>
              </a:ext>
            </a:extLst>
          </p:cNvPr>
          <p:cNvSpPr/>
          <p:nvPr>
            <p:custDataLst>
              <p:tags r:id="rId11"/>
            </p:custDataLst>
          </p:nvPr>
        </p:nvSpPr>
        <p:spPr>
          <a:xfrm>
            <a:off x="5067878" y="3373882"/>
            <a:ext cx="1098059" cy="523908"/>
          </a:xfrm>
          <a:prstGeom prst="roundRect">
            <a:avLst>
              <a:gd name="adj" fmla="val 0"/>
            </a:avLst>
          </a:prstGeom>
          <a:noFill/>
          <a:ln w="9525">
            <a:noFill/>
          </a:ln>
          <a:effectLst>
            <a:outerShdw blurRad="127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t" anchorCtr="0" forceAA="0" compatLnSpc="0">
            <a:prstTxWarp prst="textNoShape">
              <a:avLst/>
            </a:prstTxWarp>
            <a:spAutoFit/>
          </a:bodyPr>
          <a:lstStyle/>
          <a:p>
            <a:pPr marL="0" lvl="1" algn="ctr">
              <a:lnSpc>
                <a:spcPct val="110000"/>
              </a:lnSpc>
              <a:spcBef>
                <a:spcPts val="600"/>
              </a:spcBef>
              <a:spcAft>
                <a:spcPct val="0"/>
              </a:spcAft>
              <a:buClr>
                <a:schemeClr val="accent1">
                  <a:lumMod val="100000"/>
                </a:schemeClr>
              </a:buClr>
              <a:buSzPct val="92000"/>
            </a:pPr>
            <a:r>
              <a:rPr lang="en-GB" sz="800" b="1">
                <a:solidFill>
                  <a:schemeClr val="tx1"/>
                </a:solidFill>
                <a:latin typeface="Arial" panose="020B0604020202020204" pitchFamily="34" charset="0"/>
              </a:rPr>
              <a:t>Piercing and elongation of billets into hollow tubes</a:t>
            </a:r>
          </a:p>
        </p:txBody>
      </p:sp>
      <p:pic>
        <p:nvPicPr>
          <p:cNvPr id="12" name="Picture 2" descr="Vallourec Plug Pierce Rolling Process - YouTube">
            <a:extLst>
              <a:ext uri="{FF2B5EF4-FFF2-40B4-BE49-F238E27FC236}">
                <a16:creationId xmlns:a16="http://schemas.microsoft.com/office/drawing/2014/main" id="{46CB0B00-087C-92A0-BDF3-E3F6D928C288}"/>
              </a:ext>
            </a:extLst>
          </p:cNvPr>
          <p:cNvPicPr>
            <a:picLocks noChangeAspect="1" noChangeArrowheads="1"/>
          </p:cNvPicPr>
          <p:nvPr/>
        </p:nvPicPr>
        <p:blipFill rotWithShape="1">
          <a:blip r:embed="rId18">
            <a:clrChange>
              <a:clrFrom>
                <a:srgbClr val="FDFDFD"/>
              </a:clrFrom>
              <a:clrTo>
                <a:srgbClr val="FDFDFD">
                  <a:alpha val="0"/>
                </a:srgbClr>
              </a:clrTo>
            </a:clrChange>
            <a:extLst>
              <a:ext uri="{28A0092B-C50C-407E-A947-70E740481C1C}">
                <a14:useLocalDpi xmlns:a14="http://schemas.microsoft.com/office/drawing/2010/main" val="0"/>
              </a:ext>
            </a:extLst>
          </a:blip>
          <a:srcRect l="3236" t="-1369" r="13952" b="1369"/>
          <a:stretch/>
        </p:blipFill>
        <p:spPr bwMode="auto">
          <a:xfrm>
            <a:off x="5082324" y="2056218"/>
            <a:ext cx="1069164" cy="726291"/>
          </a:xfrm>
          <a:prstGeom prst="diamond">
            <a:avLst/>
          </a:prstGeom>
          <a:noFill/>
          <a:extLst>
            <a:ext uri="{909E8E84-426E-40DD-AFC4-6F175D3DCCD1}">
              <a14:hiddenFill xmlns:a14="http://schemas.microsoft.com/office/drawing/2010/main">
                <a:solidFill>
                  <a:srgbClr val="FFFFFF"/>
                </a:solidFill>
              </a14:hiddenFill>
            </a:ext>
          </a:extLst>
        </p:spPr>
      </p:pic>
      <p:sp>
        <p:nvSpPr>
          <p:cNvPr id="1050" name="Rectangle 1049">
            <a:extLst>
              <a:ext uri="{FF2B5EF4-FFF2-40B4-BE49-F238E27FC236}">
                <a16:creationId xmlns:a16="http://schemas.microsoft.com/office/drawing/2014/main" id="{128258CA-50F1-02F1-CF2B-FBFB7F3DD2E3}"/>
              </a:ext>
            </a:extLst>
          </p:cNvPr>
          <p:cNvSpPr/>
          <p:nvPr/>
        </p:nvSpPr>
        <p:spPr>
          <a:xfrm>
            <a:off x="6364496" y="1422238"/>
            <a:ext cx="1097280" cy="2486976"/>
          </a:xfrm>
          <a:prstGeom prst="rect">
            <a:avLst/>
          </a:prstGeom>
          <a:solidFill>
            <a:srgbClr val="EDF8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a:solidFill>
                <a:schemeClr val="tx2"/>
              </a:solidFill>
            </a:endParaRPr>
          </a:p>
        </p:txBody>
      </p:sp>
      <p:sp>
        <p:nvSpPr>
          <p:cNvPr id="10" name="ObjectTitle">
            <a:extLst>
              <a:ext uri="{FF2B5EF4-FFF2-40B4-BE49-F238E27FC236}">
                <a16:creationId xmlns:a16="http://schemas.microsoft.com/office/drawing/2014/main" id="{1F07E3C6-FD74-35E7-4A0E-E6780673E587}"/>
              </a:ext>
            </a:extLst>
          </p:cNvPr>
          <p:cNvSpPr/>
          <p:nvPr>
            <p:custDataLst>
              <p:tags r:id="rId12"/>
            </p:custDataLst>
          </p:nvPr>
        </p:nvSpPr>
        <p:spPr>
          <a:xfrm>
            <a:off x="6364496" y="1013742"/>
            <a:ext cx="1097280" cy="451206"/>
          </a:xfrm>
          <a:prstGeom prst="rect">
            <a:avLst/>
          </a:prstGeom>
          <a:solidFill>
            <a:schemeClr val="bg1"/>
          </a:solidFill>
          <a:ln w="9525" cap="flat" cmpd="sng" algn="ctr">
            <a:noFill/>
            <a:prstDash val="solid"/>
          </a:ln>
          <a:effectLst>
            <a:outerShdw dist="12700" dir="5400000" algn="t"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45720" bIns="27432" numCol="1" spcCol="0" rtlCol="0" fromWordArt="0" anchor="ctr" anchorCtr="0" forceAA="0" compatLnSpc="0">
            <a:prstTxWarp prst="textNoShape">
              <a:avLst/>
            </a:prstTxWarp>
            <a:noAutofit/>
          </a:bodyPr>
          <a:lstStyle/>
          <a:p>
            <a:pPr algn="ctr"/>
            <a:r>
              <a:rPr lang="en-GB" sz="1200" b="1">
                <a:solidFill>
                  <a:schemeClr val="accent1"/>
                </a:solidFill>
                <a:latin typeface="Arial" panose="020B0604020202020204" pitchFamily="34" charset="0"/>
              </a:rPr>
              <a:t>Heat Treatment</a:t>
            </a:r>
          </a:p>
        </p:txBody>
      </p:sp>
      <p:sp>
        <p:nvSpPr>
          <p:cNvPr id="15" name="Rounded Rectangle 4">
            <a:extLst>
              <a:ext uri="{FF2B5EF4-FFF2-40B4-BE49-F238E27FC236}">
                <a16:creationId xmlns:a16="http://schemas.microsoft.com/office/drawing/2014/main" id="{2C795F19-63FE-4D91-3654-57351612BD41}"/>
              </a:ext>
            </a:extLst>
          </p:cNvPr>
          <p:cNvSpPr/>
          <p:nvPr>
            <p:custDataLst>
              <p:tags r:id="rId13"/>
            </p:custDataLst>
          </p:nvPr>
        </p:nvSpPr>
        <p:spPr>
          <a:xfrm>
            <a:off x="6364496" y="3373882"/>
            <a:ext cx="1097280" cy="523908"/>
          </a:xfrm>
          <a:prstGeom prst="roundRect">
            <a:avLst>
              <a:gd name="adj" fmla="val 0"/>
            </a:avLst>
          </a:prstGeom>
          <a:noFill/>
          <a:ln w="9525">
            <a:noFill/>
          </a:ln>
          <a:effectLst>
            <a:outerShdw blurRad="127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t" anchorCtr="0" forceAA="0" compatLnSpc="0">
            <a:prstTxWarp prst="textNoShape">
              <a:avLst/>
            </a:prstTxWarp>
            <a:spAutoFit/>
          </a:bodyPr>
          <a:lstStyle/>
          <a:p>
            <a:pPr marL="0" lvl="1" algn="ctr">
              <a:lnSpc>
                <a:spcPct val="110000"/>
              </a:lnSpc>
              <a:spcBef>
                <a:spcPts val="600"/>
              </a:spcBef>
              <a:spcAft>
                <a:spcPct val="0"/>
              </a:spcAft>
              <a:buClr>
                <a:schemeClr val="accent1">
                  <a:lumMod val="100000"/>
                </a:schemeClr>
              </a:buClr>
              <a:buSzPct val="92000"/>
            </a:pPr>
            <a:r>
              <a:rPr lang="en-GB" sz="800" b="1">
                <a:solidFill>
                  <a:schemeClr val="tx1"/>
                </a:solidFill>
                <a:latin typeface="Arial" panose="020B0604020202020204" pitchFamily="34" charset="0"/>
              </a:rPr>
              <a:t>Heating and cooling process to alter tubes’ mechanical properties</a:t>
            </a:r>
          </a:p>
        </p:txBody>
      </p:sp>
      <p:grpSp>
        <p:nvGrpSpPr>
          <p:cNvPr id="60" name="Group 59">
            <a:extLst>
              <a:ext uri="{FF2B5EF4-FFF2-40B4-BE49-F238E27FC236}">
                <a16:creationId xmlns:a16="http://schemas.microsoft.com/office/drawing/2014/main" id="{0C9B7743-A5A6-C415-822E-2734D4DD11C6}"/>
              </a:ext>
            </a:extLst>
          </p:cNvPr>
          <p:cNvGrpSpPr/>
          <p:nvPr/>
        </p:nvGrpSpPr>
        <p:grpSpPr>
          <a:xfrm>
            <a:off x="6459527" y="2228153"/>
            <a:ext cx="907218" cy="466721"/>
            <a:chOff x="5759306" y="2047108"/>
            <a:chExt cx="1196788" cy="496032"/>
          </a:xfrm>
        </p:grpSpPr>
        <p:sp>
          <p:nvSpPr>
            <p:cNvPr id="56" name="Oval 55">
              <a:extLst>
                <a:ext uri="{FF2B5EF4-FFF2-40B4-BE49-F238E27FC236}">
                  <a16:creationId xmlns:a16="http://schemas.microsoft.com/office/drawing/2014/main" id="{8F2F5F4A-0CAD-D25D-B4FB-262A5F708C6E}"/>
                </a:ext>
              </a:extLst>
            </p:cNvPr>
            <p:cNvSpPr/>
            <p:nvPr/>
          </p:nvSpPr>
          <p:spPr>
            <a:xfrm>
              <a:off x="5807949" y="2047108"/>
              <a:ext cx="1148145" cy="496032"/>
            </a:xfrm>
            <a:prstGeom prst="ellipse">
              <a:avLst/>
            </a:prstGeom>
            <a:solidFill>
              <a:srgbClr val="C00000">
                <a:alpha val="20000"/>
              </a:srgbClr>
            </a:solidFill>
            <a:ln w="9525">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34" name="Cube 33">
              <a:extLst>
                <a:ext uri="{FF2B5EF4-FFF2-40B4-BE49-F238E27FC236}">
                  <a16:creationId xmlns:a16="http://schemas.microsoft.com/office/drawing/2014/main" id="{EEC761EF-1AD1-0421-EF55-5EAC9C2A8833}"/>
                </a:ext>
              </a:extLst>
            </p:cNvPr>
            <p:cNvSpPr/>
            <p:nvPr/>
          </p:nvSpPr>
          <p:spPr>
            <a:xfrm>
              <a:off x="5928561" y="2169977"/>
              <a:ext cx="906923" cy="260384"/>
            </a:xfrm>
            <a:prstGeom prst="cube">
              <a:avLst/>
            </a:prstGeom>
            <a:solidFill>
              <a:schemeClr val="accent4">
                <a:lumMod val="20000"/>
                <a:lumOff val="80000"/>
              </a:schemeClr>
            </a:solidFill>
            <a:ln w="19050">
              <a:solidFill>
                <a:schemeClr val="tx2">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32" name="Cylinder 31">
              <a:extLst>
                <a:ext uri="{FF2B5EF4-FFF2-40B4-BE49-F238E27FC236}">
                  <a16:creationId xmlns:a16="http://schemas.microsoft.com/office/drawing/2014/main" id="{C23E3C2E-31E1-0D14-9957-1A10855F2519}"/>
                </a:ext>
              </a:extLst>
            </p:cNvPr>
            <p:cNvSpPr/>
            <p:nvPr/>
          </p:nvSpPr>
          <p:spPr>
            <a:xfrm rot="5400000">
              <a:off x="6304047" y="1718062"/>
              <a:ext cx="82716" cy="1172197"/>
            </a:xfrm>
            <a:prstGeom prst="can">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lin ang="0" scaled="0"/>
              <a:tileRect/>
            </a:gra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42" name="Rectangle 41">
              <a:extLst>
                <a:ext uri="{FF2B5EF4-FFF2-40B4-BE49-F238E27FC236}">
                  <a16:creationId xmlns:a16="http://schemas.microsoft.com/office/drawing/2014/main" id="{AA1D6FA0-BBFF-0D32-A169-8E7EB3D0A157}"/>
                </a:ext>
              </a:extLst>
            </p:cNvPr>
            <p:cNvSpPr/>
            <p:nvPr/>
          </p:nvSpPr>
          <p:spPr>
            <a:xfrm>
              <a:off x="5928561" y="2240467"/>
              <a:ext cx="838776" cy="186266"/>
            </a:xfrm>
            <a:prstGeom prst="rect">
              <a:avLst/>
            </a:prstGeom>
            <a:solidFill>
              <a:schemeClr val="accent4">
                <a:lumMod val="20000"/>
                <a:lumOff val="80000"/>
              </a:schemeClr>
            </a:solidFill>
            <a:ln w="19050">
              <a:solidFill>
                <a:schemeClr val="tx2">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grpSp>
      <p:sp>
        <p:nvSpPr>
          <p:cNvPr id="1024" name="Arrow: Chevron 1023">
            <a:extLst>
              <a:ext uri="{FF2B5EF4-FFF2-40B4-BE49-F238E27FC236}">
                <a16:creationId xmlns:a16="http://schemas.microsoft.com/office/drawing/2014/main" id="{7AB8017E-27F1-03E8-B4C3-9550067E7F6E}"/>
              </a:ext>
            </a:extLst>
          </p:cNvPr>
          <p:cNvSpPr/>
          <p:nvPr/>
        </p:nvSpPr>
        <p:spPr>
          <a:xfrm>
            <a:off x="942844" y="2495483"/>
            <a:ext cx="182880" cy="182880"/>
          </a:xfrm>
          <a:prstGeom prst="chevron">
            <a:avLst/>
          </a:prstGeom>
          <a:solidFill>
            <a:srgbClr val="0077C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a:solidFill>
                <a:schemeClr val="tx2"/>
              </a:solidFill>
            </a:endParaRPr>
          </a:p>
        </p:txBody>
      </p:sp>
      <p:sp>
        <p:nvSpPr>
          <p:cNvPr id="1030" name="TextBox 1029">
            <a:extLst>
              <a:ext uri="{FF2B5EF4-FFF2-40B4-BE49-F238E27FC236}">
                <a16:creationId xmlns:a16="http://schemas.microsoft.com/office/drawing/2014/main" id="{1B8CA082-EE4E-9650-D28B-DE2928F6233E}"/>
              </a:ext>
            </a:extLst>
          </p:cNvPr>
          <p:cNvSpPr txBox="1"/>
          <p:nvPr/>
        </p:nvSpPr>
        <p:spPr>
          <a:xfrm>
            <a:off x="1993240" y="2718031"/>
            <a:ext cx="327077" cy="146258"/>
          </a:xfrm>
          <a:prstGeom prst="rect">
            <a:avLst/>
          </a:prstGeom>
          <a:noFill/>
        </p:spPr>
        <p:txBody>
          <a:bodyPr vert="horz" wrap="square" lIns="18288" tIns="18288" rIns="18288" bIns="18288" rtlCol="0" anchor="t">
            <a:spAutoFit/>
          </a:bodyPr>
          <a:lstStyle/>
          <a:p>
            <a:pPr algn="ctr">
              <a:lnSpc>
                <a:spcPct val="110000"/>
              </a:lnSpc>
            </a:pPr>
            <a:r>
              <a:rPr lang="en-GB" sz="700" b="1">
                <a:solidFill>
                  <a:schemeClr val="accent1"/>
                </a:solidFill>
              </a:rPr>
              <a:t>Pellets</a:t>
            </a:r>
          </a:p>
        </p:txBody>
      </p:sp>
      <p:pic>
        <p:nvPicPr>
          <p:cNvPr id="1058" name="Graphic 1057">
            <a:extLst>
              <a:ext uri="{FF2B5EF4-FFF2-40B4-BE49-F238E27FC236}">
                <a16:creationId xmlns:a16="http://schemas.microsoft.com/office/drawing/2014/main" id="{CFC94A12-4EAB-2716-9473-9C07D4E0B638}"/>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87681" y="2528381"/>
            <a:ext cx="396401" cy="147781"/>
          </a:xfrm>
          <a:prstGeom prst="rect">
            <a:avLst/>
          </a:prstGeom>
        </p:spPr>
      </p:pic>
      <p:sp>
        <p:nvSpPr>
          <p:cNvPr id="1078" name="TextBox 1077">
            <a:extLst>
              <a:ext uri="{FF2B5EF4-FFF2-40B4-BE49-F238E27FC236}">
                <a16:creationId xmlns:a16="http://schemas.microsoft.com/office/drawing/2014/main" id="{9B5AE34D-2D3B-4451-B015-ECA686A5F19B}"/>
              </a:ext>
            </a:extLst>
          </p:cNvPr>
          <p:cNvSpPr txBox="1"/>
          <p:nvPr/>
        </p:nvSpPr>
        <p:spPr>
          <a:xfrm>
            <a:off x="487681" y="2722191"/>
            <a:ext cx="387991" cy="146258"/>
          </a:xfrm>
          <a:prstGeom prst="rect">
            <a:avLst/>
          </a:prstGeom>
          <a:noFill/>
        </p:spPr>
        <p:txBody>
          <a:bodyPr vert="horz" wrap="none" lIns="18288" tIns="18288" rIns="18288" bIns="18288" rtlCol="0" anchor="t">
            <a:spAutoFit/>
          </a:bodyPr>
          <a:lstStyle/>
          <a:p>
            <a:pPr algn="ctr">
              <a:lnSpc>
                <a:spcPct val="110000"/>
              </a:lnSpc>
            </a:pPr>
            <a:r>
              <a:rPr lang="en-GB" sz="700" b="1">
                <a:solidFill>
                  <a:schemeClr val="accent1"/>
                </a:solidFill>
              </a:rPr>
              <a:t>Iron Ore</a:t>
            </a:r>
          </a:p>
        </p:txBody>
      </p:sp>
      <p:sp>
        <p:nvSpPr>
          <p:cNvPr id="1079" name="TextBox 1078">
            <a:extLst>
              <a:ext uri="{FF2B5EF4-FFF2-40B4-BE49-F238E27FC236}">
                <a16:creationId xmlns:a16="http://schemas.microsoft.com/office/drawing/2014/main" id="{2DCDFE64-0CA0-277F-8574-31AC53CE39EC}"/>
              </a:ext>
            </a:extLst>
          </p:cNvPr>
          <p:cNvSpPr txBox="1"/>
          <p:nvPr/>
        </p:nvSpPr>
        <p:spPr>
          <a:xfrm>
            <a:off x="1946752" y="3333717"/>
            <a:ext cx="420050" cy="146258"/>
          </a:xfrm>
          <a:prstGeom prst="rect">
            <a:avLst/>
          </a:prstGeom>
          <a:noFill/>
        </p:spPr>
        <p:txBody>
          <a:bodyPr vert="horz" wrap="none" lIns="18288" tIns="18288" rIns="18288" bIns="18288" rtlCol="0" anchor="t">
            <a:spAutoFit/>
          </a:bodyPr>
          <a:lstStyle/>
          <a:p>
            <a:pPr algn="ctr">
              <a:lnSpc>
                <a:spcPct val="110000"/>
              </a:lnSpc>
            </a:pPr>
            <a:r>
              <a:rPr lang="en-GB" sz="700" b="1">
                <a:solidFill>
                  <a:schemeClr val="accent1"/>
                </a:solidFill>
              </a:rPr>
              <a:t>Charcoal</a:t>
            </a:r>
          </a:p>
        </p:txBody>
      </p:sp>
      <p:pic>
        <p:nvPicPr>
          <p:cNvPr id="1080" name="Picture 20" descr="Pile of charcoal graphite coal Royalty Free Vector Image">
            <a:extLst>
              <a:ext uri="{FF2B5EF4-FFF2-40B4-BE49-F238E27FC236}">
                <a16:creationId xmlns:a16="http://schemas.microsoft.com/office/drawing/2014/main" id="{3A704A8F-857B-BACF-2658-1B37165C6034}"/>
              </a:ext>
            </a:extLst>
          </p:cNvPr>
          <p:cNvPicPr>
            <a:picLocks noChangeAspect="1" noChangeArrowheads="1"/>
          </p:cNvPicPr>
          <p:nvPr/>
        </p:nvPicPr>
        <p:blipFill rotWithShape="1">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l="6933" t="13703" b="23460"/>
          <a:stretch/>
        </p:blipFill>
        <p:spPr bwMode="auto">
          <a:xfrm>
            <a:off x="1972710" y="3024076"/>
            <a:ext cx="368137" cy="268458"/>
          </a:xfrm>
          <a:prstGeom prst="rect">
            <a:avLst/>
          </a:prstGeom>
          <a:noFill/>
          <a:extLst>
            <a:ext uri="{909E8E84-426E-40DD-AFC4-6F175D3DCCD1}">
              <a14:hiddenFill xmlns:a14="http://schemas.microsoft.com/office/drawing/2010/main">
                <a:solidFill>
                  <a:srgbClr val="FFFFFF"/>
                </a:solidFill>
              </a14:hiddenFill>
            </a:ext>
          </a:extLst>
        </p:spPr>
      </p:pic>
      <p:pic>
        <p:nvPicPr>
          <p:cNvPr id="1081" name="Picture 1080">
            <a:extLst>
              <a:ext uri="{FF2B5EF4-FFF2-40B4-BE49-F238E27FC236}">
                <a16:creationId xmlns:a16="http://schemas.microsoft.com/office/drawing/2014/main" id="{FA355A7B-7F0A-92AE-A125-9EDE955416A0}"/>
              </a:ext>
            </a:extLst>
          </p:cNvPr>
          <p:cNvPicPr>
            <a:picLocks noChangeAspect="1"/>
          </p:cNvPicPr>
          <p:nvPr/>
        </p:nvPicPr>
        <p:blipFill>
          <a:blip r:embed="rId22"/>
          <a:stretch>
            <a:fillRect/>
          </a:stretch>
        </p:blipFill>
        <p:spPr>
          <a:xfrm>
            <a:off x="2019799" y="2474507"/>
            <a:ext cx="273959" cy="208363"/>
          </a:xfrm>
          <a:prstGeom prst="rect">
            <a:avLst/>
          </a:prstGeom>
        </p:spPr>
      </p:pic>
      <p:sp>
        <p:nvSpPr>
          <p:cNvPr id="27" name="Arrow: Chevron 26">
            <a:extLst>
              <a:ext uri="{FF2B5EF4-FFF2-40B4-BE49-F238E27FC236}">
                <a16:creationId xmlns:a16="http://schemas.microsoft.com/office/drawing/2014/main" id="{B60FEEB1-7E70-34D5-3C32-1CFB965C0459}"/>
              </a:ext>
            </a:extLst>
          </p:cNvPr>
          <p:cNvSpPr/>
          <p:nvPr/>
        </p:nvSpPr>
        <p:spPr>
          <a:xfrm>
            <a:off x="1714142" y="2495483"/>
            <a:ext cx="182880" cy="182880"/>
          </a:xfrm>
          <a:prstGeom prst="chevron">
            <a:avLst/>
          </a:prstGeom>
          <a:solidFill>
            <a:srgbClr val="0077C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a:solidFill>
                <a:schemeClr val="tx2"/>
              </a:solidFill>
            </a:endParaRPr>
          </a:p>
        </p:txBody>
      </p:sp>
      <p:sp>
        <p:nvSpPr>
          <p:cNvPr id="57" name="TextBox 56">
            <a:extLst>
              <a:ext uri="{FF2B5EF4-FFF2-40B4-BE49-F238E27FC236}">
                <a16:creationId xmlns:a16="http://schemas.microsoft.com/office/drawing/2014/main" id="{2B8BB2CC-6A67-3B2F-9C6E-E641785D8C99}"/>
              </a:ext>
            </a:extLst>
          </p:cNvPr>
          <p:cNvSpPr txBox="1"/>
          <p:nvPr/>
        </p:nvSpPr>
        <p:spPr>
          <a:xfrm>
            <a:off x="487681" y="3333717"/>
            <a:ext cx="365549" cy="146258"/>
          </a:xfrm>
          <a:prstGeom prst="rect">
            <a:avLst/>
          </a:prstGeom>
          <a:noFill/>
        </p:spPr>
        <p:txBody>
          <a:bodyPr vert="horz" wrap="none" lIns="18288" tIns="18288" rIns="18288" bIns="18288" rtlCol="0" anchor="t">
            <a:spAutoFit/>
          </a:bodyPr>
          <a:lstStyle/>
          <a:p>
            <a:pPr algn="ctr">
              <a:lnSpc>
                <a:spcPct val="110000"/>
              </a:lnSpc>
            </a:pPr>
            <a:r>
              <a:rPr lang="en-GB" sz="700" b="1">
                <a:solidFill>
                  <a:schemeClr val="accent1"/>
                </a:solidFill>
              </a:rPr>
              <a:t>Lumber</a:t>
            </a:r>
          </a:p>
        </p:txBody>
      </p:sp>
      <p:sp>
        <p:nvSpPr>
          <p:cNvPr id="59" name="Arrow: Chevron 58">
            <a:extLst>
              <a:ext uri="{FF2B5EF4-FFF2-40B4-BE49-F238E27FC236}">
                <a16:creationId xmlns:a16="http://schemas.microsoft.com/office/drawing/2014/main" id="{EACE2F7D-0435-70A3-4CCB-044B38FFCA53}"/>
              </a:ext>
            </a:extLst>
          </p:cNvPr>
          <p:cNvSpPr/>
          <p:nvPr/>
        </p:nvSpPr>
        <p:spPr>
          <a:xfrm>
            <a:off x="905168" y="3078431"/>
            <a:ext cx="182880" cy="182880"/>
          </a:xfrm>
          <a:prstGeom prst="chevron">
            <a:avLst/>
          </a:prstGeom>
          <a:solidFill>
            <a:srgbClr val="0077C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a:solidFill>
                <a:schemeClr val="tx2"/>
              </a:solidFill>
            </a:endParaRPr>
          </a:p>
        </p:txBody>
      </p:sp>
      <p:sp>
        <p:nvSpPr>
          <p:cNvPr id="61" name="TextBox 60">
            <a:extLst>
              <a:ext uri="{FF2B5EF4-FFF2-40B4-BE49-F238E27FC236}">
                <a16:creationId xmlns:a16="http://schemas.microsoft.com/office/drawing/2014/main" id="{DE50DDC0-2DE2-98C1-726C-D014A5EA7897}"/>
              </a:ext>
            </a:extLst>
          </p:cNvPr>
          <p:cNvSpPr txBox="1"/>
          <p:nvPr/>
        </p:nvSpPr>
        <p:spPr>
          <a:xfrm>
            <a:off x="1305624" y="3333717"/>
            <a:ext cx="206853" cy="146258"/>
          </a:xfrm>
          <a:prstGeom prst="rect">
            <a:avLst/>
          </a:prstGeom>
          <a:noFill/>
        </p:spPr>
        <p:txBody>
          <a:bodyPr vert="horz" wrap="none" lIns="18288" tIns="18288" rIns="18288" bIns="18288" rtlCol="0" anchor="t">
            <a:spAutoFit/>
          </a:bodyPr>
          <a:lstStyle/>
          <a:p>
            <a:pPr algn="ctr">
              <a:lnSpc>
                <a:spcPct val="110000"/>
              </a:lnSpc>
            </a:pPr>
            <a:r>
              <a:rPr lang="en-GB" sz="700" b="1">
                <a:solidFill>
                  <a:schemeClr val="accent1"/>
                </a:solidFill>
              </a:rPr>
              <a:t>Kiln</a:t>
            </a:r>
          </a:p>
        </p:txBody>
      </p:sp>
      <p:sp>
        <p:nvSpPr>
          <p:cNvPr id="1620" name="Arrow: Chevron 1619">
            <a:extLst>
              <a:ext uri="{FF2B5EF4-FFF2-40B4-BE49-F238E27FC236}">
                <a16:creationId xmlns:a16="http://schemas.microsoft.com/office/drawing/2014/main" id="{D79C858E-40FC-456D-73C4-876707B4E0C4}"/>
              </a:ext>
            </a:extLst>
          </p:cNvPr>
          <p:cNvSpPr/>
          <p:nvPr/>
        </p:nvSpPr>
        <p:spPr>
          <a:xfrm>
            <a:off x="1714142" y="3078431"/>
            <a:ext cx="182880" cy="182880"/>
          </a:xfrm>
          <a:prstGeom prst="chevron">
            <a:avLst/>
          </a:prstGeom>
          <a:solidFill>
            <a:srgbClr val="0077C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a:solidFill>
                <a:schemeClr val="tx2"/>
              </a:solidFill>
            </a:endParaRPr>
          </a:p>
        </p:txBody>
      </p:sp>
      <p:pic>
        <p:nvPicPr>
          <p:cNvPr id="1028" name="Picture 26" descr="Best Firewood Pile Illustrations, Royalty-Free Vector Graphics &amp; Clip ...">
            <a:extLst>
              <a:ext uri="{FF2B5EF4-FFF2-40B4-BE49-F238E27FC236}">
                <a16:creationId xmlns:a16="http://schemas.microsoft.com/office/drawing/2014/main" id="{521CA9B3-D3E9-7F9E-0CF2-A3A0F25920C4}"/>
              </a:ext>
            </a:extLst>
          </p:cNvPr>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7681" y="3067534"/>
            <a:ext cx="289855" cy="230179"/>
          </a:xfrm>
          <a:prstGeom prst="rect">
            <a:avLst/>
          </a:prstGeom>
          <a:noFill/>
          <a:extLst>
            <a:ext uri="{909E8E84-426E-40DD-AFC4-6F175D3DCCD1}">
              <a14:hiddenFill xmlns:a14="http://schemas.microsoft.com/office/drawing/2010/main">
                <a:solidFill>
                  <a:srgbClr val="FFFFFF"/>
                </a:solidFill>
              </a14:hiddenFill>
            </a:ext>
          </a:extLst>
        </p:spPr>
      </p:pic>
      <p:sp>
        <p:nvSpPr>
          <p:cNvPr id="1623" name="Cube 1622">
            <a:extLst>
              <a:ext uri="{FF2B5EF4-FFF2-40B4-BE49-F238E27FC236}">
                <a16:creationId xmlns:a16="http://schemas.microsoft.com/office/drawing/2014/main" id="{4975AA80-F823-B9D5-A81B-B07E0A46E0DE}"/>
              </a:ext>
            </a:extLst>
          </p:cNvPr>
          <p:cNvSpPr/>
          <p:nvPr/>
        </p:nvSpPr>
        <p:spPr>
          <a:xfrm rot="5400000" flipH="1" flipV="1">
            <a:off x="1216583" y="2995453"/>
            <a:ext cx="318459" cy="299073"/>
          </a:xfrm>
          <a:prstGeom prst="cube">
            <a:avLst>
              <a:gd name="adj" fmla="val 42926"/>
            </a:avLst>
          </a:prstGeom>
          <a:solidFill>
            <a:schemeClr val="accent4">
              <a:lumMod val="75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1624" name="Rectangle: Rounded Corners 1623">
            <a:extLst>
              <a:ext uri="{FF2B5EF4-FFF2-40B4-BE49-F238E27FC236}">
                <a16:creationId xmlns:a16="http://schemas.microsoft.com/office/drawing/2014/main" id="{43964829-45F8-2CF1-F4C9-CA6DF862EAC9}"/>
              </a:ext>
            </a:extLst>
          </p:cNvPr>
          <p:cNvSpPr/>
          <p:nvPr/>
        </p:nvSpPr>
        <p:spPr>
          <a:xfrm>
            <a:off x="1356766" y="3144988"/>
            <a:ext cx="152756" cy="136472"/>
          </a:xfrm>
          <a:prstGeom prst="round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cxnSp>
        <p:nvCxnSpPr>
          <p:cNvPr id="1625" name="Straight Connector 1624">
            <a:extLst>
              <a:ext uri="{FF2B5EF4-FFF2-40B4-BE49-F238E27FC236}">
                <a16:creationId xmlns:a16="http://schemas.microsoft.com/office/drawing/2014/main" id="{6CC8C4F2-5803-CF35-8AAB-B278843DCCF2}"/>
              </a:ext>
            </a:extLst>
          </p:cNvPr>
          <p:cNvCxnSpPr>
            <a:cxnSpLocks/>
          </p:cNvCxnSpPr>
          <p:nvPr/>
        </p:nvCxnSpPr>
        <p:spPr>
          <a:xfrm flipH="1" flipV="1">
            <a:off x="1401039" y="3146238"/>
            <a:ext cx="102448" cy="127228"/>
          </a:xfrm>
          <a:prstGeom prst="line">
            <a:avLst/>
          </a:prstGeom>
          <a:ln w="317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626" name="Rectangle: Rounded Corners 1625">
            <a:extLst>
              <a:ext uri="{FF2B5EF4-FFF2-40B4-BE49-F238E27FC236}">
                <a16:creationId xmlns:a16="http://schemas.microsoft.com/office/drawing/2014/main" id="{1823F820-5187-CA16-3B3F-1C5D0D5DF5A9}"/>
              </a:ext>
            </a:extLst>
          </p:cNvPr>
          <p:cNvSpPr/>
          <p:nvPr/>
        </p:nvSpPr>
        <p:spPr>
          <a:xfrm>
            <a:off x="1507630" y="3147265"/>
            <a:ext cx="84195" cy="136472"/>
          </a:xfrm>
          <a:prstGeom prst="roundRect">
            <a:avLst/>
          </a:prstGeom>
          <a:solidFill>
            <a:schemeClr val="accent4">
              <a:lumMod val="60000"/>
              <a:lumOff val="40000"/>
            </a:schemeClr>
          </a:solidFill>
          <a:ln w="31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cxnSp>
        <p:nvCxnSpPr>
          <p:cNvPr id="1627" name="Straight Connector 1626">
            <a:extLst>
              <a:ext uri="{FF2B5EF4-FFF2-40B4-BE49-F238E27FC236}">
                <a16:creationId xmlns:a16="http://schemas.microsoft.com/office/drawing/2014/main" id="{64CF3501-30AA-3FF9-044D-5D411C408919}"/>
              </a:ext>
            </a:extLst>
          </p:cNvPr>
          <p:cNvCxnSpPr>
            <a:cxnSpLocks/>
          </p:cNvCxnSpPr>
          <p:nvPr/>
        </p:nvCxnSpPr>
        <p:spPr>
          <a:xfrm>
            <a:off x="1503234" y="3256908"/>
            <a:ext cx="1588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28" name="Straight Connector 1627">
            <a:extLst>
              <a:ext uri="{FF2B5EF4-FFF2-40B4-BE49-F238E27FC236}">
                <a16:creationId xmlns:a16="http://schemas.microsoft.com/office/drawing/2014/main" id="{60EB2DA0-7A77-E42D-E2FF-F05EA3056EFA}"/>
              </a:ext>
            </a:extLst>
          </p:cNvPr>
          <p:cNvCxnSpPr>
            <a:cxnSpLocks/>
          </p:cNvCxnSpPr>
          <p:nvPr/>
        </p:nvCxnSpPr>
        <p:spPr>
          <a:xfrm>
            <a:off x="1503234" y="3182946"/>
            <a:ext cx="1588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629" name="Rectangle: Rounded Corners 1628">
            <a:extLst>
              <a:ext uri="{FF2B5EF4-FFF2-40B4-BE49-F238E27FC236}">
                <a16:creationId xmlns:a16="http://schemas.microsoft.com/office/drawing/2014/main" id="{5ADE0D97-A695-6640-F4B5-AB6486F50CD4}"/>
              </a:ext>
            </a:extLst>
          </p:cNvPr>
          <p:cNvSpPr/>
          <p:nvPr/>
        </p:nvSpPr>
        <p:spPr>
          <a:xfrm>
            <a:off x="1270732" y="3150020"/>
            <a:ext cx="84195" cy="136472"/>
          </a:xfrm>
          <a:prstGeom prst="roundRect">
            <a:avLst/>
          </a:prstGeom>
          <a:solidFill>
            <a:schemeClr val="accent4">
              <a:lumMod val="60000"/>
              <a:lumOff val="40000"/>
            </a:schemeClr>
          </a:solidFill>
          <a:ln w="31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cxnSp>
        <p:nvCxnSpPr>
          <p:cNvPr id="1630" name="Straight Connector 1629">
            <a:extLst>
              <a:ext uri="{FF2B5EF4-FFF2-40B4-BE49-F238E27FC236}">
                <a16:creationId xmlns:a16="http://schemas.microsoft.com/office/drawing/2014/main" id="{07CF4784-C3EB-1C88-3434-F09E43A0005B}"/>
              </a:ext>
            </a:extLst>
          </p:cNvPr>
          <p:cNvCxnSpPr>
            <a:cxnSpLocks/>
          </p:cNvCxnSpPr>
          <p:nvPr/>
        </p:nvCxnSpPr>
        <p:spPr>
          <a:xfrm>
            <a:off x="1347740" y="3256909"/>
            <a:ext cx="1588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31" name="Straight Connector 1630">
            <a:extLst>
              <a:ext uri="{FF2B5EF4-FFF2-40B4-BE49-F238E27FC236}">
                <a16:creationId xmlns:a16="http://schemas.microsoft.com/office/drawing/2014/main" id="{A86809D0-6FCA-58CA-6691-71EFD0C72A54}"/>
              </a:ext>
            </a:extLst>
          </p:cNvPr>
          <p:cNvCxnSpPr>
            <a:cxnSpLocks/>
          </p:cNvCxnSpPr>
          <p:nvPr/>
        </p:nvCxnSpPr>
        <p:spPr>
          <a:xfrm>
            <a:off x="1347740" y="3182947"/>
            <a:ext cx="1588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pic>
        <p:nvPicPr>
          <p:cNvPr id="1032" name="Picture 10" descr="Flame Light Clip art - Flame cartoon png download - 1703*2213 - Free ...">
            <a:extLst>
              <a:ext uri="{FF2B5EF4-FFF2-40B4-BE49-F238E27FC236}">
                <a16:creationId xmlns:a16="http://schemas.microsoft.com/office/drawing/2014/main" id="{2FE159CC-3C5A-A101-B784-DA0DE8587ACB}"/>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t="1" b="8496"/>
          <a:stretch/>
        </p:blipFill>
        <p:spPr bwMode="auto">
          <a:xfrm>
            <a:off x="1359070" y="3219256"/>
            <a:ext cx="144418" cy="61158"/>
          </a:xfrm>
          <a:prstGeom prst="rect">
            <a:avLst/>
          </a:prstGeom>
          <a:noFill/>
          <a:extLst>
            <a:ext uri="{909E8E84-426E-40DD-AFC4-6F175D3DCCD1}">
              <a14:hiddenFill xmlns:a14="http://schemas.microsoft.com/office/drawing/2010/main">
                <a:solidFill>
                  <a:srgbClr val="FFFFFF"/>
                </a:solidFill>
              </a14:hiddenFill>
            </a:ext>
          </a:extLst>
        </p:spPr>
      </p:pic>
      <p:sp>
        <p:nvSpPr>
          <p:cNvPr id="1477" name="Arrow: Chevron 1476">
            <a:extLst>
              <a:ext uri="{FF2B5EF4-FFF2-40B4-BE49-F238E27FC236}">
                <a16:creationId xmlns:a16="http://schemas.microsoft.com/office/drawing/2014/main" id="{3B2E7A66-1B0C-5FE2-0281-B9F8976FD4F6}"/>
              </a:ext>
            </a:extLst>
          </p:cNvPr>
          <p:cNvSpPr/>
          <p:nvPr/>
        </p:nvSpPr>
        <p:spPr>
          <a:xfrm>
            <a:off x="3380249" y="1957042"/>
            <a:ext cx="182880" cy="182880"/>
          </a:xfrm>
          <a:prstGeom prst="chevron">
            <a:avLst/>
          </a:prstGeom>
          <a:solidFill>
            <a:srgbClr val="0077C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a:solidFill>
                <a:schemeClr val="tx2"/>
              </a:solidFill>
            </a:endParaRPr>
          </a:p>
        </p:txBody>
      </p:sp>
      <p:sp>
        <p:nvSpPr>
          <p:cNvPr id="1478" name="Arrow: Chevron 1477">
            <a:extLst>
              <a:ext uri="{FF2B5EF4-FFF2-40B4-BE49-F238E27FC236}">
                <a16:creationId xmlns:a16="http://schemas.microsoft.com/office/drawing/2014/main" id="{8E90105E-326C-E1DC-0949-4FA3259C2D29}"/>
              </a:ext>
            </a:extLst>
          </p:cNvPr>
          <p:cNvSpPr/>
          <p:nvPr/>
        </p:nvSpPr>
        <p:spPr>
          <a:xfrm>
            <a:off x="3380249" y="2901807"/>
            <a:ext cx="182880" cy="182880"/>
          </a:xfrm>
          <a:prstGeom prst="chevron">
            <a:avLst/>
          </a:prstGeom>
          <a:solidFill>
            <a:srgbClr val="0077C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a:solidFill>
                <a:schemeClr val="tx2"/>
              </a:solidFill>
            </a:endParaRPr>
          </a:p>
        </p:txBody>
      </p:sp>
      <p:sp>
        <p:nvSpPr>
          <p:cNvPr id="1479" name="Arrow: Chevron 1478">
            <a:extLst>
              <a:ext uri="{FF2B5EF4-FFF2-40B4-BE49-F238E27FC236}">
                <a16:creationId xmlns:a16="http://schemas.microsoft.com/office/drawing/2014/main" id="{235327D8-22C8-B20F-9FCF-CDC1435D5254}"/>
              </a:ext>
            </a:extLst>
          </p:cNvPr>
          <p:cNvSpPr/>
          <p:nvPr/>
        </p:nvSpPr>
        <p:spPr>
          <a:xfrm>
            <a:off x="4799189" y="2373762"/>
            <a:ext cx="182880" cy="182880"/>
          </a:xfrm>
          <a:prstGeom prst="chevron">
            <a:avLst/>
          </a:prstGeom>
          <a:solidFill>
            <a:srgbClr val="0077C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a:solidFill>
                <a:schemeClr val="tx2"/>
              </a:solidFill>
            </a:endParaRPr>
          </a:p>
        </p:txBody>
      </p:sp>
      <p:sp>
        <p:nvSpPr>
          <p:cNvPr id="1480" name="Arrow: Chevron 1479">
            <a:extLst>
              <a:ext uri="{FF2B5EF4-FFF2-40B4-BE49-F238E27FC236}">
                <a16:creationId xmlns:a16="http://schemas.microsoft.com/office/drawing/2014/main" id="{5087FBFB-B308-120F-9E5B-0D208BB97046}"/>
              </a:ext>
            </a:extLst>
          </p:cNvPr>
          <p:cNvSpPr/>
          <p:nvPr/>
        </p:nvSpPr>
        <p:spPr>
          <a:xfrm>
            <a:off x="6194007" y="2380303"/>
            <a:ext cx="182880" cy="182880"/>
          </a:xfrm>
          <a:prstGeom prst="chevron">
            <a:avLst/>
          </a:prstGeom>
          <a:solidFill>
            <a:srgbClr val="0077C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a:solidFill>
                <a:schemeClr val="tx2"/>
              </a:solidFill>
            </a:endParaRPr>
          </a:p>
        </p:txBody>
      </p:sp>
      <p:sp>
        <p:nvSpPr>
          <p:cNvPr id="1481" name="Arrow: Chevron 1480">
            <a:extLst>
              <a:ext uri="{FF2B5EF4-FFF2-40B4-BE49-F238E27FC236}">
                <a16:creationId xmlns:a16="http://schemas.microsoft.com/office/drawing/2014/main" id="{857EE961-BE08-61E0-3FF2-83FFCB41DCF0}"/>
              </a:ext>
            </a:extLst>
          </p:cNvPr>
          <p:cNvSpPr/>
          <p:nvPr/>
        </p:nvSpPr>
        <p:spPr>
          <a:xfrm>
            <a:off x="7472417" y="2387564"/>
            <a:ext cx="182880" cy="182880"/>
          </a:xfrm>
          <a:prstGeom prst="chevron">
            <a:avLst/>
          </a:prstGeom>
          <a:solidFill>
            <a:srgbClr val="0077C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a:solidFill>
                <a:schemeClr val="tx2"/>
              </a:solidFill>
            </a:endParaRPr>
          </a:p>
        </p:txBody>
      </p:sp>
      <p:sp>
        <p:nvSpPr>
          <p:cNvPr id="1482" name="Arrow: Chevron 1481">
            <a:extLst>
              <a:ext uri="{FF2B5EF4-FFF2-40B4-BE49-F238E27FC236}">
                <a16:creationId xmlns:a16="http://schemas.microsoft.com/office/drawing/2014/main" id="{6132F445-01B8-7602-051A-AAE6B756BB91}"/>
              </a:ext>
            </a:extLst>
          </p:cNvPr>
          <p:cNvSpPr/>
          <p:nvPr/>
        </p:nvSpPr>
        <p:spPr>
          <a:xfrm>
            <a:off x="2423739" y="2495483"/>
            <a:ext cx="182880" cy="182880"/>
          </a:xfrm>
          <a:prstGeom prst="chevron">
            <a:avLst/>
          </a:prstGeom>
          <a:solidFill>
            <a:srgbClr val="0077C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a:solidFill>
                <a:schemeClr val="tx2"/>
              </a:solidFill>
            </a:endParaRPr>
          </a:p>
        </p:txBody>
      </p:sp>
      <p:sp>
        <p:nvSpPr>
          <p:cNvPr id="1483" name="Arrow: Chevron 1482">
            <a:extLst>
              <a:ext uri="{FF2B5EF4-FFF2-40B4-BE49-F238E27FC236}">
                <a16:creationId xmlns:a16="http://schemas.microsoft.com/office/drawing/2014/main" id="{F2266CA5-61DD-0887-CD98-F4AEDD34033E}"/>
              </a:ext>
            </a:extLst>
          </p:cNvPr>
          <p:cNvSpPr/>
          <p:nvPr/>
        </p:nvSpPr>
        <p:spPr>
          <a:xfrm>
            <a:off x="2423739" y="3078431"/>
            <a:ext cx="182880" cy="182880"/>
          </a:xfrm>
          <a:prstGeom prst="chevron">
            <a:avLst/>
          </a:prstGeom>
          <a:solidFill>
            <a:srgbClr val="0077C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GB" sz="1200">
              <a:solidFill>
                <a:schemeClr val="tx2"/>
              </a:solidFill>
            </a:endParaRPr>
          </a:p>
        </p:txBody>
      </p:sp>
      <p:sp>
        <p:nvSpPr>
          <p:cNvPr id="1485" name="TextBox 1484">
            <a:extLst>
              <a:ext uri="{FF2B5EF4-FFF2-40B4-BE49-F238E27FC236}">
                <a16:creationId xmlns:a16="http://schemas.microsoft.com/office/drawing/2014/main" id="{9EC79346-32C7-8DE7-0BCA-88DB1EF7409B}"/>
              </a:ext>
            </a:extLst>
          </p:cNvPr>
          <p:cNvSpPr txBox="1"/>
          <p:nvPr/>
        </p:nvSpPr>
        <p:spPr>
          <a:xfrm>
            <a:off x="3308071" y="3137296"/>
            <a:ext cx="327236" cy="264752"/>
          </a:xfrm>
          <a:prstGeom prst="rect">
            <a:avLst/>
          </a:prstGeom>
          <a:noFill/>
        </p:spPr>
        <p:txBody>
          <a:bodyPr vert="horz" wrap="square" lIns="18288" tIns="18288" rIns="18288" bIns="18288" rtlCol="0" anchor="t">
            <a:spAutoFit/>
          </a:bodyPr>
          <a:lstStyle/>
          <a:p>
            <a:pPr algn="ctr">
              <a:lnSpc>
                <a:spcPct val="110000"/>
              </a:lnSpc>
            </a:pPr>
            <a:r>
              <a:rPr lang="en-GB" sz="700" b="1">
                <a:solidFill>
                  <a:schemeClr val="accent1"/>
                </a:solidFill>
              </a:rPr>
              <a:t>Cast Iron</a:t>
            </a:r>
          </a:p>
        </p:txBody>
      </p:sp>
      <p:cxnSp>
        <p:nvCxnSpPr>
          <p:cNvPr id="1487" name="Straight Arrow Connector 1486">
            <a:extLst>
              <a:ext uri="{FF2B5EF4-FFF2-40B4-BE49-F238E27FC236}">
                <a16:creationId xmlns:a16="http://schemas.microsoft.com/office/drawing/2014/main" id="{4AB2BFF8-4D5B-A73A-857B-50A1DE1EDA15}"/>
              </a:ext>
            </a:extLst>
          </p:cNvPr>
          <p:cNvCxnSpPr>
            <a:cxnSpLocks/>
          </p:cNvCxnSpPr>
          <p:nvPr/>
        </p:nvCxnSpPr>
        <p:spPr>
          <a:xfrm>
            <a:off x="396240" y="4201881"/>
            <a:ext cx="8342950" cy="0"/>
          </a:xfrm>
          <a:prstGeom prst="straightConnector1">
            <a:avLst/>
          </a:prstGeom>
          <a:ln w="57150">
            <a:tailEnd type="triangle"/>
          </a:ln>
        </p:spPr>
        <p:style>
          <a:lnRef idx="1">
            <a:schemeClr val="accent3"/>
          </a:lnRef>
          <a:fillRef idx="0">
            <a:schemeClr val="accent3"/>
          </a:fillRef>
          <a:effectRef idx="0">
            <a:schemeClr val="accent3"/>
          </a:effectRef>
          <a:fontRef idx="minor">
            <a:schemeClr val="tx1"/>
          </a:fontRef>
        </p:style>
      </p:cxnSp>
      <p:sp>
        <p:nvSpPr>
          <p:cNvPr id="1496" name="TextBox 1495">
            <a:extLst>
              <a:ext uri="{FF2B5EF4-FFF2-40B4-BE49-F238E27FC236}">
                <a16:creationId xmlns:a16="http://schemas.microsoft.com/office/drawing/2014/main" id="{E5F56E19-55C9-1772-BA61-0F7D32FC6EFD}"/>
              </a:ext>
            </a:extLst>
          </p:cNvPr>
          <p:cNvSpPr txBox="1"/>
          <p:nvPr/>
        </p:nvSpPr>
        <p:spPr>
          <a:xfrm>
            <a:off x="7883755" y="1476968"/>
            <a:ext cx="654345" cy="201658"/>
          </a:xfrm>
          <a:prstGeom prst="rect">
            <a:avLst/>
          </a:prstGeom>
          <a:noFill/>
        </p:spPr>
        <p:txBody>
          <a:bodyPr wrap="none">
            <a:spAutoFit/>
          </a:bodyPr>
          <a:lstStyle/>
          <a:p>
            <a:pPr marL="0" lvl="1" algn="ctr">
              <a:lnSpc>
                <a:spcPct val="110000"/>
              </a:lnSpc>
              <a:spcBef>
                <a:spcPts val="600"/>
              </a:spcBef>
              <a:spcAft>
                <a:spcPct val="0"/>
              </a:spcAft>
              <a:buClr>
                <a:schemeClr val="accent1">
                  <a:lumMod val="100000"/>
                </a:schemeClr>
              </a:buClr>
              <a:buSzPct val="92000"/>
            </a:pPr>
            <a:r>
              <a:rPr lang="en-GB" sz="700" i="1">
                <a:latin typeface="Arial" panose="020B0604020202020204" pitchFamily="34" charset="0"/>
              </a:rPr>
              <a:t>OCTG Only</a:t>
            </a:r>
          </a:p>
        </p:txBody>
      </p:sp>
    </p:spTree>
    <p:custDataLst>
      <p:tags r:id="rId1"/>
    </p:custDataLst>
    <p:extLst>
      <p:ext uri="{BB962C8B-B14F-4D97-AF65-F5344CB8AC3E}">
        <p14:creationId xmlns:p14="http://schemas.microsoft.com/office/powerpoint/2010/main" val="34509426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2095B-76A3-8C84-1A4A-131A46530FD1}"/>
              </a:ext>
            </a:extLst>
          </p:cNvPr>
          <p:cNvSpPr>
            <a:spLocks noGrp="1"/>
          </p:cNvSpPr>
          <p:nvPr>
            <p:ph type="title"/>
          </p:nvPr>
        </p:nvSpPr>
        <p:spPr/>
        <p:txBody>
          <a:bodyPr/>
          <a:lstStyle/>
          <a:p>
            <a:r>
              <a:rPr lang="en-GB"/>
              <a:t>Midcycle Tubes Earnings Power Simulation</a:t>
            </a:r>
          </a:p>
        </p:txBody>
      </p:sp>
      <p:graphicFrame>
        <p:nvGraphicFramePr>
          <p:cNvPr id="4" name="Table 3">
            <a:extLst>
              <a:ext uri="{FF2B5EF4-FFF2-40B4-BE49-F238E27FC236}">
                <a16:creationId xmlns:a16="http://schemas.microsoft.com/office/drawing/2014/main" id="{CF7D8454-D673-EA95-5822-E5A8928E2C6A}"/>
              </a:ext>
            </a:extLst>
          </p:cNvPr>
          <p:cNvGraphicFramePr>
            <a:graphicFrameLocks noGrp="1"/>
          </p:cNvGraphicFramePr>
          <p:nvPr>
            <p:custDataLst>
              <p:tags r:id="rId2"/>
            </p:custDataLst>
          </p:nvPr>
        </p:nvGraphicFramePr>
        <p:xfrm>
          <a:off x="494761" y="1175802"/>
          <a:ext cx="7955279" cy="2791896"/>
        </p:xfrm>
        <a:graphic>
          <a:graphicData uri="http://schemas.openxmlformats.org/drawingml/2006/table">
            <a:tbl>
              <a:tblPr firstRow="1">
                <a:tableStyleId>{8EC20E35-A176-4012-BC5E-935CFFF8708E}</a:tableStyleId>
              </a:tblPr>
              <a:tblGrid>
                <a:gridCol w="2286000">
                  <a:extLst>
                    <a:ext uri="{9D8B030D-6E8A-4147-A177-3AD203B41FA5}">
                      <a16:colId xmlns:a16="http://schemas.microsoft.com/office/drawing/2014/main" val="2969803932"/>
                    </a:ext>
                  </a:extLst>
                </a:gridCol>
                <a:gridCol w="1097279">
                  <a:extLst>
                    <a:ext uri="{9D8B030D-6E8A-4147-A177-3AD203B41FA5}">
                      <a16:colId xmlns:a16="http://schemas.microsoft.com/office/drawing/2014/main" val="1036726617"/>
                    </a:ext>
                  </a:extLst>
                </a:gridCol>
                <a:gridCol w="4572000">
                  <a:extLst>
                    <a:ext uri="{9D8B030D-6E8A-4147-A177-3AD203B41FA5}">
                      <a16:colId xmlns:a16="http://schemas.microsoft.com/office/drawing/2014/main" val="2679303727"/>
                    </a:ext>
                  </a:extLst>
                </a:gridCol>
              </a:tblGrid>
              <a:tr h="225546">
                <a:tc>
                  <a:txBody>
                    <a:bodyPr/>
                    <a:lstStyle/>
                    <a:p>
                      <a:pPr algn="l" fontAlgn="b"/>
                      <a:r>
                        <a:rPr lang="en-US" sz="900" b="1" i="0" u="none" strike="noStrike">
                          <a:solidFill>
                            <a:schemeClr val="bg1"/>
                          </a:solidFill>
                          <a:effectLst/>
                          <a:latin typeface="Arial" panose="020B0604020202020204" pitchFamily="34" charset="0"/>
                        </a:rPr>
                        <a:t>Metric</a:t>
                      </a:r>
                    </a:p>
                  </a:txBody>
                  <a:tcPr marT="27432" marB="27432" anchor="ctr">
                    <a:solidFill>
                      <a:schemeClr val="bg2"/>
                    </a:solidFill>
                  </a:tcPr>
                </a:tc>
                <a:tc>
                  <a:txBody>
                    <a:bodyPr/>
                    <a:lstStyle/>
                    <a:p>
                      <a:pPr algn="ctr" fontAlgn="b"/>
                      <a:r>
                        <a:rPr lang="en-US" sz="900" b="1" i="0" u="none" strike="noStrike">
                          <a:solidFill>
                            <a:schemeClr val="bg1"/>
                          </a:solidFill>
                          <a:effectLst/>
                          <a:latin typeface="Arial" panose="020B0604020202020204" pitchFamily="34" charset="0"/>
                        </a:rPr>
                        <a:t>Assumption</a:t>
                      </a:r>
                    </a:p>
                  </a:txBody>
                  <a:tcPr marT="27432" marB="27432" anchor="ctr">
                    <a:solidFill>
                      <a:schemeClr val="bg2"/>
                    </a:solidFill>
                  </a:tcPr>
                </a:tc>
                <a:tc>
                  <a:txBody>
                    <a:bodyPr/>
                    <a:lstStyle/>
                    <a:p>
                      <a:pPr algn="l" fontAlgn="b"/>
                      <a:r>
                        <a:rPr lang="en-US" sz="900" b="1" i="0" u="none" strike="noStrike">
                          <a:solidFill>
                            <a:schemeClr val="bg1"/>
                          </a:solidFill>
                          <a:effectLst/>
                          <a:latin typeface="Arial" panose="020B0604020202020204" pitchFamily="34" charset="0"/>
                        </a:rPr>
                        <a:t>Comments</a:t>
                      </a:r>
                    </a:p>
                  </a:txBody>
                  <a:tcPr marT="27432" marB="27432" anchor="ctr">
                    <a:solidFill>
                      <a:schemeClr val="bg2"/>
                    </a:solidFill>
                  </a:tcPr>
                </a:tc>
                <a:extLst>
                  <a:ext uri="{0D108BD9-81ED-4DB2-BD59-A6C34878D82A}">
                    <a16:rowId xmlns:a16="http://schemas.microsoft.com/office/drawing/2014/main" val="3130537926"/>
                  </a:ext>
                </a:extLst>
              </a:tr>
              <a:tr h="225546">
                <a:tc>
                  <a:txBody>
                    <a:bodyPr/>
                    <a:lstStyle/>
                    <a:p>
                      <a:pPr algn="l" fontAlgn="b"/>
                      <a:r>
                        <a:rPr lang="en-US" sz="900" b="1" u="sng" strike="noStrike">
                          <a:solidFill>
                            <a:schemeClr val="tx2"/>
                          </a:solidFill>
                          <a:effectLst/>
                        </a:rPr>
                        <a:t>Operating Assumptions</a:t>
                      </a:r>
                      <a:endParaRPr lang="en-US" sz="900" b="1" i="0" u="sng" strike="noStrike">
                        <a:solidFill>
                          <a:schemeClr val="tx2"/>
                        </a:solidFill>
                        <a:effectLst/>
                        <a:latin typeface="Arial" panose="020B0604020202020204" pitchFamily="34" charset="0"/>
                      </a:endParaRPr>
                    </a:p>
                  </a:txBody>
                  <a:tcPr marT="27432" marB="27432" anchor="b"/>
                </a:tc>
                <a:tc>
                  <a:txBody>
                    <a:bodyPr/>
                    <a:lstStyle/>
                    <a:p>
                      <a:pPr algn="l" fontAlgn="b"/>
                      <a:endParaRPr lang="en-US" sz="900" b="1" i="0" u="none" strike="noStrike">
                        <a:solidFill>
                          <a:schemeClr val="tx2"/>
                        </a:solidFill>
                        <a:effectLst/>
                        <a:latin typeface="Arial" panose="020B0604020202020204" pitchFamily="34" charset="0"/>
                      </a:endParaRPr>
                    </a:p>
                  </a:txBody>
                  <a:tcPr marT="27432" marB="27432" anchor="b"/>
                </a:tc>
                <a:tc>
                  <a:txBody>
                    <a:bodyPr/>
                    <a:lstStyle/>
                    <a:p>
                      <a:pPr algn="l" fontAlgn="b"/>
                      <a:endParaRPr lang="en-US" sz="900" b="1" i="0" u="none" strike="noStrike">
                        <a:solidFill>
                          <a:schemeClr val="tx2"/>
                        </a:solidFill>
                        <a:effectLst/>
                        <a:latin typeface="Arial" panose="020B0604020202020204" pitchFamily="34" charset="0"/>
                      </a:endParaRPr>
                    </a:p>
                  </a:txBody>
                  <a:tcPr marT="27432" marB="27432" anchor="b"/>
                </a:tc>
                <a:extLst>
                  <a:ext uri="{0D108BD9-81ED-4DB2-BD59-A6C34878D82A}">
                    <a16:rowId xmlns:a16="http://schemas.microsoft.com/office/drawing/2014/main" val="3946267492"/>
                  </a:ext>
                </a:extLst>
              </a:tr>
              <a:tr h="225546">
                <a:tc>
                  <a:txBody>
                    <a:bodyPr/>
                    <a:lstStyle/>
                    <a:p>
                      <a:pPr algn="l" fontAlgn="b"/>
                      <a:r>
                        <a:rPr lang="en-US" sz="900" b="1" u="none" strike="noStrike">
                          <a:solidFill>
                            <a:schemeClr val="tx2"/>
                          </a:solidFill>
                          <a:effectLst/>
                        </a:rPr>
                        <a:t>Total sales volumes (k tonnes)</a:t>
                      </a:r>
                      <a:endParaRPr lang="en-US" sz="900" b="1" i="0" u="none" strike="noStrike">
                        <a:solidFill>
                          <a:schemeClr val="tx2"/>
                        </a:solidFill>
                        <a:effectLst/>
                        <a:latin typeface="Arial" panose="020B0604020202020204" pitchFamily="34" charset="0"/>
                      </a:endParaRPr>
                    </a:p>
                  </a:txBody>
                  <a:tcPr marL="182880" marT="27432" marB="27432" anchor="b"/>
                </a:tc>
                <a:tc>
                  <a:txBody>
                    <a:bodyPr/>
                    <a:lstStyle/>
                    <a:p>
                      <a:pPr algn="r" fontAlgn="b"/>
                      <a:r>
                        <a:rPr lang="en-US" sz="900" b="1" u="none" strike="noStrike">
                          <a:solidFill>
                            <a:schemeClr val="tx2"/>
                          </a:solidFill>
                          <a:effectLst/>
                        </a:rPr>
                        <a:t>1,700 </a:t>
                      </a:r>
                      <a:endParaRPr lang="en-US" sz="900" b="1" i="0" u="none" strike="noStrike">
                        <a:solidFill>
                          <a:schemeClr val="tx2"/>
                        </a:solidFill>
                        <a:effectLst/>
                        <a:latin typeface="Arial" panose="020B0604020202020204" pitchFamily="34" charset="0"/>
                      </a:endParaRPr>
                    </a:p>
                  </a:txBody>
                  <a:tcPr marR="274320" marT="27432" marB="27432" anchor="b"/>
                </a:tc>
                <a:tc>
                  <a:txBody>
                    <a:bodyPr/>
                    <a:lstStyle/>
                    <a:p>
                      <a:pPr algn="l" fontAlgn="b"/>
                      <a:r>
                        <a:rPr lang="en-US" sz="900" b="1" i="0" u="none" strike="noStrike">
                          <a:solidFill>
                            <a:schemeClr val="tx2"/>
                          </a:solidFill>
                          <a:effectLst/>
                          <a:latin typeface="Arial" panose="020B0604020202020204" pitchFamily="34" charset="0"/>
                        </a:rPr>
                        <a:t>Maximizing premium mix as opposed to maximizing volumes</a:t>
                      </a:r>
                    </a:p>
                  </a:txBody>
                  <a:tcPr marT="27432" marB="27432" anchor="b"/>
                </a:tc>
                <a:extLst>
                  <a:ext uri="{0D108BD9-81ED-4DB2-BD59-A6C34878D82A}">
                    <a16:rowId xmlns:a16="http://schemas.microsoft.com/office/drawing/2014/main" val="4082408942"/>
                  </a:ext>
                </a:extLst>
              </a:tr>
              <a:tr h="225546">
                <a:tc>
                  <a:txBody>
                    <a:bodyPr/>
                    <a:lstStyle/>
                    <a:p>
                      <a:pPr algn="l" fontAlgn="b"/>
                      <a:r>
                        <a:rPr lang="en-US" sz="900" b="1" u="none" strike="noStrike">
                          <a:solidFill>
                            <a:schemeClr val="tx2"/>
                          </a:solidFill>
                          <a:effectLst/>
                        </a:rPr>
                        <a:t>Vallourec average selling price ($)</a:t>
                      </a:r>
                      <a:endParaRPr lang="en-US" sz="900" b="1" i="0" u="none" strike="noStrike">
                        <a:solidFill>
                          <a:schemeClr val="tx2"/>
                        </a:solidFill>
                        <a:effectLst/>
                        <a:latin typeface="Arial" panose="020B0604020202020204" pitchFamily="34" charset="0"/>
                      </a:endParaRPr>
                    </a:p>
                  </a:txBody>
                  <a:tcPr marL="182880" marT="27432" marB="27432" anchor="b">
                    <a:lnL>
                      <a:noFill/>
                    </a:lnL>
                    <a:lnR>
                      <a:noFill/>
                    </a:lnR>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900" b="1" u="none" strike="noStrike">
                          <a:solidFill>
                            <a:schemeClr val="tx2"/>
                          </a:solidFill>
                          <a:effectLst/>
                        </a:rPr>
                        <a:t>$2,800- $3,000</a:t>
                      </a:r>
                      <a:endParaRPr lang="en-US" sz="900" b="1" i="0" u="none" strike="noStrike">
                        <a:solidFill>
                          <a:schemeClr val="tx2"/>
                        </a:solidFill>
                        <a:effectLst/>
                        <a:latin typeface="Arial" panose="020B0604020202020204" pitchFamily="34" charset="0"/>
                      </a:endParaRPr>
                    </a:p>
                  </a:txBody>
                  <a:tcPr marT="27432" marB="27432" anchor="b">
                    <a:lnL>
                      <a:noFill/>
                    </a:lnL>
                    <a:lnR>
                      <a:noFill/>
                    </a:lnR>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900" b="1" i="0" u="none" strike="noStrike">
                          <a:solidFill>
                            <a:schemeClr val="tx2"/>
                          </a:solidFill>
                          <a:effectLst/>
                          <a:latin typeface="Arial" panose="020B0604020202020204" pitchFamily="34" charset="0"/>
                        </a:rPr>
                        <a:t>Assumes market prices in the low-mid $2k per tonne range + Tier 1 premium</a:t>
                      </a:r>
                    </a:p>
                  </a:txBody>
                  <a:tcPr marT="27432" marB="27432" anchor="b">
                    <a:lnL>
                      <a:noFill/>
                    </a:lnL>
                    <a:lnR>
                      <a:noFill/>
                    </a:lnR>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6499407"/>
                  </a:ext>
                </a:extLst>
              </a:tr>
              <a:tr h="225546">
                <a:tc>
                  <a:txBody>
                    <a:bodyPr/>
                    <a:lstStyle/>
                    <a:p>
                      <a:pPr algn="l" fontAlgn="b"/>
                      <a:r>
                        <a:rPr lang="en-US" sz="900" u="none" strike="noStrike">
                          <a:solidFill>
                            <a:schemeClr val="tx2"/>
                          </a:solidFill>
                          <a:effectLst/>
                        </a:rPr>
                        <a:t>USD / EUR</a:t>
                      </a:r>
                      <a:endParaRPr lang="en-US" sz="900" b="0" i="0" u="none" strike="noStrike">
                        <a:solidFill>
                          <a:schemeClr val="tx2"/>
                        </a:solidFill>
                        <a:effectLst/>
                        <a:latin typeface="Arial" panose="020B0604020202020204" pitchFamily="34" charset="0"/>
                      </a:endParaRPr>
                    </a:p>
                  </a:txBody>
                  <a:tcPr marL="182880" marT="27432" marB="27432" anchor="b">
                    <a:lnT w="12700" cap="flat" cmpd="sng" algn="ctr">
                      <a:noFill/>
                      <a:prstDash val="solid"/>
                      <a:round/>
                      <a:headEnd type="none" w="med" len="med"/>
                      <a:tailEnd type="none" w="med" len="med"/>
                    </a:lnT>
                  </a:tcPr>
                </a:tc>
                <a:tc>
                  <a:txBody>
                    <a:bodyPr/>
                    <a:lstStyle/>
                    <a:p>
                      <a:pPr algn="r" fontAlgn="b"/>
                      <a:r>
                        <a:rPr lang="en-US" sz="900" u="none" strike="noStrike">
                          <a:solidFill>
                            <a:schemeClr val="tx2"/>
                          </a:solidFill>
                          <a:effectLst/>
                        </a:rPr>
                        <a:t>~1.10 </a:t>
                      </a:r>
                      <a:endParaRPr lang="en-US" sz="900" b="0" i="0" u="none" strike="noStrike">
                        <a:solidFill>
                          <a:schemeClr val="tx2"/>
                        </a:solidFill>
                        <a:effectLst/>
                        <a:latin typeface="Arial" panose="020B0604020202020204" pitchFamily="34" charset="0"/>
                      </a:endParaRPr>
                    </a:p>
                  </a:txBody>
                  <a:tcPr marR="274320" marT="27432" marB="27432" anchor="b">
                    <a:lnT w="12700" cap="flat" cmpd="sng" algn="ctr">
                      <a:noFill/>
                      <a:prstDash val="solid"/>
                      <a:round/>
                      <a:headEnd type="none" w="med" len="med"/>
                      <a:tailEnd type="none" w="med" len="med"/>
                    </a:lnT>
                  </a:tcPr>
                </a:tc>
                <a:tc>
                  <a:txBody>
                    <a:bodyPr/>
                    <a:lstStyle/>
                    <a:p>
                      <a:pPr algn="l" fontAlgn="b"/>
                      <a:endParaRPr lang="en-US" sz="900" b="0" i="0" u="none" strike="noStrike">
                        <a:solidFill>
                          <a:schemeClr val="tx2"/>
                        </a:solidFill>
                        <a:effectLst/>
                        <a:latin typeface="Arial" panose="020B0604020202020204" pitchFamily="34" charset="0"/>
                      </a:endParaRPr>
                    </a:p>
                  </a:txBody>
                  <a:tcPr marT="27432" marB="27432" anchor="b">
                    <a:lnT w="12700" cap="flat" cmpd="sng" algn="ctr">
                      <a:noFill/>
                      <a:prstDash val="solid"/>
                      <a:round/>
                      <a:headEnd type="none" w="med" len="med"/>
                      <a:tailEnd type="none" w="med" len="med"/>
                    </a:lnT>
                  </a:tcPr>
                </a:tc>
                <a:extLst>
                  <a:ext uri="{0D108BD9-81ED-4DB2-BD59-A6C34878D82A}">
                    <a16:rowId xmlns:a16="http://schemas.microsoft.com/office/drawing/2014/main" val="452421028"/>
                  </a:ext>
                </a:extLst>
              </a:tr>
              <a:tr h="225546">
                <a:tc>
                  <a:txBody>
                    <a:bodyPr/>
                    <a:lstStyle/>
                    <a:p>
                      <a:pPr algn="l" fontAlgn="b"/>
                      <a:r>
                        <a:rPr lang="en-US" sz="900" u="none" strike="noStrike">
                          <a:solidFill>
                            <a:schemeClr val="tx2"/>
                          </a:solidFill>
                          <a:effectLst/>
                        </a:rPr>
                        <a:t>Vallourec average selling price (€)</a:t>
                      </a:r>
                      <a:endParaRPr lang="en-US" sz="900" b="1" i="0" u="none" strike="noStrike">
                        <a:solidFill>
                          <a:schemeClr val="tx2"/>
                        </a:solidFill>
                        <a:effectLst/>
                        <a:latin typeface="Arial" panose="020B0604020202020204" pitchFamily="34" charset="0"/>
                      </a:endParaRPr>
                    </a:p>
                  </a:txBody>
                  <a:tcPr marL="182880" marT="27432" marB="27432" anchor="b"/>
                </a:tc>
                <a:tc>
                  <a:txBody>
                    <a:bodyPr/>
                    <a:lstStyle/>
                    <a:p>
                      <a:pPr algn="r" fontAlgn="b"/>
                      <a:r>
                        <a:rPr lang="en-US" sz="900" u="none" strike="noStrike">
                          <a:solidFill>
                            <a:schemeClr val="tx2"/>
                          </a:solidFill>
                          <a:effectLst/>
                        </a:rPr>
                        <a:t>€2,650</a:t>
                      </a:r>
                      <a:endParaRPr lang="en-US" sz="900" b="1" i="0" u="none" strike="noStrike">
                        <a:solidFill>
                          <a:schemeClr val="tx2"/>
                        </a:solidFill>
                        <a:effectLst/>
                        <a:latin typeface="Arial" panose="020B0604020202020204" pitchFamily="34" charset="0"/>
                      </a:endParaRPr>
                    </a:p>
                  </a:txBody>
                  <a:tcPr marR="274320" marT="27432" marB="27432" anchor="b"/>
                </a:tc>
                <a:tc>
                  <a:txBody>
                    <a:bodyPr/>
                    <a:lstStyle/>
                    <a:p>
                      <a:pPr algn="l" fontAlgn="b"/>
                      <a:r>
                        <a:rPr lang="en-US" sz="900" b="0" i="0" u="none" strike="noStrike">
                          <a:solidFill>
                            <a:schemeClr val="tx2"/>
                          </a:solidFill>
                          <a:effectLst/>
                          <a:latin typeface="Arial" panose="020B0604020202020204" pitchFamily="34" charset="0"/>
                        </a:rPr>
                        <a:t>At midpoint of assumed pricing range</a:t>
                      </a:r>
                    </a:p>
                  </a:txBody>
                  <a:tcPr marT="27432" marB="27432" anchor="b"/>
                </a:tc>
                <a:extLst>
                  <a:ext uri="{0D108BD9-81ED-4DB2-BD59-A6C34878D82A}">
                    <a16:rowId xmlns:a16="http://schemas.microsoft.com/office/drawing/2014/main" val="2790196881"/>
                  </a:ext>
                </a:extLst>
              </a:tr>
              <a:tr h="225546">
                <a:tc>
                  <a:txBody>
                    <a:bodyPr/>
                    <a:lstStyle/>
                    <a:p>
                      <a:pPr algn="l" fontAlgn="b"/>
                      <a:r>
                        <a:rPr lang="en-US" sz="900" b="0" u="none" strike="noStrike">
                          <a:solidFill>
                            <a:schemeClr val="tx2"/>
                          </a:solidFill>
                          <a:effectLst/>
                        </a:rPr>
                        <a:t>Total costs per tonne (€)</a:t>
                      </a:r>
                      <a:endParaRPr lang="en-US" sz="900" b="0" i="0" u="none" strike="noStrike">
                        <a:solidFill>
                          <a:schemeClr val="tx2"/>
                        </a:solidFill>
                        <a:effectLst/>
                        <a:latin typeface="Arial" panose="020B0604020202020204" pitchFamily="34" charset="0"/>
                      </a:endParaRPr>
                    </a:p>
                  </a:txBody>
                  <a:tcPr marL="182880" marT="27432" marB="27432" anchor="b">
                    <a:lnB w="12700" cap="flat" cmpd="sng" algn="ctr">
                      <a:solidFill>
                        <a:schemeClr val="tx1"/>
                      </a:solidFill>
                      <a:prstDash val="solid"/>
                      <a:round/>
                      <a:headEnd type="none" w="med" len="med"/>
                      <a:tailEnd type="none" w="med" len="med"/>
                    </a:lnB>
                  </a:tcPr>
                </a:tc>
                <a:tc>
                  <a:txBody>
                    <a:bodyPr/>
                    <a:lstStyle/>
                    <a:p>
                      <a:pPr algn="r" fontAlgn="b"/>
                      <a:r>
                        <a:rPr lang="en-US" sz="900" b="0" u="none" strike="noStrike">
                          <a:solidFill>
                            <a:schemeClr val="tx2"/>
                          </a:solidFill>
                          <a:effectLst/>
                        </a:rPr>
                        <a:t>€2,200</a:t>
                      </a:r>
                      <a:endParaRPr lang="en-US" sz="900" b="0" i="0" u="none" strike="noStrike">
                        <a:solidFill>
                          <a:schemeClr val="tx2"/>
                        </a:solidFill>
                        <a:effectLst/>
                        <a:latin typeface="Arial" panose="020B0604020202020204" pitchFamily="34" charset="0"/>
                      </a:endParaRPr>
                    </a:p>
                  </a:txBody>
                  <a:tcPr marR="274320" marT="27432" marB="27432" anchor="b">
                    <a:lnB w="12700" cap="flat" cmpd="sng" algn="ctr">
                      <a:solidFill>
                        <a:schemeClr val="tx1"/>
                      </a:solidFill>
                      <a:prstDash val="solid"/>
                      <a:round/>
                      <a:headEnd type="none" w="med" len="med"/>
                      <a:tailEnd type="none" w="med" len="med"/>
                    </a:lnB>
                  </a:tcPr>
                </a:tc>
                <a:tc>
                  <a:txBody>
                    <a:bodyPr/>
                    <a:lstStyle/>
                    <a:p>
                      <a:pPr algn="l" fontAlgn="b"/>
                      <a:r>
                        <a:rPr lang="en-US" sz="900" b="0" i="0" u="none" strike="noStrike">
                          <a:solidFill>
                            <a:schemeClr val="tx2"/>
                          </a:solidFill>
                          <a:effectLst/>
                          <a:latin typeface="Arial" panose="020B0604020202020204" pitchFamily="34" charset="0"/>
                        </a:rPr>
                        <a:t>Assumed to remain elevated versus history</a:t>
                      </a:r>
                    </a:p>
                  </a:txBody>
                  <a:tcPr marT="27432" marB="27432"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3578620"/>
                  </a:ext>
                </a:extLst>
              </a:tr>
              <a:tr h="225546">
                <a:tc>
                  <a:txBody>
                    <a:bodyPr/>
                    <a:lstStyle/>
                    <a:p>
                      <a:pPr algn="l" fontAlgn="b"/>
                      <a:r>
                        <a:rPr lang="en-US" sz="900" b="1" u="none" strike="noStrike">
                          <a:solidFill>
                            <a:schemeClr val="bg1"/>
                          </a:solidFill>
                          <a:effectLst/>
                        </a:rPr>
                        <a:t>EBITDA per tonne (€)</a:t>
                      </a:r>
                      <a:endParaRPr lang="en-US" sz="900" b="1" i="0" u="none" strike="noStrike">
                        <a:solidFill>
                          <a:schemeClr val="bg1"/>
                        </a:solidFill>
                        <a:effectLst/>
                        <a:latin typeface="Arial" panose="020B0604020202020204" pitchFamily="34" charset="0"/>
                      </a:endParaRPr>
                    </a:p>
                  </a:txBody>
                  <a:tcPr marL="182880" marT="27432" marB="27432"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r" fontAlgn="b"/>
                      <a:r>
                        <a:rPr lang="en-US" sz="900" b="1" u="none" strike="noStrike">
                          <a:solidFill>
                            <a:schemeClr val="bg1"/>
                          </a:solidFill>
                          <a:effectLst/>
                        </a:rPr>
                        <a:t>€450</a:t>
                      </a:r>
                      <a:endParaRPr lang="en-US" sz="900" b="1" i="0" u="none" strike="noStrike">
                        <a:solidFill>
                          <a:schemeClr val="bg1"/>
                        </a:solidFill>
                        <a:effectLst/>
                        <a:latin typeface="Arial" panose="020B0604020202020204" pitchFamily="34" charset="0"/>
                      </a:endParaRPr>
                    </a:p>
                  </a:txBody>
                  <a:tcPr marR="274320" marT="27432" marB="27432"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fontAlgn="b"/>
                      <a:endParaRPr lang="en-US" sz="900" b="1" i="0" u="none" strike="noStrike">
                        <a:solidFill>
                          <a:schemeClr val="bg1"/>
                        </a:solidFill>
                        <a:effectLst/>
                        <a:latin typeface="Arial" panose="020B0604020202020204" pitchFamily="34" charset="0"/>
                      </a:endParaRPr>
                    </a:p>
                  </a:txBody>
                  <a:tcPr marT="27432" marB="27432"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411569232"/>
                  </a:ext>
                </a:extLst>
              </a:tr>
              <a:tr h="0">
                <a:tc>
                  <a:txBody>
                    <a:bodyPr/>
                    <a:lstStyle/>
                    <a:p>
                      <a:pPr algn="l" fontAlgn="b"/>
                      <a:endParaRPr lang="en-US" sz="200" b="0" i="0" u="none" strike="noStrike">
                        <a:solidFill>
                          <a:srgbClr val="000000"/>
                        </a:solidFill>
                        <a:effectLst/>
                        <a:latin typeface="Arial" panose="020B0604020202020204" pitchFamily="34" charset="0"/>
                      </a:endParaRPr>
                    </a:p>
                  </a:txBody>
                  <a:tcPr marT="27432" marB="27432" anchor="b">
                    <a:lnT w="12700" cap="flat" cmpd="sng" algn="ctr">
                      <a:solidFill>
                        <a:schemeClr val="tx1"/>
                      </a:solidFill>
                      <a:prstDash val="solid"/>
                      <a:round/>
                      <a:headEnd type="none" w="med" len="med"/>
                      <a:tailEnd type="none" w="med" len="med"/>
                    </a:lnT>
                  </a:tcPr>
                </a:tc>
                <a:tc>
                  <a:txBody>
                    <a:bodyPr/>
                    <a:lstStyle/>
                    <a:p>
                      <a:pPr algn="l" fontAlgn="b"/>
                      <a:endParaRPr lang="en-US" sz="200" b="0" i="0" u="none" strike="noStrike">
                        <a:solidFill>
                          <a:srgbClr val="000000"/>
                        </a:solidFill>
                        <a:effectLst/>
                        <a:latin typeface="Arial" panose="020B0604020202020204" pitchFamily="34" charset="0"/>
                      </a:endParaRPr>
                    </a:p>
                  </a:txBody>
                  <a:tcPr marT="27432" marB="27432" anchor="b">
                    <a:lnT w="12700" cap="flat" cmpd="sng" algn="ctr">
                      <a:solidFill>
                        <a:schemeClr val="tx1"/>
                      </a:solidFill>
                      <a:prstDash val="solid"/>
                      <a:round/>
                      <a:headEnd type="none" w="med" len="med"/>
                      <a:tailEnd type="none" w="med" len="med"/>
                    </a:lnT>
                  </a:tcPr>
                </a:tc>
                <a:tc>
                  <a:txBody>
                    <a:bodyPr/>
                    <a:lstStyle/>
                    <a:p>
                      <a:pPr algn="l" fontAlgn="b"/>
                      <a:endParaRPr lang="en-US" sz="200" b="0" i="0" u="none" strike="noStrike">
                        <a:solidFill>
                          <a:schemeClr val="tx1"/>
                        </a:solidFill>
                        <a:effectLst/>
                        <a:latin typeface="Arial" panose="020B0604020202020204" pitchFamily="34" charset="0"/>
                      </a:endParaRPr>
                    </a:p>
                  </a:txBody>
                  <a:tcPr marT="27432" marB="27432"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044764656"/>
                  </a:ext>
                </a:extLst>
              </a:tr>
              <a:tr h="225546">
                <a:tc gridSpan="3">
                  <a:txBody>
                    <a:bodyPr/>
                    <a:lstStyle/>
                    <a:p>
                      <a:pPr algn="l" fontAlgn="b"/>
                      <a:r>
                        <a:rPr lang="en-US" sz="900" b="1" u="sng" strike="noStrike">
                          <a:effectLst/>
                        </a:rPr>
                        <a:t>Simplified Tubes P&amp;L</a:t>
                      </a:r>
                      <a:endParaRPr lang="en-US" sz="900" b="1" i="0" u="sng" strike="noStrike">
                        <a:solidFill>
                          <a:srgbClr val="000000"/>
                        </a:solidFill>
                        <a:effectLst/>
                        <a:latin typeface="Arial" panose="020B0604020202020204" pitchFamily="34" charset="0"/>
                      </a:endParaRPr>
                    </a:p>
                  </a:txBody>
                  <a:tcPr marT="27432" marB="27432" anchor="b"/>
                </a:tc>
                <a:tc hMerge="1">
                  <a:txBody>
                    <a:bodyPr/>
                    <a:lstStyle/>
                    <a:p>
                      <a:pPr algn="l" fontAlgn="b"/>
                      <a:endParaRPr lang="en-US" sz="900" b="0" i="0" u="none" strike="noStrike">
                        <a:solidFill>
                          <a:srgbClr val="000000"/>
                        </a:solidFill>
                        <a:effectLst/>
                        <a:latin typeface="Arial" panose="020B0604020202020204" pitchFamily="34" charset="0"/>
                      </a:endParaRPr>
                    </a:p>
                  </a:txBody>
                  <a:tcPr anchor="b"/>
                </a:tc>
                <a:tc hMerge="1">
                  <a:txBody>
                    <a:bodyPr/>
                    <a:lstStyle/>
                    <a:p>
                      <a:pPr algn="l" fontAlgn="b"/>
                      <a:endParaRPr lang="en-US" sz="900" b="0" i="0" u="none" strike="noStrike">
                        <a:solidFill>
                          <a:schemeClr val="tx1"/>
                        </a:solidFill>
                        <a:effectLst/>
                        <a:latin typeface="Arial" panose="020B0604020202020204" pitchFamily="34" charset="0"/>
                      </a:endParaRPr>
                    </a:p>
                  </a:txBody>
                  <a:tcPr anchor="b"/>
                </a:tc>
                <a:extLst>
                  <a:ext uri="{0D108BD9-81ED-4DB2-BD59-A6C34878D82A}">
                    <a16:rowId xmlns:a16="http://schemas.microsoft.com/office/drawing/2014/main" val="3098214298"/>
                  </a:ext>
                </a:extLst>
              </a:tr>
              <a:tr h="225546">
                <a:tc>
                  <a:txBody>
                    <a:bodyPr/>
                    <a:lstStyle/>
                    <a:p>
                      <a:pPr algn="l" fontAlgn="b"/>
                      <a:r>
                        <a:rPr lang="en-US" sz="900" u="none" strike="noStrike">
                          <a:effectLst/>
                        </a:rPr>
                        <a:t>Revenues</a:t>
                      </a:r>
                      <a:endParaRPr lang="en-US" sz="900" b="1" i="0" u="none" strike="noStrike">
                        <a:solidFill>
                          <a:srgbClr val="000000"/>
                        </a:solidFill>
                        <a:effectLst/>
                        <a:latin typeface="Arial" panose="020B0604020202020204" pitchFamily="34" charset="0"/>
                      </a:endParaRPr>
                    </a:p>
                  </a:txBody>
                  <a:tcPr marL="182880" marT="27432" marB="27432" anchor="b">
                    <a:lnB w="12700" cap="flat" cmpd="sng" algn="ctr">
                      <a:solidFill>
                        <a:schemeClr val="tx1"/>
                      </a:solidFill>
                      <a:prstDash val="solid"/>
                      <a:round/>
                      <a:headEnd type="none" w="med" len="med"/>
                      <a:tailEnd type="none" w="med" len="med"/>
                    </a:lnB>
                  </a:tcPr>
                </a:tc>
                <a:tc>
                  <a:txBody>
                    <a:bodyPr/>
                    <a:lstStyle/>
                    <a:p>
                      <a:pPr algn="r" fontAlgn="b"/>
                      <a:r>
                        <a:rPr lang="en-US" sz="900" u="none" strike="noStrike">
                          <a:effectLst/>
                        </a:rPr>
                        <a:t>€</a:t>
                      </a:r>
                      <a:r>
                        <a:rPr lang="en-US" sz="900" b="0" u="none" strike="noStrike">
                          <a:solidFill>
                            <a:srgbClr val="000000"/>
                          </a:solidFill>
                          <a:effectLst/>
                        </a:rPr>
                        <a:t>4.5b</a:t>
                      </a:r>
                      <a:endParaRPr lang="en-US" sz="900" b="0" i="0" u="none" strike="noStrike">
                        <a:solidFill>
                          <a:srgbClr val="000000"/>
                        </a:solidFill>
                        <a:effectLst/>
                        <a:latin typeface="Arial" panose="020B0604020202020204" pitchFamily="34" charset="0"/>
                      </a:endParaRPr>
                    </a:p>
                  </a:txBody>
                  <a:tcPr marR="274320" marT="27432" marB="27432" anchor="b">
                    <a:lnB w="12700" cap="flat" cmpd="sng" algn="ctr">
                      <a:solidFill>
                        <a:schemeClr val="tx1"/>
                      </a:solidFill>
                      <a:prstDash val="solid"/>
                      <a:round/>
                      <a:headEnd type="none" w="med" len="med"/>
                      <a:tailEnd type="none" w="med" len="med"/>
                    </a:lnB>
                  </a:tcPr>
                </a:tc>
                <a:tc>
                  <a:txBody>
                    <a:bodyPr/>
                    <a:lstStyle/>
                    <a:p>
                      <a:pPr algn="l" fontAlgn="b"/>
                      <a:endParaRPr lang="en-US" sz="900" b="0" i="0" u="none" strike="noStrike">
                        <a:solidFill>
                          <a:schemeClr val="tx1"/>
                        </a:solidFill>
                        <a:effectLst/>
                        <a:latin typeface="Arial" panose="020B0604020202020204" pitchFamily="34" charset="0"/>
                      </a:endParaRPr>
                    </a:p>
                  </a:txBody>
                  <a:tcPr marT="27432" marB="27432"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28604148"/>
                  </a:ext>
                </a:extLst>
              </a:tr>
              <a:tr h="225546">
                <a:tc>
                  <a:txBody>
                    <a:bodyPr/>
                    <a:lstStyle/>
                    <a:p>
                      <a:pPr algn="l" fontAlgn="b"/>
                      <a:r>
                        <a:rPr lang="en-US" sz="900" b="1" u="none" strike="noStrike">
                          <a:solidFill>
                            <a:schemeClr val="bg1"/>
                          </a:solidFill>
                          <a:effectLst/>
                        </a:rPr>
                        <a:t>EBITDA</a:t>
                      </a:r>
                      <a:endParaRPr lang="en-US" sz="900" b="1" i="0" u="none" strike="noStrike">
                        <a:solidFill>
                          <a:schemeClr val="bg1"/>
                        </a:solidFill>
                        <a:effectLst/>
                        <a:latin typeface="Arial" panose="020B0604020202020204" pitchFamily="34" charset="0"/>
                      </a:endParaRPr>
                    </a:p>
                  </a:txBody>
                  <a:tcPr marL="182880" marT="27432" marB="27432"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r" fontAlgn="b"/>
                      <a:r>
                        <a:rPr lang="en-US" sz="900" b="1" u="none" strike="noStrike">
                          <a:solidFill>
                            <a:schemeClr val="bg1"/>
                          </a:solidFill>
                          <a:effectLst/>
                        </a:rPr>
                        <a:t>€750m</a:t>
                      </a:r>
                      <a:endParaRPr lang="en-US" sz="900" b="1" i="0" u="none" strike="noStrike">
                        <a:solidFill>
                          <a:schemeClr val="bg1"/>
                        </a:solidFill>
                        <a:effectLst/>
                        <a:latin typeface="Arial" panose="020B0604020202020204" pitchFamily="34" charset="0"/>
                      </a:endParaRPr>
                    </a:p>
                  </a:txBody>
                  <a:tcPr marR="274320" marT="27432" marB="27432"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fontAlgn="b"/>
                      <a:endParaRPr lang="en-US" sz="900" b="1" i="0" u="none" strike="noStrike">
                        <a:solidFill>
                          <a:schemeClr val="bg1"/>
                        </a:solidFill>
                        <a:effectLst/>
                        <a:latin typeface="Arial" panose="020B0604020202020204" pitchFamily="34" charset="0"/>
                      </a:endParaRPr>
                    </a:p>
                  </a:txBody>
                  <a:tcPr marT="27432" marB="27432"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97739593"/>
                  </a:ext>
                </a:extLst>
              </a:tr>
              <a:tr h="225546">
                <a:tc>
                  <a:txBody>
                    <a:bodyPr/>
                    <a:lstStyle/>
                    <a:p>
                      <a:pPr algn="l" fontAlgn="b"/>
                      <a:r>
                        <a:rPr lang="en-US" sz="900" u="none" strike="noStrike">
                          <a:effectLst/>
                        </a:rPr>
                        <a:t>EBITDA % Margin</a:t>
                      </a:r>
                      <a:endParaRPr lang="en-US" sz="900" b="0" i="0" u="none" strike="noStrike">
                        <a:solidFill>
                          <a:srgbClr val="000000"/>
                        </a:solidFill>
                        <a:effectLst/>
                        <a:latin typeface="Arial" panose="020B0604020202020204" pitchFamily="34" charset="0"/>
                      </a:endParaRPr>
                    </a:p>
                  </a:txBody>
                  <a:tcPr marL="182880" marT="27432" marB="27432" anchor="b">
                    <a:lnT w="12700" cap="flat" cmpd="sng" algn="ctr">
                      <a:solidFill>
                        <a:schemeClr val="tx1"/>
                      </a:solidFill>
                      <a:prstDash val="solid"/>
                      <a:round/>
                      <a:headEnd type="none" w="med" len="med"/>
                      <a:tailEnd type="none" w="med" len="med"/>
                    </a:lnT>
                  </a:tcPr>
                </a:tc>
                <a:tc>
                  <a:txBody>
                    <a:bodyPr/>
                    <a:lstStyle/>
                    <a:p>
                      <a:pPr algn="r" fontAlgn="b"/>
                      <a:r>
                        <a:rPr lang="en-US" sz="900" u="none" strike="noStrike">
                          <a:effectLst/>
                        </a:rPr>
                        <a:t>17% </a:t>
                      </a:r>
                      <a:endParaRPr lang="en-US" sz="900" b="0" i="0" u="none" strike="noStrike">
                        <a:solidFill>
                          <a:srgbClr val="000000"/>
                        </a:solidFill>
                        <a:effectLst/>
                        <a:latin typeface="Arial" panose="020B0604020202020204" pitchFamily="34" charset="0"/>
                      </a:endParaRPr>
                    </a:p>
                  </a:txBody>
                  <a:tcPr marR="274320" marT="27432" marB="27432" anchor="b">
                    <a:lnT w="12700" cap="flat" cmpd="sng" algn="ctr">
                      <a:solidFill>
                        <a:schemeClr val="tx1"/>
                      </a:solidFill>
                      <a:prstDash val="solid"/>
                      <a:round/>
                      <a:headEnd type="none" w="med" len="med"/>
                      <a:tailEnd type="none" w="med" len="med"/>
                    </a:lnT>
                  </a:tcPr>
                </a:tc>
                <a:tc>
                  <a:txBody>
                    <a:bodyPr/>
                    <a:lstStyle/>
                    <a:p>
                      <a:pPr algn="l" fontAlgn="b"/>
                      <a:endParaRPr lang="en-US" sz="900" b="0" i="0" u="none" strike="noStrike">
                        <a:solidFill>
                          <a:schemeClr val="tx1"/>
                        </a:solidFill>
                        <a:effectLst/>
                        <a:latin typeface="Arial" panose="020B0604020202020204" pitchFamily="34" charset="0"/>
                      </a:endParaRPr>
                    </a:p>
                  </a:txBody>
                  <a:tcPr marT="27432" marB="27432"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309432443"/>
                  </a:ext>
                </a:extLst>
              </a:tr>
            </a:tbl>
          </a:graphicData>
        </a:graphic>
      </p:graphicFrame>
      <p:sp>
        <p:nvSpPr>
          <p:cNvPr id="7" name="TextBox 6">
            <a:extLst>
              <a:ext uri="{FF2B5EF4-FFF2-40B4-BE49-F238E27FC236}">
                <a16:creationId xmlns:a16="http://schemas.microsoft.com/office/drawing/2014/main" id="{3107DBE3-22E7-13D4-CFA8-8C463160917C}"/>
              </a:ext>
            </a:extLst>
          </p:cNvPr>
          <p:cNvSpPr txBox="1"/>
          <p:nvPr/>
        </p:nvSpPr>
        <p:spPr>
          <a:xfrm>
            <a:off x="458155" y="4362331"/>
            <a:ext cx="7991884" cy="296813"/>
          </a:xfrm>
          <a:prstGeom prst="rect">
            <a:avLst/>
          </a:prstGeom>
          <a:noFill/>
        </p:spPr>
        <p:txBody>
          <a:bodyPr vert="horz" wrap="square" lIns="0" tIns="0" rIns="0" bIns="0" rtlCol="0" anchor="t">
            <a:spAutoFit/>
          </a:bodyPr>
          <a:lstStyle>
            <a:defPPr>
              <a:defRPr lang="fr-FR"/>
            </a:defPPr>
            <a:lvl1pPr>
              <a:lnSpc>
                <a:spcPct val="110000"/>
              </a:lnSpc>
              <a:defRPr sz="600" b="0" i="1">
                <a:solidFill>
                  <a:schemeClr val="tx2"/>
                </a:solidFill>
              </a:defRPr>
            </a:lvl1pPr>
          </a:lstStyle>
          <a:p>
            <a:r>
              <a:rPr lang="en-US"/>
              <a:t>Notes: All per-tonne metrics rounded to nearest multiple of 50. Revenue is rounded to nearest €100 million, EBITDA to nearest €50 million increment. Total cost per tonne includes Cost of Sales and SG&amp;A. The midcycle simulation shown in this presentation and related assumptions do NOT represent guidance, forecast, target or outlook of Vallourec for any particular financial year, but aim to represent an abstract average across cycles and across different circumstances to illustrate, in a volatile and unpredictable environment, the theoretical functioning of the New Vallourec. Average selling price defined as revenue divided by sales volumes.</a:t>
            </a:r>
          </a:p>
        </p:txBody>
      </p:sp>
    </p:spTree>
    <p:custDataLst>
      <p:tags r:id="rId1"/>
    </p:custDataLst>
    <p:extLst>
      <p:ext uri="{BB962C8B-B14F-4D97-AF65-F5344CB8AC3E}">
        <p14:creationId xmlns:p14="http://schemas.microsoft.com/office/powerpoint/2010/main" val="36956801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4979-616B-7274-D841-B2ED07FA6E17}"/>
              </a:ext>
            </a:extLst>
          </p:cNvPr>
          <p:cNvSpPr>
            <a:spLocks noGrp="1"/>
          </p:cNvSpPr>
          <p:nvPr>
            <p:ph type="title"/>
          </p:nvPr>
        </p:nvSpPr>
        <p:spPr/>
        <p:txBody>
          <a:bodyPr/>
          <a:lstStyle/>
          <a:p>
            <a:r>
              <a:rPr lang="en-GB"/>
              <a:t>The Mining Process</a:t>
            </a:r>
          </a:p>
        </p:txBody>
      </p:sp>
      <p:cxnSp>
        <p:nvCxnSpPr>
          <p:cNvPr id="5" name="Straight Arrow Connector 4">
            <a:extLst>
              <a:ext uri="{FF2B5EF4-FFF2-40B4-BE49-F238E27FC236}">
                <a16:creationId xmlns:a16="http://schemas.microsoft.com/office/drawing/2014/main" id="{F60E5BF0-9D2A-08E1-0F30-94912BF161C0}"/>
              </a:ext>
            </a:extLst>
          </p:cNvPr>
          <p:cNvCxnSpPr>
            <a:cxnSpLocks/>
          </p:cNvCxnSpPr>
          <p:nvPr/>
        </p:nvCxnSpPr>
        <p:spPr>
          <a:xfrm>
            <a:off x="4973934" y="1980752"/>
            <a:ext cx="0" cy="729492"/>
          </a:xfrm>
          <a:prstGeom prst="straightConnector1">
            <a:avLst/>
          </a:prstGeom>
          <a:ln w="19050">
            <a:prstDash val="sysDash"/>
            <a:tailEnd type="triangle"/>
          </a:ln>
        </p:spPr>
        <p:style>
          <a:lnRef idx="1">
            <a:schemeClr val="dk1"/>
          </a:lnRef>
          <a:fillRef idx="0">
            <a:schemeClr val="dk1"/>
          </a:fillRef>
          <a:effectRef idx="0">
            <a:schemeClr val="dk1"/>
          </a:effectRef>
          <a:fontRef idx="minor">
            <a:schemeClr val="tx1"/>
          </a:fontRef>
        </p:style>
      </p:cxnSp>
      <p:cxnSp>
        <p:nvCxnSpPr>
          <p:cNvPr id="7" name="Straight Arrow Connector 6">
            <a:extLst>
              <a:ext uri="{FF2B5EF4-FFF2-40B4-BE49-F238E27FC236}">
                <a16:creationId xmlns:a16="http://schemas.microsoft.com/office/drawing/2014/main" id="{5312FB08-4309-92C7-6254-BFE636792A33}"/>
              </a:ext>
            </a:extLst>
          </p:cNvPr>
          <p:cNvCxnSpPr>
            <a:cxnSpLocks/>
            <a:stCxn id="73" idx="3"/>
          </p:cNvCxnSpPr>
          <p:nvPr/>
        </p:nvCxnSpPr>
        <p:spPr>
          <a:xfrm>
            <a:off x="5339695" y="1693506"/>
            <a:ext cx="1689685" cy="0"/>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E54E8992-767C-11F6-8EA6-08424EA42DF8}"/>
              </a:ext>
            </a:extLst>
          </p:cNvPr>
          <p:cNvSpPr txBox="1"/>
          <p:nvPr/>
        </p:nvSpPr>
        <p:spPr>
          <a:xfrm>
            <a:off x="2961438" y="1676419"/>
            <a:ext cx="1011815" cy="461665"/>
          </a:xfrm>
          <a:prstGeom prst="rect">
            <a:avLst/>
          </a:prstGeom>
          <a:noFill/>
        </p:spPr>
        <p:txBody>
          <a:bodyPr wrap="none" rtlCol="0">
            <a:spAutoFit/>
          </a:bodyPr>
          <a:lstStyle/>
          <a:p>
            <a:pPr algn="ctr"/>
            <a:r>
              <a:rPr lang="en-GB" sz="1200" i="1"/>
              <a:t>Run of Mine</a:t>
            </a:r>
          </a:p>
          <a:p>
            <a:pPr algn="ctr"/>
            <a:r>
              <a:rPr lang="en-GB" sz="1200" i="1"/>
              <a:t>(ROM)</a:t>
            </a:r>
          </a:p>
        </p:txBody>
      </p:sp>
      <p:sp>
        <p:nvSpPr>
          <p:cNvPr id="14" name="TextBox 13">
            <a:extLst>
              <a:ext uri="{FF2B5EF4-FFF2-40B4-BE49-F238E27FC236}">
                <a16:creationId xmlns:a16="http://schemas.microsoft.com/office/drawing/2014/main" id="{661BB8EE-A709-3A17-2D73-ADDE29624BDC}"/>
              </a:ext>
            </a:extLst>
          </p:cNvPr>
          <p:cNvSpPr txBox="1"/>
          <p:nvPr/>
        </p:nvSpPr>
        <p:spPr>
          <a:xfrm>
            <a:off x="4239820" y="2138903"/>
            <a:ext cx="697948" cy="461665"/>
          </a:xfrm>
          <a:prstGeom prst="rect">
            <a:avLst/>
          </a:prstGeom>
          <a:noFill/>
        </p:spPr>
        <p:txBody>
          <a:bodyPr wrap="none" rtlCol="0">
            <a:spAutoFit/>
          </a:bodyPr>
          <a:lstStyle/>
          <a:p>
            <a:pPr algn="ctr"/>
            <a:r>
              <a:rPr lang="en-GB" sz="1200" i="1"/>
              <a:t>Wet</a:t>
            </a:r>
          </a:p>
          <a:p>
            <a:pPr algn="ctr"/>
            <a:r>
              <a:rPr lang="en-GB" sz="1200" i="1"/>
              <a:t>Tailings</a:t>
            </a:r>
          </a:p>
        </p:txBody>
      </p:sp>
      <p:sp>
        <p:nvSpPr>
          <p:cNvPr id="16" name="TextBox 15">
            <a:extLst>
              <a:ext uri="{FF2B5EF4-FFF2-40B4-BE49-F238E27FC236}">
                <a16:creationId xmlns:a16="http://schemas.microsoft.com/office/drawing/2014/main" id="{16D75CE3-F8C6-9A0E-089A-6779506C892B}"/>
              </a:ext>
            </a:extLst>
          </p:cNvPr>
          <p:cNvSpPr txBox="1"/>
          <p:nvPr/>
        </p:nvSpPr>
        <p:spPr>
          <a:xfrm>
            <a:off x="3150368" y="4083643"/>
            <a:ext cx="633955" cy="276999"/>
          </a:xfrm>
          <a:prstGeom prst="rect">
            <a:avLst/>
          </a:prstGeom>
          <a:noFill/>
        </p:spPr>
        <p:txBody>
          <a:bodyPr wrap="none" rtlCol="0">
            <a:spAutoFit/>
          </a:bodyPr>
          <a:lstStyle/>
          <a:p>
            <a:pPr algn="ctr"/>
            <a:r>
              <a:rPr lang="en-GB" sz="1200" i="1"/>
              <a:t>Waste</a:t>
            </a:r>
          </a:p>
        </p:txBody>
      </p:sp>
      <p:sp>
        <p:nvSpPr>
          <p:cNvPr id="17" name="TextBox 16">
            <a:extLst>
              <a:ext uri="{FF2B5EF4-FFF2-40B4-BE49-F238E27FC236}">
                <a16:creationId xmlns:a16="http://schemas.microsoft.com/office/drawing/2014/main" id="{B7A83146-D836-FCDD-A523-877BA5FACC54}"/>
              </a:ext>
            </a:extLst>
          </p:cNvPr>
          <p:cNvSpPr txBox="1"/>
          <p:nvPr/>
        </p:nvSpPr>
        <p:spPr>
          <a:xfrm>
            <a:off x="5861711" y="1724743"/>
            <a:ext cx="792204" cy="276999"/>
          </a:xfrm>
          <a:prstGeom prst="rect">
            <a:avLst/>
          </a:prstGeom>
          <a:noFill/>
        </p:spPr>
        <p:txBody>
          <a:bodyPr wrap="none" rtlCol="0">
            <a:spAutoFit/>
          </a:bodyPr>
          <a:lstStyle/>
          <a:p>
            <a:pPr algn="ctr"/>
            <a:r>
              <a:rPr lang="en-GB" sz="1200" i="1"/>
              <a:t>Iron Ore </a:t>
            </a:r>
          </a:p>
        </p:txBody>
      </p:sp>
      <p:sp>
        <p:nvSpPr>
          <p:cNvPr id="19" name="TextBox 18">
            <a:extLst>
              <a:ext uri="{FF2B5EF4-FFF2-40B4-BE49-F238E27FC236}">
                <a16:creationId xmlns:a16="http://schemas.microsoft.com/office/drawing/2014/main" id="{415EEAAC-B050-674D-DE14-431064001776}"/>
              </a:ext>
            </a:extLst>
          </p:cNvPr>
          <p:cNvSpPr txBox="1"/>
          <p:nvPr/>
        </p:nvSpPr>
        <p:spPr>
          <a:xfrm>
            <a:off x="4155849" y="943232"/>
            <a:ext cx="1645920" cy="365760"/>
          </a:xfrm>
          <a:prstGeom prst="roundRect">
            <a:avLst/>
          </a:prstGeom>
          <a:solidFill>
            <a:schemeClr val="bg2"/>
          </a:solidFill>
          <a:effectLst>
            <a:outerShdw blurRad="50800" dist="38100" dir="5400000" algn="t" rotWithShape="0">
              <a:prstClr val="black">
                <a:alpha val="40000"/>
              </a:prstClr>
            </a:outerShdw>
          </a:effectLst>
        </p:spPr>
        <p:txBody>
          <a:bodyPr wrap="none" lIns="45720" rIns="45720" rtlCol="0" anchor="ctr" anchorCtr="0">
            <a:noAutofit/>
          </a:bodyPr>
          <a:lstStyle/>
          <a:p>
            <a:pPr algn="ctr"/>
            <a:r>
              <a:rPr lang="en-GB" sz="1200" b="1">
                <a:solidFill>
                  <a:schemeClr val="bg1"/>
                </a:solidFill>
              </a:rPr>
              <a:t>Beneficiation Plant</a:t>
            </a:r>
          </a:p>
        </p:txBody>
      </p:sp>
      <p:sp>
        <p:nvSpPr>
          <p:cNvPr id="20" name="TextBox 19">
            <a:extLst>
              <a:ext uri="{FF2B5EF4-FFF2-40B4-BE49-F238E27FC236}">
                <a16:creationId xmlns:a16="http://schemas.microsoft.com/office/drawing/2014/main" id="{DF404ED9-F8C6-1417-3776-71053273711B}"/>
              </a:ext>
            </a:extLst>
          </p:cNvPr>
          <p:cNvSpPr txBox="1"/>
          <p:nvPr/>
        </p:nvSpPr>
        <p:spPr>
          <a:xfrm>
            <a:off x="4143673" y="2766718"/>
            <a:ext cx="1645920" cy="365760"/>
          </a:xfrm>
          <a:prstGeom prst="roundRect">
            <a:avLst/>
          </a:prstGeom>
          <a:solidFill>
            <a:schemeClr val="bg2"/>
          </a:solidFill>
          <a:effectLst>
            <a:outerShdw blurRad="50800" dist="38100" dir="5400000" algn="t" rotWithShape="0">
              <a:prstClr val="black">
                <a:alpha val="40000"/>
              </a:prstClr>
            </a:outerShdw>
          </a:effectLst>
        </p:spPr>
        <p:txBody>
          <a:bodyPr wrap="none" lIns="45720" rIns="45720" rtlCol="0" anchor="ctr" anchorCtr="0">
            <a:noAutofit/>
          </a:bodyPr>
          <a:lstStyle/>
          <a:p>
            <a:pPr algn="ctr"/>
            <a:r>
              <a:rPr lang="en-GB" sz="1200" b="1">
                <a:solidFill>
                  <a:schemeClr val="bg1"/>
                </a:solidFill>
              </a:rPr>
              <a:t>Dewatering Filter</a:t>
            </a:r>
          </a:p>
        </p:txBody>
      </p:sp>
      <p:sp>
        <p:nvSpPr>
          <p:cNvPr id="21" name="TextBox 20">
            <a:extLst>
              <a:ext uri="{FF2B5EF4-FFF2-40B4-BE49-F238E27FC236}">
                <a16:creationId xmlns:a16="http://schemas.microsoft.com/office/drawing/2014/main" id="{8E70A378-C296-9D8F-E649-87C6C961A0C9}"/>
              </a:ext>
            </a:extLst>
          </p:cNvPr>
          <p:cNvSpPr txBox="1"/>
          <p:nvPr/>
        </p:nvSpPr>
        <p:spPr>
          <a:xfrm>
            <a:off x="6700541" y="2746728"/>
            <a:ext cx="1645920" cy="365760"/>
          </a:xfrm>
          <a:prstGeom prst="roundRect">
            <a:avLst/>
          </a:prstGeom>
          <a:solidFill>
            <a:schemeClr val="bg2"/>
          </a:solidFill>
          <a:effectLst>
            <a:outerShdw blurRad="50800" dist="38100" dir="5400000" algn="t" rotWithShape="0">
              <a:prstClr val="black">
                <a:alpha val="40000"/>
              </a:prstClr>
            </a:outerShdw>
          </a:effectLst>
        </p:spPr>
        <p:txBody>
          <a:bodyPr wrap="none" lIns="45720" rIns="45720" rtlCol="0" anchor="ctr" anchorCtr="0">
            <a:noAutofit/>
          </a:bodyPr>
          <a:lstStyle/>
          <a:p>
            <a:pPr algn="ctr"/>
            <a:r>
              <a:rPr lang="en-GB" sz="1200" b="1">
                <a:solidFill>
                  <a:schemeClr val="bg1"/>
                </a:solidFill>
              </a:rPr>
              <a:t>Waste Pile</a:t>
            </a:r>
          </a:p>
        </p:txBody>
      </p:sp>
      <p:sp>
        <p:nvSpPr>
          <p:cNvPr id="22" name="TextBox 21">
            <a:extLst>
              <a:ext uri="{FF2B5EF4-FFF2-40B4-BE49-F238E27FC236}">
                <a16:creationId xmlns:a16="http://schemas.microsoft.com/office/drawing/2014/main" id="{61515926-2605-B45B-F23D-91F9C1D60A5E}"/>
              </a:ext>
            </a:extLst>
          </p:cNvPr>
          <p:cNvSpPr txBox="1"/>
          <p:nvPr/>
        </p:nvSpPr>
        <p:spPr>
          <a:xfrm>
            <a:off x="6703102" y="947242"/>
            <a:ext cx="1645920" cy="365760"/>
          </a:xfrm>
          <a:prstGeom prst="roundRect">
            <a:avLst/>
          </a:prstGeom>
          <a:solidFill>
            <a:schemeClr val="bg2"/>
          </a:solidFill>
          <a:effectLst>
            <a:outerShdw blurRad="50800" dist="38100" dir="5400000" algn="t" rotWithShape="0">
              <a:prstClr val="black">
                <a:alpha val="40000"/>
              </a:prstClr>
            </a:outerShdw>
          </a:effectLst>
        </p:spPr>
        <p:txBody>
          <a:bodyPr wrap="none" lIns="45720" rIns="45720" rtlCol="0" anchor="ctr" anchorCtr="0">
            <a:noAutofit/>
          </a:bodyPr>
          <a:lstStyle/>
          <a:p>
            <a:pPr algn="ctr"/>
            <a:r>
              <a:rPr lang="en-GB" sz="1200" b="1">
                <a:solidFill>
                  <a:schemeClr val="bg1"/>
                </a:solidFill>
              </a:rPr>
              <a:t>Dispatch &amp; Sales</a:t>
            </a:r>
          </a:p>
        </p:txBody>
      </p:sp>
      <p:grpSp>
        <p:nvGrpSpPr>
          <p:cNvPr id="99" name="Group 98">
            <a:extLst>
              <a:ext uri="{FF2B5EF4-FFF2-40B4-BE49-F238E27FC236}">
                <a16:creationId xmlns:a16="http://schemas.microsoft.com/office/drawing/2014/main" id="{AF5AB5B3-5C7A-3A2F-501C-080C8A0B0A78}"/>
              </a:ext>
            </a:extLst>
          </p:cNvPr>
          <p:cNvGrpSpPr/>
          <p:nvPr/>
        </p:nvGrpSpPr>
        <p:grpSpPr>
          <a:xfrm>
            <a:off x="3101584" y="1002532"/>
            <a:ext cx="731520" cy="731520"/>
            <a:chOff x="3101584" y="1134294"/>
            <a:chExt cx="731520" cy="731520"/>
          </a:xfrm>
        </p:grpSpPr>
        <p:sp>
          <p:nvSpPr>
            <p:cNvPr id="98" name="Freeform: Shape 97">
              <a:extLst>
                <a:ext uri="{FF2B5EF4-FFF2-40B4-BE49-F238E27FC236}">
                  <a16:creationId xmlns:a16="http://schemas.microsoft.com/office/drawing/2014/main" id="{F16762EF-2815-781A-30D9-0E4421D74B93}"/>
                </a:ext>
              </a:extLst>
            </p:cNvPr>
            <p:cNvSpPr/>
            <p:nvPr/>
          </p:nvSpPr>
          <p:spPr>
            <a:xfrm>
              <a:off x="3132208" y="1187809"/>
              <a:ext cx="457200" cy="137388"/>
            </a:xfrm>
            <a:custGeom>
              <a:avLst/>
              <a:gdLst>
                <a:gd name="connsiteX0" fmla="*/ 469491 w 533400"/>
                <a:gd name="connsiteY0" fmla="*/ 63909 h 137388"/>
                <a:gd name="connsiteX1" fmla="*/ 403654 w 533400"/>
                <a:gd name="connsiteY1" fmla="*/ 63909 h 137388"/>
                <a:gd name="connsiteX2" fmla="*/ 339745 w 533400"/>
                <a:gd name="connsiteY2" fmla="*/ 0 h 137388"/>
                <a:gd name="connsiteX3" fmla="*/ 266700 w 533400"/>
                <a:gd name="connsiteY3" fmla="*/ 36515 h 137388"/>
                <a:gd name="connsiteX4" fmla="*/ 175397 w 533400"/>
                <a:gd name="connsiteY4" fmla="*/ 18258 h 137388"/>
                <a:gd name="connsiteX5" fmla="*/ 138875 w 533400"/>
                <a:gd name="connsiteY5" fmla="*/ 63909 h 137388"/>
                <a:gd name="connsiteX6" fmla="*/ 63909 w 533400"/>
                <a:gd name="connsiteY6" fmla="*/ 63909 h 137388"/>
                <a:gd name="connsiteX7" fmla="*/ 0 w 533400"/>
                <a:gd name="connsiteY7" fmla="*/ 137358 h 137388"/>
                <a:gd name="connsiteX8" fmla="*/ 533400 w 533400"/>
                <a:gd name="connsiteY8" fmla="*/ 137389 h 137388"/>
                <a:gd name="connsiteX9" fmla="*/ 469491 w 533400"/>
                <a:gd name="connsiteY9" fmla="*/ 63909 h 13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3400" h="137388">
                  <a:moveTo>
                    <a:pt x="469491" y="63909"/>
                  </a:moveTo>
                  <a:lnTo>
                    <a:pt x="403654" y="63909"/>
                  </a:lnTo>
                  <a:lnTo>
                    <a:pt x="339745" y="0"/>
                  </a:lnTo>
                  <a:lnTo>
                    <a:pt x="266700" y="36515"/>
                  </a:lnTo>
                  <a:lnTo>
                    <a:pt x="175397" y="18258"/>
                  </a:lnTo>
                  <a:lnTo>
                    <a:pt x="138875" y="63909"/>
                  </a:lnTo>
                  <a:lnTo>
                    <a:pt x="63909" y="63909"/>
                  </a:lnTo>
                  <a:lnTo>
                    <a:pt x="0" y="137358"/>
                  </a:lnTo>
                  <a:lnTo>
                    <a:pt x="533400" y="137389"/>
                  </a:lnTo>
                  <a:lnTo>
                    <a:pt x="469491" y="63909"/>
                  </a:lnTo>
                  <a:close/>
                </a:path>
              </a:pathLst>
            </a:custGeom>
            <a:solidFill>
              <a:srgbClr val="993300"/>
            </a:solidFill>
            <a:ln w="7541" cap="flat">
              <a:noFill/>
              <a:prstDash val="solid"/>
              <a:miter/>
            </a:ln>
          </p:spPr>
          <p:txBody>
            <a:bodyPr rtlCol="0" anchor="ctr"/>
            <a:lstStyle/>
            <a:p>
              <a:endParaRPr lang="en-US"/>
            </a:p>
          </p:txBody>
        </p:sp>
        <p:pic>
          <p:nvPicPr>
            <p:cNvPr id="25" name="Graphic 24" descr="Dump truck with solid fill">
              <a:extLst>
                <a:ext uri="{FF2B5EF4-FFF2-40B4-BE49-F238E27FC236}">
                  <a16:creationId xmlns:a16="http://schemas.microsoft.com/office/drawing/2014/main" id="{211AB9A8-5244-D691-22FE-EBEF534C39F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01584" y="1134294"/>
              <a:ext cx="731520" cy="731520"/>
            </a:xfrm>
            <a:prstGeom prst="rect">
              <a:avLst/>
            </a:prstGeom>
          </p:spPr>
        </p:pic>
      </p:grpSp>
      <p:pic>
        <p:nvPicPr>
          <p:cNvPr id="27" name="Graphic 26" descr="Bulldozer with solid fill">
            <a:extLst>
              <a:ext uri="{FF2B5EF4-FFF2-40B4-BE49-F238E27FC236}">
                <a16:creationId xmlns:a16="http://schemas.microsoft.com/office/drawing/2014/main" id="{C3BCB2CC-8C49-DDBA-929B-3286A6AEC55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663619" y="3351932"/>
            <a:ext cx="731520" cy="731520"/>
          </a:xfrm>
          <a:prstGeom prst="rect">
            <a:avLst/>
          </a:prstGeom>
        </p:spPr>
      </p:pic>
      <p:grpSp>
        <p:nvGrpSpPr>
          <p:cNvPr id="105" name="Group 104">
            <a:extLst>
              <a:ext uri="{FF2B5EF4-FFF2-40B4-BE49-F238E27FC236}">
                <a16:creationId xmlns:a16="http://schemas.microsoft.com/office/drawing/2014/main" id="{FDA4407C-4B45-BF77-93BA-6520022713FB}"/>
              </a:ext>
            </a:extLst>
          </p:cNvPr>
          <p:cNvGrpSpPr/>
          <p:nvPr/>
        </p:nvGrpSpPr>
        <p:grpSpPr>
          <a:xfrm>
            <a:off x="7168609" y="1438122"/>
            <a:ext cx="693420" cy="510768"/>
            <a:chOff x="7201564" y="1577823"/>
            <a:chExt cx="693420" cy="510768"/>
          </a:xfrm>
        </p:grpSpPr>
        <p:sp>
          <p:nvSpPr>
            <p:cNvPr id="95" name="Freeform: Shape 94">
              <a:extLst>
                <a:ext uri="{FF2B5EF4-FFF2-40B4-BE49-F238E27FC236}">
                  <a16:creationId xmlns:a16="http://schemas.microsoft.com/office/drawing/2014/main" id="{A6BD596B-21A5-753F-3547-EA23D01A80A0}"/>
                </a:ext>
              </a:extLst>
            </p:cNvPr>
            <p:cNvSpPr/>
            <p:nvPr/>
          </p:nvSpPr>
          <p:spPr>
            <a:xfrm>
              <a:off x="7285384" y="1577823"/>
              <a:ext cx="533400" cy="137388"/>
            </a:xfrm>
            <a:custGeom>
              <a:avLst/>
              <a:gdLst>
                <a:gd name="connsiteX0" fmla="*/ 469491 w 533400"/>
                <a:gd name="connsiteY0" fmla="*/ 63909 h 137388"/>
                <a:gd name="connsiteX1" fmla="*/ 403654 w 533400"/>
                <a:gd name="connsiteY1" fmla="*/ 63909 h 137388"/>
                <a:gd name="connsiteX2" fmla="*/ 339745 w 533400"/>
                <a:gd name="connsiteY2" fmla="*/ 0 h 137388"/>
                <a:gd name="connsiteX3" fmla="*/ 266700 w 533400"/>
                <a:gd name="connsiteY3" fmla="*/ 36515 h 137388"/>
                <a:gd name="connsiteX4" fmla="*/ 175397 w 533400"/>
                <a:gd name="connsiteY4" fmla="*/ 18258 h 137388"/>
                <a:gd name="connsiteX5" fmla="*/ 138875 w 533400"/>
                <a:gd name="connsiteY5" fmla="*/ 63909 h 137388"/>
                <a:gd name="connsiteX6" fmla="*/ 63909 w 533400"/>
                <a:gd name="connsiteY6" fmla="*/ 63909 h 137388"/>
                <a:gd name="connsiteX7" fmla="*/ 0 w 533400"/>
                <a:gd name="connsiteY7" fmla="*/ 137358 h 137388"/>
                <a:gd name="connsiteX8" fmla="*/ 533400 w 533400"/>
                <a:gd name="connsiteY8" fmla="*/ 137389 h 137388"/>
                <a:gd name="connsiteX9" fmla="*/ 469491 w 533400"/>
                <a:gd name="connsiteY9" fmla="*/ 63909 h 13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3400" h="137388">
                  <a:moveTo>
                    <a:pt x="469491" y="63909"/>
                  </a:moveTo>
                  <a:lnTo>
                    <a:pt x="403654" y="63909"/>
                  </a:lnTo>
                  <a:lnTo>
                    <a:pt x="339745" y="0"/>
                  </a:lnTo>
                  <a:lnTo>
                    <a:pt x="266700" y="36515"/>
                  </a:lnTo>
                  <a:lnTo>
                    <a:pt x="175397" y="18258"/>
                  </a:lnTo>
                  <a:lnTo>
                    <a:pt x="138875" y="63909"/>
                  </a:lnTo>
                  <a:lnTo>
                    <a:pt x="63909" y="63909"/>
                  </a:lnTo>
                  <a:lnTo>
                    <a:pt x="0" y="137358"/>
                  </a:lnTo>
                  <a:lnTo>
                    <a:pt x="533400" y="137389"/>
                  </a:lnTo>
                  <a:lnTo>
                    <a:pt x="469491" y="63909"/>
                  </a:lnTo>
                  <a:close/>
                </a:path>
              </a:pathLst>
            </a:custGeom>
            <a:solidFill>
              <a:srgbClr val="993300"/>
            </a:solidFill>
            <a:ln w="7541"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6C587BA7-1D8C-8AF9-2A5F-8645BFD0D7F4}"/>
                </a:ext>
              </a:extLst>
            </p:cNvPr>
            <p:cNvSpPr/>
            <p:nvPr/>
          </p:nvSpPr>
          <p:spPr>
            <a:xfrm>
              <a:off x="7201564" y="1966669"/>
              <a:ext cx="693420" cy="121922"/>
            </a:xfrm>
            <a:custGeom>
              <a:avLst/>
              <a:gdLst>
                <a:gd name="connsiteX0" fmla="*/ 693420 w 693420"/>
                <a:gd name="connsiteY0" fmla="*/ 68583 h 121922"/>
                <a:gd name="connsiteX1" fmla="*/ 493144 w 693420"/>
                <a:gd name="connsiteY1" fmla="*/ 68583 h 121922"/>
                <a:gd name="connsiteX2" fmla="*/ 487487 w 693420"/>
                <a:gd name="connsiteY2" fmla="*/ 9583 h 121922"/>
                <a:gd name="connsiteX3" fmla="*/ 428488 w 693420"/>
                <a:gd name="connsiteY3" fmla="*/ 15240 h 121922"/>
                <a:gd name="connsiteX4" fmla="*/ 428488 w 693420"/>
                <a:gd name="connsiteY4" fmla="*/ 68583 h 121922"/>
                <a:gd name="connsiteX5" fmla="*/ 264742 w 693420"/>
                <a:gd name="connsiteY5" fmla="*/ 68583 h 121922"/>
                <a:gd name="connsiteX6" fmla="*/ 259077 w 693420"/>
                <a:gd name="connsiteY6" fmla="*/ 9584 h 121922"/>
                <a:gd name="connsiteX7" fmla="*/ 200078 w 693420"/>
                <a:gd name="connsiteY7" fmla="*/ 15249 h 121922"/>
                <a:gd name="connsiteX8" fmla="*/ 200078 w 693420"/>
                <a:gd name="connsiteY8" fmla="*/ 68583 h 121922"/>
                <a:gd name="connsiteX9" fmla="*/ 0 w 693420"/>
                <a:gd name="connsiteY9" fmla="*/ 68583 h 121922"/>
                <a:gd name="connsiteX10" fmla="*/ 0 w 693420"/>
                <a:gd name="connsiteY10" fmla="*/ 99063 h 121922"/>
                <a:gd name="connsiteX11" fmla="*/ 38100 w 693420"/>
                <a:gd name="connsiteY11" fmla="*/ 99063 h 121922"/>
                <a:gd name="connsiteX12" fmla="*/ 38100 w 693420"/>
                <a:gd name="connsiteY12" fmla="*/ 121923 h 121922"/>
                <a:gd name="connsiteX13" fmla="*/ 106680 w 693420"/>
                <a:gd name="connsiteY13" fmla="*/ 121923 h 121922"/>
                <a:gd name="connsiteX14" fmla="*/ 106680 w 693420"/>
                <a:gd name="connsiteY14" fmla="*/ 99063 h 121922"/>
                <a:gd name="connsiteX15" fmla="*/ 175260 w 693420"/>
                <a:gd name="connsiteY15" fmla="*/ 99063 h 121922"/>
                <a:gd name="connsiteX16" fmla="*/ 175260 w 693420"/>
                <a:gd name="connsiteY16" fmla="*/ 121923 h 121922"/>
                <a:gd name="connsiteX17" fmla="*/ 243840 w 693420"/>
                <a:gd name="connsiteY17" fmla="*/ 121923 h 121922"/>
                <a:gd name="connsiteX18" fmla="*/ 243840 w 693420"/>
                <a:gd name="connsiteY18" fmla="*/ 99063 h 121922"/>
                <a:gd name="connsiteX19" fmla="*/ 312420 w 693420"/>
                <a:gd name="connsiteY19" fmla="*/ 99063 h 121922"/>
                <a:gd name="connsiteX20" fmla="*/ 312420 w 693420"/>
                <a:gd name="connsiteY20" fmla="*/ 121923 h 121922"/>
                <a:gd name="connsiteX21" fmla="*/ 381000 w 693420"/>
                <a:gd name="connsiteY21" fmla="*/ 121923 h 121922"/>
                <a:gd name="connsiteX22" fmla="*/ 381000 w 693420"/>
                <a:gd name="connsiteY22" fmla="*/ 99063 h 121922"/>
                <a:gd name="connsiteX23" fmla="*/ 449580 w 693420"/>
                <a:gd name="connsiteY23" fmla="*/ 99063 h 121922"/>
                <a:gd name="connsiteX24" fmla="*/ 449580 w 693420"/>
                <a:gd name="connsiteY24" fmla="*/ 121923 h 121922"/>
                <a:gd name="connsiteX25" fmla="*/ 518160 w 693420"/>
                <a:gd name="connsiteY25" fmla="*/ 121923 h 121922"/>
                <a:gd name="connsiteX26" fmla="*/ 518160 w 693420"/>
                <a:gd name="connsiteY26" fmla="*/ 99063 h 121922"/>
                <a:gd name="connsiteX27" fmla="*/ 586740 w 693420"/>
                <a:gd name="connsiteY27" fmla="*/ 99063 h 121922"/>
                <a:gd name="connsiteX28" fmla="*/ 586740 w 693420"/>
                <a:gd name="connsiteY28" fmla="*/ 121923 h 121922"/>
                <a:gd name="connsiteX29" fmla="*/ 655320 w 693420"/>
                <a:gd name="connsiteY29" fmla="*/ 121923 h 121922"/>
                <a:gd name="connsiteX30" fmla="*/ 655320 w 693420"/>
                <a:gd name="connsiteY30" fmla="*/ 99063 h 121922"/>
                <a:gd name="connsiteX31" fmla="*/ 693420 w 693420"/>
                <a:gd name="connsiteY31" fmla="*/ 99063 h 121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93420" h="121922">
                  <a:moveTo>
                    <a:pt x="693420" y="68583"/>
                  </a:moveTo>
                  <a:lnTo>
                    <a:pt x="493144" y="68583"/>
                  </a:lnTo>
                  <a:cubicBezTo>
                    <a:pt x="507874" y="50728"/>
                    <a:pt x="505341" y="24313"/>
                    <a:pt x="487487" y="9583"/>
                  </a:cubicBezTo>
                  <a:cubicBezTo>
                    <a:pt x="469633" y="-5147"/>
                    <a:pt x="443218" y="-2614"/>
                    <a:pt x="428488" y="15240"/>
                  </a:cubicBezTo>
                  <a:cubicBezTo>
                    <a:pt x="415711" y="30726"/>
                    <a:pt x="415711" y="53096"/>
                    <a:pt x="428488" y="68583"/>
                  </a:cubicBezTo>
                  <a:lnTo>
                    <a:pt x="264742" y="68583"/>
                  </a:lnTo>
                  <a:cubicBezTo>
                    <a:pt x="279470" y="50727"/>
                    <a:pt x="276933" y="24312"/>
                    <a:pt x="259077" y="9584"/>
                  </a:cubicBezTo>
                  <a:cubicBezTo>
                    <a:pt x="241220" y="-5143"/>
                    <a:pt x="214806" y="-2607"/>
                    <a:pt x="200078" y="15249"/>
                  </a:cubicBezTo>
                  <a:cubicBezTo>
                    <a:pt x="187307" y="30733"/>
                    <a:pt x="187307" y="53099"/>
                    <a:pt x="200078" y="68583"/>
                  </a:cubicBezTo>
                  <a:lnTo>
                    <a:pt x="0" y="68583"/>
                  </a:lnTo>
                  <a:lnTo>
                    <a:pt x="0" y="99063"/>
                  </a:lnTo>
                  <a:lnTo>
                    <a:pt x="38100" y="99063"/>
                  </a:lnTo>
                  <a:lnTo>
                    <a:pt x="38100" y="121923"/>
                  </a:lnTo>
                  <a:lnTo>
                    <a:pt x="106680" y="121923"/>
                  </a:lnTo>
                  <a:lnTo>
                    <a:pt x="106680" y="99063"/>
                  </a:lnTo>
                  <a:lnTo>
                    <a:pt x="175260" y="99063"/>
                  </a:lnTo>
                  <a:lnTo>
                    <a:pt x="175260" y="121923"/>
                  </a:lnTo>
                  <a:lnTo>
                    <a:pt x="243840" y="121923"/>
                  </a:lnTo>
                  <a:lnTo>
                    <a:pt x="243840" y="99063"/>
                  </a:lnTo>
                  <a:lnTo>
                    <a:pt x="312420" y="99063"/>
                  </a:lnTo>
                  <a:lnTo>
                    <a:pt x="312420" y="121923"/>
                  </a:lnTo>
                  <a:lnTo>
                    <a:pt x="381000" y="121923"/>
                  </a:lnTo>
                  <a:lnTo>
                    <a:pt x="381000" y="99063"/>
                  </a:lnTo>
                  <a:lnTo>
                    <a:pt x="449580" y="99063"/>
                  </a:lnTo>
                  <a:lnTo>
                    <a:pt x="449580" y="121923"/>
                  </a:lnTo>
                  <a:lnTo>
                    <a:pt x="518160" y="121923"/>
                  </a:lnTo>
                  <a:lnTo>
                    <a:pt x="518160" y="99063"/>
                  </a:lnTo>
                  <a:lnTo>
                    <a:pt x="586740" y="99063"/>
                  </a:lnTo>
                  <a:lnTo>
                    <a:pt x="586740" y="121923"/>
                  </a:lnTo>
                  <a:lnTo>
                    <a:pt x="655320" y="121923"/>
                  </a:lnTo>
                  <a:lnTo>
                    <a:pt x="655320" y="99063"/>
                  </a:lnTo>
                  <a:lnTo>
                    <a:pt x="693420" y="99063"/>
                  </a:lnTo>
                  <a:close/>
                </a:path>
              </a:pathLst>
            </a:custGeom>
            <a:solidFill>
              <a:schemeClr val="accent2"/>
            </a:solidFill>
            <a:ln w="7541"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8D79A20D-C304-E40F-0AB4-2B5413CC8FD0}"/>
                </a:ext>
              </a:extLst>
            </p:cNvPr>
            <p:cNvSpPr/>
            <p:nvPr/>
          </p:nvSpPr>
          <p:spPr>
            <a:xfrm>
              <a:off x="7247284" y="1745692"/>
              <a:ext cx="601980" cy="259080"/>
            </a:xfrm>
            <a:custGeom>
              <a:avLst/>
              <a:gdLst>
                <a:gd name="connsiteX0" fmla="*/ 108684 w 601980"/>
                <a:gd name="connsiteY0" fmla="*/ 259080 h 259080"/>
                <a:gd name="connsiteX1" fmla="*/ 122111 w 601980"/>
                <a:gd name="connsiteY1" fmla="*/ 259080 h 259080"/>
                <a:gd name="connsiteX2" fmla="*/ 190403 w 601980"/>
                <a:gd name="connsiteY2" fmla="*/ 198214 h 259080"/>
                <a:gd name="connsiteX3" fmla="*/ 251269 w 601980"/>
                <a:gd name="connsiteY3" fmla="*/ 259080 h 259080"/>
                <a:gd name="connsiteX4" fmla="*/ 350520 w 601980"/>
                <a:gd name="connsiteY4" fmla="*/ 259080 h 259080"/>
                <a:gd name="connsiteX5" fmla="*/ 418875 w 601980"/>
                <a:gd name="connsiteY5" fmla="*/ 198284 h 259080"/>
                <a:gd name="connsiteX6" fmla="*/ 479671 w 601980"/>
                <a:gd name="connsiteY6" fmla="*/ 259080 h 259080"/>
                <a:gd name="connsiteX7" fmla="*/ 493105 w 601980"/>
                <a:gd name="connsiteY7" fmla="*/ 259080 h 259080"/>
                <a:gd name="connsiteX8" fmla="*/ 579730 w 601980"/>
                <a:gd name="connsiteY8" fmla="*/ 53340 h 259080"/>
                <a:gd name="connsiteX9" fmla="*/ 601980 w 601980"/>
                <a:gd name="connsiteY9" fmla="*/ 53340 h 259080"/>
                <a:gd name="connsiteX10" fmla="*/ 601980 w 601980"/>
                <a:gd name="connsiteY10" fmla="*/ 0 h 259080"/>
                <a:gd name="connsiteX11" fmla="*/ 0 w 601980"/>
                <a:gd name="connsiteY11" fmla="*/ 0 h 259080"/>
                <a:gd name="connsiteX12" fmla="*/ 0 w 601980"/>
                <a:gd name="connsiteY12" fmla="*/ 53340 h 259080"/>
                <a:gd name="connsiteX13" fmla="*/ 22098 w 601980"/>
                <a:gd name="connsiteY13" fmla="*/ 53340 h 259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1980" h="259080">
                  <a:moveTo>
                    <a:pt x="108684" y="259080"/>
                  </a:moveTo>
                  <a:lnTo>
                    <a:pt x="122111" y="259080"/>
                  </a:lnTo>
                  <a:cubicBezTo>
                    <a:pt x="124161" y="223414"/>
                    <a:pt x="154737" y="196163"/>
                    <a:pt x="190403" y="198214"/>
                  </a:cubicBezTo>
                  <a:cubicBezTo>
                    <a:pt x="223206" y="200100"/>
                    <a:pt x="249384" y="226277"/>
                    <a:pt x="251269" y="259080"/>
                  </a:cubicBezTo>
                  <a:lnTo>
                    <a:pt x="350520" y="259080"/>
                  </a:lnTo>
                  <a:cubicBezTo>
                    <a:pt x="352607" y="223416"/>
                    <a:pt x="383211" y="196196"/>
                    <a:pt x="418875" y="198284"/>
                  </a:cubicBezTo>
                  <a:cubicBezTo>
                    <a:pt x="451625" y="200200"/>
                    <a:pt x="477755" y="226330"/>
                    <a:pt x="479671" y="259080"/>
                  </a:cubicBezTo>
                  <a:lnTo>
                    <a:pt x="493105" y="259080"/>
                  </a:lnTo>
                  <a:lnTo>
                    <a:pt x="579730" y="53340"/>
                  </a:lnTo>
                  <a:lnTo>
                    <a:pt x="601980" y="53340"/>
                  </a:lnTo>
                  <a:lnTo>
                    <a:pt x="601980" y="0"/>
                  </a:lnTo>
                  <a:lnTo>
                    <a:pt x="0" y="0"/>
                  </a:lnTo>
                  <a:lnTo>
                    <a:pt x="0" y="53340"/>
                  </a:lnTo>
                  <a:lnTo>
                    <a:pt x="22098" y="53340"/>
                  </a:lnTo>
                  <a:close/>
                </a:path>
              </a:pathLst>
            </a:custGeom>
            <a:solidFill>
              <a:schemeClr val="accent2"/>
            </a:solidFill>
            <a:ln w="7541" cap="flat">
              <a:noFill/>
              <a:prstDash val="solid"/>
              <a:miter/>
            </a:ln>
          </p:spPr>
          <p:txBody>
            <a:bodyPr rtlCol="0" anchor="ctr"/>
            <a:lstStyle/>
            <a:p>
              <a:endParaRPr lang="en-US"/>
            </a:p>
          </p:txBody>
        </p:sp>
      </p:grpSp>
      <p:pic>
        <p:nvPicPr>
          <p:cNvPr id="29" name="Graphic 28" descr="Excavator with solid fill">
            <a:extLst>
              <a:ext uri="{FF2B5EF4-FFF2-40B4-BE49-F238E27FC236}">
                <a16:creationId xmlns:a16="http://schemas.microsoft.com/office/drawing/2014/main" id="{396639EF-7409-059B-FB50-41AAB967267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1229479" y="2483361"/>
            <a:ext cx="731520" cy="803968"/>
          </a:xfrm>
          <a:prstGeom prst="rect">
            <a:avLst/>
          </a:prstGeom>
        </p:spPr>
      </p:pic>
      <p:cxnSp>
        <p:nvCxnSpPr>
          <p:cNvPr id="51" name="Straight Arrow Connector 50">
            <a:extLst>
              <a:ext uri="{FF2B5EF4-FFF2-40B4-BE49-F238E27FC236}">
                <a16:creationId xmlns:a16="http://schemas.microsoft.com/office/drawing/2014/main" id="{9D839EA2-6105-EDB5-3CA0-5F0B959DACA7}"/>
              </a:ext>
            </a:extLst>
          </p:cNvPr>
          <p:cNvCxnSpPr>
            <a:cxnSpLocks/>
          </p:cNvCxnSpPr>
          <p:nvPr/>
        </p:nvCxnSpPr>
        <p:spPr>
          <a:xfrm flipV="1">
            <a:off x="2365111" y="1693507"/>
            <a:ext cx="0" cy="1322043"/>
          </a:xfrm>
          <a:prstGeom prst="straightConnector1">
            <a:avLst/>
          </a:prstGeom>
          <a:ln w="1905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3" name="Straight Arrow Connector 52">
            <a:extLst>
              <a:ext uri="{FF2B5EF4-FFF2-40B4-BE49-F238E27FC236}">
                <a16:creationId xmlns:a16="http://schemas.microsoft.com/office/drawing/2014/main" id="{965875E1-DEFC-99DF-3B99-F4A513261189}"/>
              </a:ext>
            </a:extLst>
          </p:cNvPr>
          <p:cNvCxnSpPr>
            <a:cxnSpLocks/>
          </p:cNvCxnSpPr>
          <p:nvPr/>
        </p:nvCxnSpPr>
        <p:spPr>
          <a:xfrm>
            <a:off x="2365112" y="1693506"/>
            <a:ext cx="2141379" cy="0"/>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cxnSp>
        <p:nvCxnSpPr>
          <p:cNvPr id="58" name="Straight Arrow Connector 57">
            <a:extLst>
              <a:ext uri="{FF2B5EF4-FFF2-40B4-BE49-F238E27FC236}">
                <a16:creationId xmlns:a16="http://schemas.microsoft.com/office/drawing/2014/main" id="{4F97F573-4BA2-6A7B-C806-4C781129A2DA}"/>
              </a:ext>
            </a:extLst>
          </p:cNvPr>
          <p:cNvCxnSpPr>
            <a:cxnSpLocks/>
          </p:cNvCxnSpPr>
          <p:nvPr/>
        </p:nvCxnSpPr>
        <p:spPr>
          <a:xfrm>
            <a:off x="1966383" y="3015549"/>
            <a:ext cx="398729" cy="0"/>
          </a:xfrm>
          <a:prstGeom prst="straightConnector1">
            <a:avLst/>
          </a:prstGeom>
          <a:ln w="19050">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73" name="Graphic 72" descr="Factory with solid fill">
            <a:extLst>
              <a:ext uri="{FF2B5EF4-FFF2-40B4-BE49-F238E27FC236}">
                <a16:creationId xmlns:a16="http://schemas.microsoft.com/office/drawing/2014/main" id="{614531FD-E14A-AF61-5989-9BC78C0F82A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08174" y="1327746"/>
            <a:ext cx="731520" cy="731520"/>
          </a:xfrm>
          <a:prstGeom prst="rect">
            <a:avLst/>
          </a:prstGeom>
        </p:spPr>
      </p:pic>
      <p:sp>
        <p:nvSpPr>
          <p:cNvPr id="77" name="TextBox 76">
            <a:extLst>
              <a:ext uri="{FF2B5EF4-FFF2-40B4-BE49-F238E27FC236}">
                <a16:creationId xmlns:a16="http://schemas.microsoft.com/office/drawing/2014/main" id="{96F38B23-67CE-1990-C564-ABB264D1537F}"/>
              </a:ext>
            </a:extLst>
          </p:cNvPr>
          <p:cNvSpPr txBox="1"/>
          <p:nvPr/>
        </p:nvSpPr>
        <p:spPr>
          <a:xfrm>
            <a:off x="4239820" y="3360100"/>
            <a:ext cx="697948" cy="461665"/>
          </a:xfrm>
          <a:prstGeom prst="rect">
            <a:avLst/>
          </a:prstGeom>
          <a:noFill/>
        </p:spPr>
        <p:txBody>
          <a:bodyPr wrap="none" rtlCol="0">
            <a:spAutoFit/>
          </a:bodyPr>
          <a:lstStyle/>
          <a:p>
            <a:pPr algn="ctr"/>
            <a:r>
              <a:rPr lang="en-GB" sz="1200" i="1"/>
              <a:t>Dry</a:t>
            </a:r>
          </a:p>
          <a:p>
            <a:pPr algn="ctr"/>
            <a:r>
              <a:rPr lang="en-GB" sz="1200" i="1"/>
              <a:t>Tailings</a:t>
            </a:r>
          </a:p>
        </p:txBody>
      </p:sp>
      <p:cxnSp>
        <p:nvCxnSpPr>
          <p:cNvPr id="79" name="Straight Arrow Connector 78">
            <a:extLst>
              <a:ext uri="{FF2B5EF4-FFF2-40B4-BE49-F238E27FC236}">
                <a16:creationId xmlns:a16="http://schemas.microsoft.com/office/drawing/2014/main" id="{139F5E82-DA77-DAE6-572A-D099E9A3FF3E}"/>
              </a:ext>
            </a:extLst>
          </p:cNvPr>
          <p:cNvCxnSpPr>
            <a:cxnSpLocks/>
          </p:cNvCxnSpPr>
          <p:nvPr/>
        </p:nvCxnSpPr>
        <p:spPr>
          <a:xfrm>
            <a:off x="4966633" y="3132479"/>
            <a:ext cx="0" cy="874411"/>
          </a:xfrm>
          <a:prstGeom prst="straightConnector1">
            <a:avLst/>
          </a:prstGeom>
          <a:ln w="19050">
            <a:prstDash val="sysDash"/>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id="{9EB6BCEB-11A1-1362-BCAC-3E8D552B316B}"/>
              </a:ext>
            </a:extLst>
          </p:cNvPr>
          <p:cNvSpPr txBox="1"/>
          <p:nvPr/>
        </p:nvSpPr>
        <p:spPr>
          <a:xfrm>
            <a:off x="432020" y="2059267"/>
            <a:ext cx="1645920" cy="389513"/>
          </a:xfrm>
          <a:prstGeom prst="roundRect">
            <a:avLst/>
          </a:prstGeom>
          <a:solidFill>
            <a:schemeClr val="bg2"/>
          </a:solidFill>
          <a:effectLst>
            <a:outerShdw blurRad="50800" dist="38100" dir="5400000" algn="t" rotWithShape="0">
              <a:prstClr val="black">
                <a:alpha val="40000"/>
              </a:prstClr>
            </a:outerShdw>
          </a:effectLst>
        </p:spPr>
        <p:txBody>
          <a:bodyPr wrap="square" lIns="45720" rIns="45720" rtlCol="0" anchor="ctr" anchorCtr="0">
            <a:noAutofit/>
          </a:bodyPr>
          <a:lstStyle/>
          <a:p>
            <a:pPr algn="ctr"/>
            <a:r>
              <a:rPr lang="en-GB" sz="1200" b="1">
                <a:solidFill>
                  <a:schemeClr val="bg1"/>
                </a:solidFill>
              </a:rPr>
              <a:t>Open Pit</a:t>
            </a:r>
          </a:p>
        </p:txBody>
      </p:sp>
      <p:cxnSp>
        <p:nvCxnSpPr>
          <p:cNvPr id="91" name="Straight Arrow Connector 90">
            <a:extLst>
              <a:ext uri="{FF2B5EF4-FFF2-40B4-BE49-F238E27FC236}">
                <a16:creationId xmlns:a16="http://schemas.microsoft.com/office/drawing/2014/main" id="{E12E2A80-1F3F-27E6-7C0E-EFDE59F9546E}"/>
              </a:ext>
            </a:extLst>
          </p:cNvPr>
          <p:cNvCxnSpPr>
            <a:cxnSpLocks/>
          </p:cNvCxnSpPr>
          <p:nvPr/>
        </p:nvCxnSpPr>
        <p:spPr>
          <a:xfrm>
            <a:off x="2365112" y="4078288"/>
            <a:ext cx="4214983" cy="0"/>
          </a:xfrm>
          <a:prstGeom prst="straightConnector1">
            <a:avLst/>
          </a:prstGeom>
          <a:ln w="19050">
            <a:prstDash val="sysDash"/>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id="{4908AF7E-F6CC-2367-7ECA-3E5EC3F3717B}"/>
              </a:ext>
            </a:extLst>
          </p:cNvPr>
          <p:cNvCxnSpPr>
            <a:cxnSpLocks/>
          </p:cNvCxnSpPr>
          <p:nvPr/>
        </p:nvCxnSpPr>
        <p:spPr>
          <a:xfrm flipV="1">
            <a:off x="2365111" y="3015550"/>
            <a:ext cx="0" cy="1062739"/>
          </a:xfrm>
          <a:prstGeom prst="straightConnector1">
            <a:avLst/>
          </a:prstGeom>
          <a:ln w="19050">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5" name="TextBox 34">
            <a:extLst>
              <a:ext uri="{FF2B5EF4-FFF2-40B4-BE49-F238E27FC236}">
                <a16:creationId xmlns:a16="http://schemas.microsoft.com/office/drawing/2014/main" id="{3C16DFCB-F24E-FA18-3B0A-D061972922DB}"/>
              </a:ext>
            </a:extLst>
          </p:cNvPr>
          <p:cNvSpPr txBox="1"/>
          <p:nvPr/>
        </p:nvSpPr>
        <p:spPr>
          <a:xfrm>
            <a:off x="5259934" y="4077639"/>
            <a:ext cx="980075" cy="461665"/>
          </a:xfrm>
          <a:prstGeom prst="rect">
            <a:avLst/>
          </a:prstGeom>
          <a:noFill/>
        </p:spPr>
        <p:txBody>
          <a:bodyPr wrap="none" rtlCol="0">
            <a:spAutoFit/>
          </a:bodyPr>
          <a:lstStyle/>
          <a:p>
            <a:pPr algn="ctr"/>
            <a:r>
              <a:rPr lang="en-GB" sz="1200" i="1"/>
              <a:t>Waste and </a:t>
            </a:r>
          </a:p>
          <a:p>
            <a:pPr algn="ctr"/>
            <a:r>
              <a:rPr lang="en-GB" sz="1200" i="1"/>
              <a:t>Dry Tailings</a:t>
            </a:r>
          </a:p>
        </p:txBody>
      </p:sp>
      <p:grpSp>
        <p:nvGrpSpPr>
          <p:cNvPr id="66" name="Group 65">
            <a:extLst>
              <a:ext uri="{FF2B5EF4-FFF2-40B4-BE49-F238E27FC236}">
                <a16:creationId xmlns:a16="http://schemas.microsoft.com/office/drawing/2014/main" id="{158DC8E3-6E0B-DCEA-465A-F3B6657981B7}"/>
              </a:ext>
            </a:extLst>
          </p:cNvPr>
          <p:cNvGrpSpPr/>
          <p:nvPr/>
        </p:nvGrpSpPr>
        <p:grpSpPr>
          <a:xfrm>
            <a:off x="447650" y="2535543"/>
            <a:ext cx="1583820" cy="962331"/>
            <a:chOff x="447650" y="2667304"/>
            <a:chExt cx="1583820" cy="962331"/>
          </a:xfrm>
          <a:solidFill>
            <a:srgbClr val="993300"/>
          </a:solidFill>
        </p:grpSpPr>
        <p:grpSp>
          <p:nvGrpSpPr>
            <p:cNvPr id="49" name="Group 48">
              <a:extLst>
                <a:ext uri="{FF2B5EF4-FFF2-40B4-BE49-F238E27FC236}">
                  <a16:creationId xmlns:a16="http://schemas.microsoft.com/office/drawing/2014/main" id="{BD489AED-57F0-44ED-6801-D04B2897407D}"/>
                </a:ext>
              </a:extLst>
            </p:cNvPr>
            <p:cNvGrpSpPr/>
            <p:nvPr/>
          </p:nvGrpSpPr>
          <p:grpSpPr>
            <a:xfrm>
              <a:off x="458658" y="2672123"/>
              <a:ext cx="1572812" cy="957512"/>
              <a:chOff x="350274" y="1792243"/>
              <a:chExt cx="1572812" cy="957512"/>
            </a:xfrm>
            <a:grpFill/>
          </p:grpSpPr>
          <p:sp>
            <p:nvSpPr>
              <p:cNvPr id="40" name="Rectangle: Rounded Corners 39">
                <a:extLst>
                  <a:ext uri="{FF2B5EF4-FFF2-40B4-BE49-F238E27FC236}">
                    <a16:creationId xmlns:a16="http://schemas.microsoft.com/office/drawing/2014/main" id="{18C368B0-672C-7DCB-A40B-97B44BAEA251}"/>
                  </a:ext>
                </a:extLst>
              </p:cNvPr>
              <p:cNvSpPr/>
              <p:nvPr/>
            </p:nvSpPr>
            <p:spPr>
              <a:xfrm rot="5400000">
                <a:off x="999520" y="1826189"/>
                <a:ext cx="274320" cy="1572812"/>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41" name="Rectangle: Rounded Corners 40">
                <a:extLst>
                  <a:ext uri="{FF2B5EF4-FFF2-40B4-BE49-F238E27FC236}">
                    <a16:creationId xmlns:a16="http://schemas.microsoft.com/office/drawing/2014/main" id="{0AAC4ED8-F346-E889-172C-DF44AD11A613}"/>
                  </a:ext>
                </a:extLst>
              </p:cNvPr>
              <p:cNvSpPr/>
              <p:nvPr/>
            </p:nvSpPr>
            <p:spPr>
              <a:xfrm rot="5400000">
                <a:off x="670316" y="2022303"/>
                <a:ext cx="182880" cy="822960"/>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42" name="Rectangle: Rounded Corners 41">
                <a:extLst>
                  <a:ext uri="{FF2B5EF4-FFF2-40B4-BE49-F238E27FC236}">
                    <a16:creationId xmlns:a16="http://schemas.microsoft.com/office/drawing/2014/main" id="{327B7532-2990-2919-32C2-99DD243E57A4}"/>
                  </a:ext>
                </a:extLst>
              </p:cNvPr>
              <p:cNvSpPr/>
              <p:nvPr/>
            </p:nvSpPr>
            <p:spPr>
              <a:xfrm rot="5400000">
                <a:off x="578876" y="1957718"/>
                <a:ext cx="182880" cy="640080"/>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43" name="Rectangle: Rounded Corners 42">
                <a:extLst>
                  <a:ext uri="{FF2B5EF4-FFF2-40B4-BE49-F238E27FC236}">
                    <a16:creationId xmlns:a16="http://schemas.microsoft.com/office/drawing/2014/main" id="{D2D15744-499B-A454-946C-D83E6D03090A}"/>
                  </a:ext>
                </a:extLst>
              </p:cNvPr>
              <p:cNvSpPr/>
              <p:nvPr/>
            </p:nvSpPr>
            <p:spPr>
              <a:xfrm rot="5400000">
                <a:off x="487437" y="1912932"/>
                <a:ext cx="182880" cy="457200"/>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44" name="Rectangle: Rounded Corners 43">
                <a:extLst>
                  <a:ext uri="{FF2B5EF4-FFF2-40B4-BE49-F238E27FC236}">
                    <a16:creationId xmlns:a16="http://schemas.microsoft.com/office/drawing/2014/main" id="{935B397C-1581-6B2B-8765-488232BEB3E5}"/>
                  </a:ext>
                </a:extLst>
              </p:cNvPr>
              <p:cNvSpPr/>
              <p:nvPr/>
            </p:nvSpPr>
            <p:spPr>
              <a:xfrm rot="5400000">
                <a:off x="419325" y="2011818"/>
                <a:ext cx="136224" cy="274320"/>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45" name="Rectangle: Rounded Corners 44">
                <a:extLst>
                  <a:ext uri="{FF2B5EF4-FFF2-40B4-BE49-F238E27FC236}">
                    <a16:creationId xmlns:a16="http://schemas.microsoft.com/office/drawing/2014/main" id="{587EEA0F-F245-6BB5-7E76-423476B08BD5}"/>
                  </a:ext>
                </a:extLst>
              </p:cNvPr>
              <p:cNvSpPr/>
              <p:nvPr/>
            </p:nvSpPr>
            <p:spPr>
              <a:xfrm rot="5400000">
                <a:off x="395997" y="1841564"/>
                <a:ext cx="182880" cy="274320"/>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46" name="Rectangle: Rounded Corners 45">
                <a:extLst>
                  <a:ext uri="{FF2B5EF4-FFF2-40B4-BE49-F238E27FC236}">
                    <a16:creationId xmlns:a16="http://schemas.microsoft.com/office/drawing/2014/main" id="{2F289F05-1F35-9F4A-A6C2-EF490521034A}"/>
                  </a:ext>
                </a:extLst>
              </p:cNvPr>
              <p:cNvSpPr/>
              <p:nvPr/>
            </p:nvSpPr>
            <p:spPr>
              <a:xfrm rot="5400000">
                <a:off x="258837" y="1883683"/>
                <a:ext cx="274320" cy="91440"/>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grpSp>
        <p:sp>
          <p:nvSpPr>
            <p:cNvPr id="37" name="Rectangle: Rounded Corners 36">
              <a:extLst>
                <a:ext uri="{FF2B5EF4-FFF2-40B4-BE49-F238E27FC236}">
                  <a16:creationId xmlns:a16="http://schemas.microsoft.com/office/drawing/2014/main" id="{CFBB9790-211F-B00F-051A-8559B99D47B3}"/>
                </a:ext>
              </a:extLst>
            </p:cNvPr>
            <p:cNvSpPr/>
            <p:nvPr/>
          </p:nvSpPr>
          <p:spPr>
            <a:xfrm rot="5400000">
              <a:off x="585337" y="2811084"/>
              <a:ext cx="182880" cy="274320"/>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38" name="Rectangle: Rounded Corners 37">
              <a:extLst>
                <a:ext uri="{FF2B5EF4-FFF2-40B4-BE49-F238E27FC236}">
                  <a16:creationId xmlns:a16="http://schemas.microsoft.com/office/drawing/2014/main" id="{4E899551-349B-81C0-2064-423CD8E2913E}"/>
                </a:ext>
              </a:extLst>
            </p:cNvPr>
            <p:cNvSpPr/>
            <p:nvPr/>
          </p:nvSpPr>
          <p:spPr>
            <a:xfrm rot="5400000">
              <a:off x="781532" y="2964078"/>
              <a:ext cx="182880" cy="274320"/>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39" name="Rectangle: Rounded Corners 38">
              <a:extLst>
                <a:ext uri="{FF2B5EF4-FFF2-40B4-BE49-F238E27FC236}">
                  <a16:creationId xmlns:a16="http://schemas.microsoft.com/office/drawing/2014/main" id="{4972FE62-667C-E525-1413-B145BEA52B2E}"/>
                </a:ext>
              </a:extLst>
            </p:cNvPr>
            <p:cNvSpPr/>
            <p:nvPr/>
          </p:nvSpPr>
          <p:spPr>
            <a:xfrm rot="5400000">
              <a:off x="951096" y="3099835"/>
              <a:ext cx="182880" cy="274320"/>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47" name="Rectangle: Rounded Corners 46">
              <a:extLst>
                <a:ext uri="{FF2B5EF4-FFF2-40B4-BE49-F238E27FC236}">
                  <a16:creationId xmlns:a16="http://schemas.microsoft.com/office/drawing/2014/main" id="{B1A9BF03-E0D4-6954-A98E-E7F75C3457E5}"/>
                </a:ext>
              </a:extLst>
            </p:cNvPr>
            <p:cNvSpPr/>
            <p:nvPr/>
          </p:nvSpPr>
          <p:spPr>
            <a:xfrm rot="5400000">
              <a:off x="471135" y="2721991"/>
              <a:ext cx="182880" cy="182880"/>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48" name="Rectangle: Rounded Corners 47">
              <a:extLst>
                <a:ext uri="{FF2B5EF4-FFF2-40B4-BE49-F238E27FC236}">
                  <a16:creationId xmlns:a16="http://schemas.microsoft.com/office/drawing/2014/main" id="{7584EACC-AD08-842F-6215-A0F262531300}"/>
                </a:ext>
              </a:extLst>
            </p:cNvPr>
            <p:cNvSpPr/>
            <p:nvPr/>
          </p:nvSpPr>
          <p:spPr>
            <a:xfrm>
              <a:off x="447650" y="2667304"/>
              <a:ext cx="96211" cy="962110"/>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grpSp>
      <p:grpSp>
        <p:nvGrpSpPr>
          <p:cNvPr id="86" name="Group 85">
            <a:extLst>
              <a:ext uri="{FF2B5EF4-FFF2-40B4-BE49-F238E27FC236}">
                <a16:creationId xmlns:a16="http://schemas.microsoft.com/office/drawing/2014/main" id="{36C4C8BC-E00C-27BC-FF59-4CC0FFC72223}"/>
              </a:ext>
            </a:extLst>
          </p:cNvPr>
          <p:cNvGrpSpPr/>
          <p:nvPr/>
        </p:nvGrpSpPr>
        <p:grpSpPr>
          <a:xfrm>
            <a:off x="7409399" y="3223553"/>
            <a:ext cx="866669" cy="962110"/>
            <a:chOff x="7409398" y="3355315"/>
            <a:chExt cx="866669" cy="962110"/>
          </a:xfrm>
          <a:solidFill>
            <a:srgbClr val="474C50"/>
          </a:solidFill>
        </p:grpSpPr>
        <p:sp>
          <p:nvSpPr>
            <p:cNvPr id="75" name="Rectangle: Rounded Corners 74">
              <a:extLst>
                <a:ext uri="{FF2B5EF4-FFF2-40B4-BE49-F238E27FC236}">
                  <a16:creationId xmlns:a16="http://schemas.microsoft.com/office/drawing/2014/main" id="{3388DEDD-109F-0F38-1DB5-10EEB680488F}"/>
                </a:ext>
              </a:extLst>
            </p:cNvPr>
            <p:cNvSpPr/>
            <p:nvPr/>
          </p:nvSpPr>
          <p:spPr>
            <a:xfrm flipH="1">
              <a:off x="8176084" y="3355315"/>
              <a:ext cx="99983" cy="962110"/>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78" name="Rectangle: Rounded Corners 77">
              <a:extLst>
                <a:ext uri="{FF2B5EF4-FFF2-40B4-BE49-F238E27FC236}">
                  <a16:creationId xmlns:a16="http://schemas.microsoft.com/office/drawing/2014/main" id="{1AC7E65A-FD6D-A949-9E48-74E1D393BF41}"/>
                </a:ext>
              </a:extLst>
            </p:cNvPr>
            <p:cNvSpPr/>
            <p:nvPr/>
          </p:nvSpPr>
          <p:spPr>
            <a:xfrm rot="16200000" flipH="1">
              <a:off x="7745572" y="3574060"/>
              <a:ext cx="182880" cy="855228"/>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80" name="Rectangle: Rounded Corners 79">
              <a:extLst>
                <a:ext uri="{FF2B5EF4-FFF2-40B4-BE49-F238E27FC236}">
                  <a16:creationId xmlns:a16="http://schemas.microsoft.com/office/drawing/2014/main" id="{5BCB8131-5A7A-84DB-02C9-8FFA14D6103D}"/>
                </a:ext>
              </a:extLst>
            </p:cNvPr>
            <p:cNvSpPr/>
            <p:nvPr/>
          </p:nvSpPr>
          <p:spPr>
            <a:xfrm rot="16200000" flipH="1">
              <a:off x="7840598" y="3513060"/>
              <a:ext cx="182880" cy="665177"/>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81" name="Rectangle: Rounded Corners 80">
              <a:extLst>
                <a:ext uri="{FF2B5EF4-FFF2-40B4-BE49-F238E27FC236}">
                  <a16:creationId xmlns:a16="http://schemas.microsoft.com/office/drawing/2014/main" id="{83ED3DAC-7E6C-B2BF-5710-234D60E8411E}"/>
                </a:ext>
              </a:extLst>
            </p:cNvPr>
            <p:cNvSpPr/>
            <p:nvPr/>
          </p:nvSpPr>
          <p:spPr>
            <a:xfrm rot="16200000" flipH="1">
              <a:off x="7935622" y="3471860"/>
              <a:ext cx="182880" cy="475127"/>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82" name="Rectangle: Rounded Corners 81">
              <a:extLst>
                <a:ext uri="{FF2B5EF4-FFF2-40B4-BE49-F238E27FC236}">
                  <a16:creationId xmlns:a16="http://schemas.microsoft.com/office/drawing/2014/main" id="{22BADDCC-C328-4245-43DB-3BA25D5D2A5D}"/>
                </a:ext>
              </a:extLst>
            </p:cNvPr>
            <p:cNvSpPr/>
            <p:nvPr/>
          </p:nvSpPr>
          <p:spPr>
            <a:xfrm rot="16200000" flipH="1">
              <a:off x="8053975" y="3574331"/>
              <a:ext cx="136224" cy="285076"/>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83" name="Rectangle: Rounded Corners 82">
              <a:extLst>
                <a:ext uri="{FF2B5EF4-FFF2-40B4-BE49-F238E27FC236}">
                  <a16:creationId xmlns:a16="http://schemas.microsoft.com/office/drawing/2014/main" id="{FABD5C1B-BCAC-7E5A-F62D-A152FCE8E4A5}"/>
                </a:ext>
              </a:extLst>
            </p:cNvPr>
            <p:cNvSpPr/>
            <p:nvPr/>
          </p:nvSpPr>
          <p:spPr>
            <a:xfrm rot="16200000" flipH="1">
              <a:off x="8030647" y="3404077"/>
              <a:ext cx="182880" cy="285076"/>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84" name="Rectangle: Rounded Corners 83">
              <a:extLst>
                <a:ext uri="{FF2B5EF4-FFF2-40B4-BE49-F238E27FC236}">
                  <a16:creationId xmlns:a16="http://schemas.microsoft.com/office/drawing/2014/main" id="{BB5D9B83-1437-94AC-2C3A-3D5B7FF98118}"/>
                </a:ext>
              </a:extLst>
            </p:cNvPr>
            <p:cNvSpPr/>
            <p:nvPr/>
          </p:nvSpPr>
          <p:spPr>
            <a:xfrm rot="16200000" flipH="1">
              <a:off x="8079952" y="3449781"/>
              <a:ext cx="274320" cy="95025"/>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69" name="Rectangle: Rounded Corners 68">
              <a:extLst>
                <a:ext uri="{FF2B5EF4-FFF2-40B4-BE49-F238E27FC236}">
                  <a16:creationId xmlns:a16="http://schemas.microsoft.com/office/drawing/2014/main" id="{85DC60AF-C5DF-7D11-71FF-7B55D2F7378F}"/>
                </a:ext>
              </a:extLst>
            </p:cNvPr>
            <p:cNvSpPr/>
            <p:nvPr/>
          </p:nvSpPr>
          <p:spPr>
            <a:xfrm rot="16200000" flipH="1">
              <a:off x="7946517" y="3493717"/>
              <a:ext cx="182880" cy="285076"/>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71" name="Rectangle: Rounded Corners 70">
              <a:extLst>
                <a:ext uri="{FF2B5EF4-FFF2-40B4-BE49-F238E27FC236}">
                  <a16:creationId xmlns:a16="http://schemas.microsoft.com/office/drawing/2014/main" id="{DA01CB73-93F7-3227-D793-FFCCE4DEE556}"/>
                </a:ext>
              </a:extLst>
            </p:cNvPr>
            <p:cNvSpPr/>
            <p:nvPr/>
          </p:nvSpPr>
          <p:spPr>
            <a:xfrm rot="16200000" flipH="1">
              <a:off x="7742629" y="3646711"/>
              <a:ext cx="182880" cy="285076"/>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72" name="Rectangle: Rounded Corners 71">
              <a:extLst>
                <a:ext uri="{FF2B5EF4-FFF2-40B4-BE49-F238E27FC236}">
                  <a16:creationId xmlns:a16="http://schemas.microsoft.com/office/drawing/2014/main" id="{8BAC67DC-90E9-3782-DF0C-F96F911149EB}"/>
                </a:ext>
              </a:extLst>
            </p:cNvPr>
            <p:cNvSpPr/>
            <p:nvPr/>
          </p:nvSpPr>
          <p:spPr>
            <a:xfrm rot="16200000" flipH="1">
              <a:off x="7566417" y="3782468"/>
              <a:ext cx="182880" cy="285076"/>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74" name="Rectangle: Rounded Corners 73">
              <a:extLst>
                <a:ext uri="{FF2B5EF4-FFF2-40B4-BE49-F238E27FC236}">
                  <a16:creationId xmlns:a16="http://schemas.microsoft.com/office/drawing/2014/main" id="{5DB7C945-7E30-F43B-2757-075780ACCA81}"/>
                </a:ext>
              </a:extLst>
            </p:cNvPr>
            <p:cNvSpPr/>
            <p:nvPr/>
          </p:nvSpPr>
          <p:spPr>
            <a:xfrm rot="16200000" flipH="1">
              <a:off x="8065197" y="3406417"/>
              <a:ext cx="182880" cy="190051"/>
            </a:xfrm>
            <a:prstGeom prst="round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grpSp>
      <p:sp>
        <p:nvSpPr>
          <p:cNvPr id="76" name="Rectangle: Rounded Corners 75">
            <a:extLst>
              <a:ext uri="{FF2B5EF4-FFF2-40B4-BE49-F238E27FC236}">
                <a16:creationId xmlns:a16="http://schemas.microsoft.com/office/drawing/2014/main" id="{BFE6EA83-14E2-F2E3-9313-DFB5E17D768B}"/>
              </a:ext>
            </a:extLst>
          </p:cNvPr>
          <p:cNvSpPr/>
          <p:nvPr/>
        </p:nvSpPr>
        <p:spPr>
          <a:xfrm rot="16200000" flipH="1">
            <a:off x="7315949" y="3236243"/>
            <a:ext cx="274320" cy="1645922"/>
          </a:xfrm>
          <a:prstGeom prst="roundRect">
            <a:avLst/>
          </a:prstGeom>
          <a:solidFill>
            <a:srgbClr val="474C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grpSp>
        <p:nvGrpSpPr>
          <p:cNvPr id="110" name="Group 109">
            <a:extLst>
              <a:ext uri="{FF2B5EF4-FFF2-40B4-BE49-F238E27FC236}">
                <a16:creationId xmlns:a16="http://schemas.microsoft.com/office/drawing/2014/main" id="{B04D7167-0DBD-858E-811F-071553FC66A0}"/>
              </a:ext>
            </a:extLst>
          </p:cNvPr>
          <p:cNvGrpSpPr/>
          <p:nvPr/>
        </p:nvGrpSpPr>
        <p:grpSpPr>
          <a:xfrm>
            <a:off x="3063743" y="3439567"/>
            <a:ext cx="731520" cy="731520"/>
            <a:chOff x="3063743" y="3571329"/>
            <a:chExt cx="731520" cy="731520"/>
          </a:xfrm>
        </p:grpSpPr>
        <p:sp>
          <p:nvSpPr>
            <p:cNvPr id="101" name="Freeform: Shape 100">
              <a:extLst>
                <a:ext uri="{FF2B5EF4-FFF2-40B4-BE49-F238E27FC236}">
                  <a16:creationId xmlns:a16="http://schemas.microsoft.com/office/drawing/2014/main" id="{EF0CB211-52BE-C66C-D6AF-6F51B97B075A}"/>
                </a:ext>
              </a:extLst>
            </p:cNvPr>
            <p:cNvSpPr/>
            <p:nvPr/>
          </p:nvSpPr>
          <p:spPr>
            <a:xfrm>
              <a:off x="3094367" y="3624844"/>
              <a:ext cx="457200" cy="137388"/>
            </a:xfrm>
            <a:custGeom>
              <a:avLst/>
              <a:gdLst>
                <a:gd name="connsiteX0" fmla="*/ 469491 w 533400"/>
                <a:gd name="connsiteY0" fmla="*/ 63909 h 137388"/>
                <a:gd name="connsiteX1" fmla="*/ 403654 w 533400"/>
                <a:gd name="connsiteY1" fmla="*/ 63909 h 137388"/>
                <a:gd name="connsiteX2" fmla="*/ 339745 w 533400"/>
                <a:gd name="connsiteY2" fmla="*/ 0 h 137388"/>
                <a:gd name="connsiteX3" fmla="*/ 266700 w 533400"/>
                <a:gd name="connsiteY3" fmla="*/ 36515 h 137388"/>
                <a:gd name="connsiteX4" fmla="*/ 175397 w 533400"/>
                <a:gd name="connsiteY4" fmla="*/ 18258 h 137388"/>
                <a:gd name="connsiteX5" fmla="*/ 138875 w 533400"/>
                <a:gd name="connsiteY5" fmla="*/ 63909 h 137388"/>
                <a:gd name="connsiteX6" fmla="*/ 63909 w 533400"/>
                <a:gd name="connsiteY6" fmla="*/ 63909 h 137388"/>
                <a:gd name="connsiteX7" fmla="*/ 0 w 533400"/>
                <a:gd name="connsiteY7" fmla="*/ 137358 h 137388"/>
                <a:gd name="connsiteX8" fmla="*/ 533400 w 533400"/>
                <a:gd name="connsiteY8" fmla="*/ 137389 h 137388"/>
                <a:gd name="connsiteX9" fmla="*/ 469491 w 533400"/>
                <a:gd name="connsiteY9" fmla="*/ 63909 h 13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3400" h="137388">
                  <a:moveTo>
                    <a:pt x="469491" y="63909"/>
                  </a:moveTo>
                  <a:lnTo>
                    <a:pt x="403654" y="63909"/>
                  </a:lnTo>
                  <a:lnTo>
                    <a:pt x="339745" y="0"/>
                  </a:lnTo>
                  <a:lnTo>
                    <a:pt x="266700" y="36515"/>
                  </a:lnTo>
                  <a:lnTo>
                    <a:pt x="175397" y="18258"/>
                  </a:lnTo>
                  <a:lnTo>
                    <a:pt x="138875" y="63909"/>
                  </a:lnTo>
                  <a:lnTo>
                    <a:pt x="63909" y="63909"/>
                  </a:lnTo>
                  <a:lnTo>
                    <a:pt x="0" y="137358"/>
                  </a:lnTo>
                  <a:lnTo>
                    <a:pt x="533400" y="137389"/>
                  </a:lnTo>
                  <a:lnTo>
                    <a:pt x="469491" y="63909"/>
                  </a:lnTo>
                  <a:close/>
                </a:path>
              </a:pathLst>
            </a:custGeom>
            <a:solidFill>
              <a:srgbClr val="474C50"/>
            </a:solidFill>
            <a:ln w="7541" cap="flat">
              <a:noFill/>
              <a:prstDash val="solid"/>
              <a:miter/>
            </a:ln>
          </p:spPr>
          <p:txBody>
            <a:bodyPr rtlCol="0" anchor="ctr"/>
            <a:lstStyle/>
            <a:p>
              <a:endParaRPr lang="en-US"/>
            </a:p>
          </p:txBody>
        </p:sp>
        <p:pic>
          <p:nvPicPr>
            <p:cNvPr id="102" name="Graphic 101" descr="Dump truck with solid fill">
              <a:extLst>
                <a:ext uri="{FF2B5EF4-FFF2-40B4-BE49-F238E27FC236}">
                  <a16:creationId xmlns:a16="http://schemas.microsoft.com/office/drawing/2014/main" id="{66728EC9-0F85-5954-21CB-A0FC34C511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63743" y="3571329"/>
              <a:ext cx="731520" cy="731520"/>
            </a:xfrm>
            <a:prstGeom prst="rect">
              <a:avLst/>
            </a:prstGeom>
          </p:spPr>
        </p:pic>
      </p:grpSp>
      <p:grpSp>
        <p:nvGrpSpPr>
          <p:cNvPr id="111" name="Group 110">
            <a:extLst>
              <a:ext uri="{FF2B5EF4-FFF2-40B4-BE49-F238E27FC236}">
                <a16:creationId xmlns:a16="http://schemas.microsoft.com/office/drawing/2014/main" id="{3BC86AEF-D815-3F84-FEBE-CF6B5A9F49CE}"/>
              </a:ext>
            </a:extLst>
          </p:cNvPr>
          <p:cNvGrpSpPr/>
          <p:nvPr/>
        </p:nvGrpSpPr>
        <p:grpSpPr>
          <a:xfrm>
            <a:off x="5416842" y="3419178"/>
            <a:ext cx="731520" cy="731520"/>
            <a:chOff x="5416842" y="3550940"/>
            <a:chExt cx="731520" cy="731520"/>
          </a:xfrm>
        </p:grpSpPr>
        <p:sp>
          <p:nvSpPr>
            <p:cNvPr id="103" name="Freeform: Shape 102">
              <a:extLst>
                <a:ext uri="{FF2B5EF4-FFF2-40B4-BE49-F238E27FC236}">
                  <a16:creationId xmlns:a16="http://schemas.microsoft.com/office/drawing/2014/main" id="{9B5A98EB-0846-4B72-3094-11ED1F19D8B2}"/>
                </a:ext>
              </a:extLst>
            </p:cNvPr>
            <p:cNvSpPr/>
            <p:nvPr/>
          </p:nvSpPr>
          <p:spPr>
            <a:xfrm>
              <a:off x="5447466" y="3604455"/>
              <a:ext cx="457200" cy="137388"/>
            </a:xfrm>
            <a:custGeom>
              <a:avLst/>
              <a:gdLst>
                <a:gd name="connsiteX0" fmla="*/ 469491 w 533400"/>
                <a:gd name="connsiteY0" fmla="*/ 63909 h 137388"/>
                <a:gd name="connsiteX1" fmla="*/ 403654 w 533400"/>
                <a:gd name="connsiteY1" fmla="*/ 63909 h 137388"/>
                <a:gd name="connsiteX2" fmla="*/ 339745 w 533400"/>
                <a:gd name="connsiteY2" fmla="*/ 0 h 137388"/>
                <a:gd name="connsiteX3" fmla="*/ 266700 w 533400"/>
                <a:gd name="connsiteY3" fmla="*/ 36515 h 137388"/>
                <a:gd name="connsiteX4" fmla="*/ 175397 w 533400"/>
                <a:gd name="connsiteY4" fmla="*/ 18258 h 137388"/>
                <a:gd name="connsiteX5" fmla="*/ 138875 w 533400"/>
                <a:gd name="connsiteY5" fmla="*/ 63909 h 137388"/>
                <a:gd name="connsiteX6" fmla="*/ 63909 w 533400"/>
                <a:gd name="connsiteY6" fmla="*/ 63909 h 137388"/>
                <a:gd name="connsiteX7" fmla="*/ 0 w 533400"/>
                <a:gd name="connsiteY7" fmla="*/ 137358 h 137388"/>
                <a:gd name="connsiteX8" fmla="*/ 533400 w 533400"/>
                <a:gd name="connsiteY8" fmla="*/ 137389 h 137388"/>
                <a:gd name="connsiteX9" fmla="*/ 469491 w 533400"/>
                <a:gd name="connsiteY9" fmla="*/ 63909 h 13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3400" h="137388">
                  <a:moveTo>
                    <a:pt x="469491" y="63909"/>
                  </a:moveTo>
                  <a:lnTo>
                    <a:pt x="403654" y="63909"/>
                  </a:lnTo>
                  <a:lnTo>
                    <a:pt x="339745" y="0"/>
                  </a:lnTo>
                  <a:lnTo>
                    <a:pt x="266700" y="36515"/>
                  </a:lnTo>
                  <a:lnTo>
                    <a:pt x="175397" y="18258"/>
                  </a:lnTo>
                  <a:lnTo>
                    <a:pt x="138875" y="63909"/>
                  </a:lnTo>
                  <a:lnTo>
                    <a:pt x="63909" y="63909"/>
                  </a:lnTo>
                  <a:lnTo>
                    <a:pt x="0" y="137358"/>
                  </a:lnTo>
                  <a:lnTo>
                    <a:pt x="533400" y="137389"/>
                  </a:lnTo>
                  <a:lnTo>
                    <a:pt x="469491" y="63909"/>
                  </a:lnTo>
                  <a:close/>
                </a:path>
              </a:pathLst>
            </a:custGeom>
            <a:solidFill>
              <a:srgbClr val="474C50"/>
            </a:solidFill>
            <a:ln w="7541" cap="flat">
              <a:noFill/>
              <a:prstDash val="solid"/>
              <a:miter/>
            </a:ln>
          </p:spPr>
          <p:txBody>
            <a:bodyPr rtlCol="0" anchor="ctr"/>
            <a:lstStyle/>
            <a:p>
              <a:endParaRPr lang="en-US"/>
            </a:p>
          </p:txBody>
        </p:sp>
        <p:pic>
          <p:nvPicPr>
            <p:cNvPr id="104" name="Graphic 103" descr="Dump truck with solid fill">
              <a:extLst>
                <a:ext uri="{FF2B5EF4-FFF2-40B4-BE49-F238E27FC236}">
                  <a16:creationId xmlns:a16="http://schemas.microsoft.com/office/drawing/2014/main" id="{53AD16A5-CA49-CC3C-3DBF-4A75DF9ABD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16842" y="3550940"/>
              <a:ext cx="731520" cy="731520"/>
            </a:xfrm>
            <a:prstGeom prst="rect">
              <a:avLst/>
            </a:prstGeom>
          </p:spPr>
        </p:pic>
      </p:grpSp>
      <p:cxnSp>
        <p:nvCxnSpPr>
          <p:cNvPr id="4" name="Straight Arrow Connector 3">
            <a:extLst>
              <a:ext uri="{FF2B5EF4-FFF2-40B4-BE49-F238E27FC236}">
                <a16:creationId xmlns:a16="http://schemas.microsoft.com/office/drawing/2014/main" id="{49F2205B-5315-F5BD-8073-54B8B7EA4FBE}"/>
              </a:ext>
            </a:extLst>
          </p:cNvPr>
          <p:cNvCxnSpPr>
            <a:cxnSpLocks/>
          </p:cNvCxnSpPr>
          <p:nvPr/>
        </p:nvCxnSpPr>
        <p:spPr>
          <a:xfrm>
            <a:off x="6240008" y="4077638"/>
            <a:ext cx="0" cy="385136"/>
          </a:xfrm>
          <a:prstGeom prst="straightConnector1">
            <a:avLst/>
          </a:prstGeom>
          <a:ln w="19050">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 name="Straight Arrow Connector 5">
            <a:extLst>
              <a:ext uri="{FF2B5EF4-FFF2-40B4-BE49-F238E27FC236}">
                <a16:creationId xmlns:a16="http://schemas.microsoft.com/office/drawing/2014/main" id="{B633325C-2F6F-B428-EA91-87B5DDD5D065}"/>
              </a:ext>
            </a:extLst>
          </p:cNvPr>
          <p:cNvCxnSpPr>
            <a:cxnSpLocks/>
          </p:cNvCxnSpPr>
          <p:nvPr/>
        </p:nvCxnSpPr>
        <p:spPr>
          <a:xfrm>
            <a:off x="6244486" y="4462774"/>
            <a:ext cx="385662" cy="0"/>
          </a:xfrm>
          <a:prstGeom prst="straightConnector1">
            <a:avLst/>
          </a:prstGeom>
          <a:ln w="19050">
            <a:prstDash val="sysDash"/>
            <a:tailEnd type="triangle"/>
          </a:ln>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86ECEAFD-5836-DC0C-153A-C27078E53586}"/>
              </a:ext>
            </a:extLst>
          </p:cNvPr>
          <p:cNvSpPr txBox="1"/>
          <p:nvPr/>
        </p:nvSpPr>
        <p:spPr>
          <a:xfrm>
            <a:off x="6665902" y="4279894"/>
            <a:ext cx="1645920" cy="365760"/>
          </a:xfrm>
          <a:prstGeom prst="roundRect">
            <a:avLst/>
          </a:prstGeom>
          <a:solidFill>
            <a:schemeClr val="bg2"/>
          </a:solidFill>
          <a:effectLst>
            <a:outerShdw blurRad="50800" dist="38100" dir="5400000" algn="t" rotWithShape="0">
              <a:prstClr val="black">
                <a:alpha val="40000"/>
              </a:prstClr>
            </a:outerShdw>
          </a:effectLst>
        </p:spPr>
        <p:txBody>
          <a:bodyPr wrap="none" lIns="45720" rIns="45720" rtlCol="0" anchor="ctr" anchorCtr="0">
            <a:noAutofit/>
          </a:bodyPr>
          <a:lstStyle/>
          <a:p>
            <a:pPr algn="ctr"/>
            <a:r>
              <a:rPr lang="en-GB" sz="1200" b="1">
                <a:solidFill>
                  <a:schemeClr val="bg1"/>
                </a:solidFill>
              </a:rPr>
              <a:t>External Waste</a:t>
            </a:r>
          </a:p>
        </p:txBody>
      </p:sp>
    </p:spTree>
    <p:custDataLst>
      <p:tags r:id="rId1"/>
    </p:custDataLst>
    <p:extLst>
      <p:ext uri="{BB962C8B-B14F-4D97-AF65-F5344CB8AC3E}">
        <p14:creationId xmlns:p14="http://schemas.microsoft.com/office/powerpoint/2010/main" val="16012665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EABCC-3791-4855-83F5-D4F6276CF8FC}"/>
              </a:ext>
            </a:extLst>
          </p:cNvPr>
          <p:cNvSpPr>
            <a:spLocks noGrp="1"/>
          </p:cNvSpPr>
          <p:nvPr>
            <p:ph type="title"/>
          </p:nvPr>
        </p:nvSpPr>
        <p:spPr/>
        <p:txBody>
          <a:bodyPr/>
          <a:lstStyle/>
          <a:p>
            <a:r>
              <a:rPr lang="en-US"/>
              <a:t>Mine Earnings Power and Growth Potential</a:t>
            </a:r>
          </a:p>
        </p:txBody>
      </p:sp>
      <p:sp>
        <p:nvSpPr>
          <p:cNvPr id="19" name="Content Placeholder 2">
            <a:extLst>
              <a:ext uri="{FF2B5EF4-FFF2-40B4-BE49-F238E27FC236}">
                <a16:creationId xmlns:a16="http://schemas.microsoft.com/office/drawing/2014/main" id="{46270182-F589-E298-9D73-75C22BBE0C04}"/>
              </a:ext>
            </a:extLst>
          </p:cNvPr>
          <p:cNvSpPr txBox="1">
            <a:spLocks/>
          </p:cNvSpPr>
          <p:nvPr/>
        </p:nvSpPr>
        <p:spPr>
          <a:xfrm>
            <a:off x="457200" y="1007428"/>
            <a:ext cx="3886200" cy="274320"/>
          </a:xfrm>
          <a:prstGeom prst="rect">
            <a:avLst/>
          </a:prstGeom>
          <a:solidFill>
            <a:schemeClr val="bg1"/>
          </a:solidFill>
          <a:ln w="9525" cap="flat" cmpd="sng" algn="ctr">
            <a:noFill/>
            <a:prstDash val="solid"/>
          </a:ln>
          <a:effectLst>
            <a:outerShdw dist="12700" dir="5400000" algn="t"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45720" bIns="27432" numCol="1" spcCol="0" rtlCol="0" fromWordArt="0" anchor="ctr" anchorCtr="0" forceAA="0" compatLnSpc="0">
            <a:prstTxWarp prst="textNoShape">
              <a:avLst/>
            </a:prstTxWarp>
            <a:noAutofit/>
          </a:bodyPr>
          <a:lstStyle>
            <a:defPPr>
              <a:defRPr lang="fr-FR"/>
            </a:defPPr>
            <a:lvl1pPr>
              <a:defRPr sz="1000" b="1">
                <a:solidFill>
                  <a:schemeClr val="accent1"/>
                </a:solidFill>
                <a:latin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200"/>
              <a:t>Near-term operational targets</a:t>
            </a:r>
          </a:p>
        </p:txBody>
      </p:sp>
      <p:grpSp>
        <p:nvGrpSpPr>
          <p:cNvPr id="20" name="Group 19">
            <a:extLst>
              <a:ext uri="{FF2B5EF4-FFF2-40B4-BE49-F238E27FC236}">
                <a16:creationId xmlns:a16="http://schemas.microsoft.com/office/drawing/2014/main" id="{7BFD845F-7004-87DC-3431-5355D988E6CA}"/>
              </a:ext>
            </a:extLst>
          </p:cNvPr>
          <p:cNvGrpSpPr/>
          <p:nvPr/>
        </p:nvGrpSpPr>
        <p:grpSpPr>
          <a:xfrm>
            <a:off x="457198" y="2569358"/>
            <a:ext cx="3886202" cy="439863"/>
            <a:chOff x="438697" y="1476496"/>
            <a:chExt cx="3609976" cy="520323"/>
          </a:xfrm>
        </p:grpSpPr>
        <p:sp>
          <p:nvSpPr>
            <p:cNvPr id="21" name="Rectangle: Rounded Corners 20">
              <a:extLst>
                <a:ext uri="{FF2B5EF4-FFF2-40B4-BE49-F238E27FC236}">
                  <a16:creationId xmlns:a16="http://schemas.microsoft.com/office/drawing/2014/main" id="{86E227E4-B556-68AF-8B5F-FAC495B3D899}"/>
                </a:ext>
              </a:extLst>
            </p:cNvPr>
            <p:cNvSpPr/>
            <p:nvPr/>
          </p:nvSpPr>
          <p:spPr>
            <a:xfrm>
              <a:off x="1049208" y="1476496"/>
              <a:ext cx="2999465" cy="520322"/>
            </a:xfrm>
            <a:prstGeom prst="roundRect">
              <a:avLst/>
            </a:prstGeom>
            <a:solidFill>
              <a:schemeClr val="accent5">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0">
              <a:prstTxWarp prst="textNoShape">
                <a:avLst/>
              </a:prstTxWarp>
              <a:noAutofit/>
            </a:bodyPr>
            <a:lstStyle/>
            <a:p>
              <a:pPr>
                <a:lnSpc>
                  <a:spcPct val="110000"/>
                </a:lnSpc>
              </a:pPr>
              <a:r>
                <a:rPr lang="en-US" sz="1100">
                  <a:solidFill>
                    <a:schemeClr val="tx2"/>
                  </a:solidFill>
                </a:rPr>
                <a:t>Weighted average contractual selling prices as a percentage of Platt’s iron ore index</a:t>
              </a:r>
              <a:r>
                <a:rPr lang="en-US" sz="1100" baseline="30000">
                  <a:solidFill>
                    <a:schemeClr val="tx2"/>
                  </a:solidFill>
                </a:rPr>
                <a:t>2</a:t>
              </a:r>
            </a:p>
          </p:txBody>
        </p:sp>
        <p:sp>
          <p:nvSpPr>
            <p:cNvPr id="22" name="Rectangle: Rounded Corners 21">
              <a:extLst>
                <a:ext uri="{FF2B5EF4-FFF2-40B4-BE49-F238E27FC236}">
                  <a16:creationId xmlns:a16="http://schemas.microsoft.com/office/drawing/2014/main" id="{BB7E0B96-B975-A993-B970-9BFA1696D9FC}"/>
                </a:ext>
              </a:extLst>
            </p:cNvPr>
            <p:cNvSpPr/>
            <p:nvPr/>
          </p:nvSpPr>
          <p:spPr>
            <a:xfrm>
              <a:off x="438697" y="1476497"/>
              <a:ext cx="849406" cy="520322"/>
            </a:xfrm>
            <a:prstGeom prst="roundRect">
              <a:avLst/>
            </a:prstGeom>
            <a:solidFill>
              <a:schemeClr val="accent2"/>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0">
              <a:prstTxWarp prst="textNoShape">
                <a:avLst/>
              </a:prstTxWarp>
              <a:noAutofit/>
            </a:bodyPr>
            <a:lstStyle/>
            <a:p>
              <a:pPr algn="ctr">
                <a:lnSpc>
                  <a:spcPct val="110000"/>
                </a:lnSpc>
              </a:pPr>
              <a:r>
                <a:rPr lang="en-US" sz="1100" b="1">
                  <a:solidFill>
                    <a:schemeClr val="bg1"/>
                  </a:solidFill>
                </a:rPr>
                <a:t>40% – 45% </a:t>
              </a:r>
            </a:p>
          </p:txBody>
        </p:sp>
      </p:grpSp>
      <p:grpSp>
        <p:nvGrpSpPr>
          <p:cNvPr id="23" name="Group 22">
            <a:extLst>
              <a:ext uri="{FF2B5EF4-FFF2-40B4-BE49-F238E27FC236}">
                <a16:creationId xmlns:a16="http://schemas.microsoft.com/office/drawing/2014/main" id="{39DC4DC9-C6B2-6C7F-F5E2-648F579B79A6}"/>
              </a:ext>
            </a:extLst>
          </p:cNvPr>
          <p:cNvGrpSpPr/>
          <p:nvPr/>
        </p:nvGrpSpPr>
        <p:grpSpPr>
          <a:xfrm>
            <a:off x="457197" y="2008737"/>
            <a:ext cx="3886202" cy="439863"/>
            <a:chOff x="438697" y="1476496"/>
            <a:chExt cx="3609976" cy="520323"/>
          </a:xfrm>
        </p:grpSpPr>
        <p:sp>
          <p:nvSpPr>
            <p:cNvPr id="24" name="Rectangle: Rounded Corners 23">
              <a:extLst>
                <a:ext uri="{FF2B5EF4-FFF2-40B4-BE49-F238E27FC236}">
                  <a16:creationId xmlns:a16="http://schemas.microsoft.com/office/drawing/2014/main" id="{991FA872-47D9-978C-319F-BCAA727947D8}"/>
                </a:ext>
              </a:extLst>
            </p:cNvPr>
            <p:cNvSpPr/>
            <p:nvPr/>
          </p:nvSpPr>
          <p:spPr>
            <a:xfrm>
              <a:off x="1049208" y="1476496"/>
              <a:ext cx="2999465" cy="520322"/>
            </a:xfrm>
            <a:prstGeom prst="roundRect">
              <a:avLst/>
            </a:prstGeom>
            <a:solidFill>
              <a:schemeClr val="accent5">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0">
              <a:prstTxWarp prst="textNoShape">
                <a:avLst/>
              </a:prstTxWarp>
              <a:noAutofit/>
            </a:bodyPr>
            <a:lstStyle/>
            <a:p>
              <a:pPr>
                <a:lnSpc>
                  <a:spcPct val="110000"/>
                </a:lnSpc>
              </a:pPr>
              <a:r>
                <a:rPr lang="en-US" sz="1100">
                  <a:solidFill>
                    <a:schemeClr val="tx2"/>
                  </a:solidFill>
                </a:rPr>
                <a:t>Production used to support Tubes production business (m tonnes)</a:t>
              </a:r>
              <a:endParaRPr lang="en-US" sz="1100" baseline="30000">
                <a:solidFill>
                  <a:schemeClr val="tx2"/>
                </a:solidFill>
              </a:endParaRPr>
            </a:p>
          </p:txBody>
        </p:sp>
        <p:sp>
          <p:nvSpPr>
            <p:cNvPr id="25" name="Rectangle: Rounded Corners 24">
              <a:extLst>
                <a:ext uri="{FF2B5EF4-FFF2-40B4-BE49-F238E27FC236}">
                  <a16:creationId xmlns:a16="http://schemas.microsoft.com/office/drawing/2014/main" id="{D44B3725-104B-1A21-C557-54A0A68BE92D}"/>
                </a:ext>
              </a:extLst>
            </p:cNvPr>
            <p:cNvSpPr/>
            <p:nvPr/>
          </p:nvSpPr>
          <p:spPr>
            <a:xfrm>
              <a:off x="438697" y="1476497"/>
              <a:ext cx="849406" cy="520322"/>
            </a:xfrm>
            <a:prstGeom prst="roundRect">
              <a:avLst/>
            </a:prstGeom>
            <a:solidFill>
              <a:schemeClr val="accent2"/>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0">
              <a:prstTxWarp prst="textNoShape">
                <a:avLst/>
              </a:prstTxWarp>
              <a:noAutofit/>
            </a:bodyPr>
            <a:lstStyle/>
            <a:p>
              <a:pPr algn="ctr">
                <a:lnSpc>
                  <a:spcPct val="110000"/>
                </a:lnSpc>
              </a:pPr>
              <a:r>
                <a:rPr lang="en-US" sz="1100" b="1">
                  <a:solidFill>
                    <a:schemeClr val="bg1"/>
                  </a:solidFill>
                </a:rPr>
                <a:t>1.0m</a:t>
              </a:r>
            </a:p>
          </p:txBody>
        </p:sp>
      </p:grpSp>
      <p:grpSp>
        <p:nvGrpSpPr>
          <p:cNvPr id="26" name="Group 25">
            <a:extLst>
              <a:ext uri="{FF2B5EF4-FFF2-40B4-BE49-F238E27FC236}">
                <a16:creationId xmlns:a16="http://schemas.microsoft.com/office/drawing/2014/main" id="{499B81A2-70DD-87EF-35A4-A6203B62A682}"/>
              </a:ext>
            </a:extLst>
          </p:cNvPr>
          <p:cNvGrpSpPr/>
          <p:nvPr/>
        </p:nvGrpSpPr>
        <p:grpSpPr>
          <a:xfrm>
            <a:off x="457197" y="3129979"/>
            <a:ext cx="3886202" cy="439863"/>
            <a:chOff x="438697" y="1476496"/>
            <a:chExt cx="3609976" cy="520323"/>
          </a:xfrm>
        </p:grpSpPr>
        <p:sp>
          <p:nvSpPr>
            <p:cNvPr id="27" name="Rectangle: Rounded Corners 26">
              <a:extLst>
                <a:ext uri="{FF2B5EF4-FFF2-40B4-BE49-F238E27FC236}">
                  <a16:creationId xmlns:a16="http://schemas.microsoft.com/office/drawing/2014/main" id="{7E39E24C-4D8E-DFFB-F559-2557B48B7C25}"/>
                </a:ext>
              </a:extLst>
            </p:cNvPr>
            <p:cNvSpPr/>
            <p:nvPr/>
          </p:nvSpPr>
          <p:spPr>
            <a:xfrm>
              <a:off x="1049208" y="1476496"/>
              <a:ext cx="2999465" cy="520322"/>
            </a:xfrm>
            <a:prstGeom prst="roundRect">
              <a:avLst/>
            </a:prstGeom>
            <a:solidFill>
              <a:schemeClr val="accent5">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0">
              <a:prstTxWarp prst="textNoShape">
                <a:avLst/>
              </a:prstTxWarp>
              <a:noAutofit/>
            </a:bodyPr>
            <a:lstStyle/>
            <a:p>
              <a:pPr>
                <a:lnSpc>
                  <a:spcPct val="110000"/>
                </a:lnSpc>
              </a:pPr>
              <a:r>
                <a:rPr lang="en-US" sz="1100">
                  <a:solidFill>
                    <a:schemeClr val="tx2"/>
                  </a:solidFill>
                </a:rPr>
                <a:t>Total cost of extraction, overhead, and SG&amp;A per tonne</a:t>
              </a:r>
              <a:endParaRPr lang="en-US" sz="1100" baseline="30000">
                <a:solidFill>
                  <a:schemeClr val="tx2"/>
                </a:solidFill>
              </a:endParaRPr>
            </a:p>
          </p:txBody>
        </p:sp>
        <p:sp>
          <p:nvSpPr>
            <p:cNvPr id="28" name="Rectangle: Rounded Corners 27">
              <a:extLst>
                <a:ext uri="{FF2B5EF4-FFF2-40B4-BE49-F238E27FC236}">
                  <a16:creationId xmlns:a16="http://schemas.microsoft.com/office/drawing/2014/main" id="{7A7770AC-F364-0588-B9C5-6A02EA01702D}"/>
                </a:ext>
              </a:extLst>
            </p:cNvPr>
            <p:cNvSpPr/>
            <p:nvPr/>
          </p:nvSpPr>
          <p:spPr>
            <a:xfrm>
              <a:off x="438697" y="1476497"/>
              <a:ext cx="849406" cy="520322"/>
            </a:xfrm>
            <a:prstGeom prst="roundRect">
              <a:avLst/>
            </a:prstGeom>
            <a:solidFill>
              <a:schemeClr val="accent2"/>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0">
              <a:prstTxWarp prst="textNoShape">
                <a:avLst/>
              </a:prstTxWarp>
              <a:noAutofit/>
            </a:bodyPr>
            <a:lstStyle/>
            <a:p>
              <a:pPr algn="ctr">
                <a:lnSpc>
                  <a:spcPct val="110000"/>
                </a:lnSpc>
              </a:pPr>
              <a:r>
                <a:rPr lang="en-US" sz="1100" b="1">
                  <a:solidFill>
                    <a:schemeClr val="bg1"/>
                  </a:solidFill>
                </a:rPr>
                <a:t>€20 – €25</a:t>
              </a:r>
            </a:p>
          </p:txBody>
        </p:sp>
      </p:grpSp>
      <p:grpSp>
        <p:nvGrpSpPr>
          <p:cNvPr id="29" name="Group 28">
            <a:extLst>
              <a:ext uri="{FF2B5EF4-FFF2-40B4-BE49-F238E27FC236}">
                <a16:creationId xmlns:a16="http://schemas.microsoft.com/office/drawing/2014/main" id="{D968D498-1396-2ABE-6EC0-8CBC36BA3F0F}"/>
              </a:ext>
            </a:extLst>
          </p:cNvPr>
          <p:cNvGrpSpPr/>
          <p:nvPr/>
        </p:nvGrpSpPr>
        <p:grpSpPr>
          <a:xfrm>
            <a:off x="457197" y="1448116"/>
            <a:ext cx="3886202" cy="439863"/>
            <a:chOff x="438697" y="1476496"/>
            <a:chExt cx="3609976" cy="520323"/>
          </a:xfrm>
        </p:grpSpPr>
        <p:sp>
          <p:nvSpPr>
            <p:cNvPr id="30" name="Rectangle: Rounded Corners 29">
              <a:extLst>
                <a:ext uri="{FF2B5EF4-FFF2-40B4-BE49-F238E27FC236}">
                  <a16:creationId xmlns:a16="http://schemas.microsoft.com/office/drawing/2014/main" id="{6524EEA9-8607-8D71-B64C-9977A339822B}"/>
                </a:ext>
              </a:extLst>
            </p:cNvPr>
            <p:cNvSpPr/>
            <p:nvPr/>
          </p:nvSpPr>
          <p:spPr>
            <a:xfrm>
              <a:off x="1049208" y="1476496"/>
              <a:ext cx="2999465" cy="520322"/>
            </a:xfrm>
            <a:prstGeom prst="roundRect">
              <a:avLst/>
            </a:prstGeom>
            <a:solidFill>
              <a:schemeClr val="accent5">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0">
              <a:prstTxWarp prst="textNoShape">
                <a:avLst/>
              </a:prstTxWarp>
              <a:noAutofit/>
            </a:bodyPr>
            <a:lstStyle/>
            <a:p>
              <a:pPr>
                <a:lnSpc>
                  <a:spcPct val="110000"/>
                </a:lnSpc>
              </a:pPr>
              <a:r>
                <a:rPr lang="en-US" sz="1100">
                  <a:solidFill>
                    <a:schemeClr val="tx2"/>
                  </a:solidFill>
                </a:rPr>
                <a:t>New near-term</a:t>
              </a:r>
              <a:r>
                <a:rPr lang="en-US" sz="1100" baseline="30000">
                  <a:solidFill>
                    <a:schemeClr val="tx2"/>
                  </a:solidFill>
                </a:rPr>
                <a:t>1</a:t>
              </a:r>
              <a:r>
                <a:rPr lang="en-US" sz="1100">
                  <a:solidFill>
                    <a:schemeClr val="tx2"/>
                  </a:solidFill>
                </a:rPr>
                <a:t> annual iron ore production target (m tonnes)</a:t>
              </a:r>
              <a:endParaRPr lang="en-US" sz="1100" baseline="30000">
                <a:solidFill>
                  <a:schemeClr val="tx2"/>
                </a:solidFill>
              </a:endParaRPr>
            </a:p>
          </p:txBody>
        </p:sp>
        <p:sp>
          <p:nvSpPr>
            <p:cNvPr id="31" name="Rectangle: Rounded Corners 30">
              <a:extLst>
                <a:ext uri="{FF2B5EF4-FFF2-40B4-BE49-F238E27FC236}">
                  <a16:creationId xmlns:a16="http://schemas.microsoft.com/office/drawing/2014/main" id="{F76B30E4-5A2D-BCE8-3911-52AE9DB7C410}"/>
                </a:ext>
              </a:extLst>
            </p:cNvPr>
            <p:cNvSpPr/>
            <p:nvPr/>
          </p:nvSpPr>
          <p:spPr>
            <a:xfrm>
              <a:off x="438697" y="1476497"/>
              <a:ext cx="849406" cy="520322"/>
            </a:xfrm>
            <a:prstGeom prst="roundRect">
              <a:avLst/>
            </a:prstGeom>
            <a:solidFill>
              <a:schemeClr val="accent2"/>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0">
              <a:prstTxWarp prst="textNoShape">
                <a:avLst/>
              </a:prstTxWarp>
              <a:noAutofit/>
            </a:bodyPr>
            <a:lstStyle/>
            <a:p>
              <a:pPr algn="ctr">
                <a:lnSpc>
                  <a:spcPct val="110000"/>
                </a:lnSpc>
              </a:pPr>
              <a:r>
                <a:rPr lang="en-US" sz="1100" b="1">
                  <a:solidFill>
                    <a:schemeClr val="bg1"/>
                  </a:solidFill>
                </a:rPr>
                <a:t>6.0m</a:t>
              </a:r>
            </a:p>
          </p:txBody>
        </p:sp>
      </p:grpSp>
      <p:sp>
        <p:nvSpPr>
          <p:cNvPr id="43" name="Content Placeholder 2">
            <a:extLst>
              <a:ext uri="{FF2B5EF4-FFF2-40B4-BE49-F238E27FC236}">
                <a16:creationId xmlns:a16="http://schemas.microsoft.com/office/drawing/2014/main" id="{EC4A785C-86F6-1BC5-0AA7-75ABABCE49DC}"/>
              </a:ext>
            </a:extLst>
          </p:cNvPr>
          <p:cNvSpPr txBox="1">
            <a:spLocks/>
          </p:cNvSpPr>
          <p:nvPr/>
        </p:nvSpPr>
        <p:spPr>
          <a:xfrm>
            <a:off x="4800600" y="1007428"/>
            <a:ext cx="3886200" cy="274320"/>
          </a:xfrm>
          <a:prstGeom prst="rect">
            <a:avLst/>
          </a:prstGeom>
          <a:solidFill>
            <a:schemeClr val="bg1"/>
          </a:solidFill>
          <a:ln w="9525" cap="flat" cmpd="sng" algn="ctr">
            <a:noFill/>
            <a:prstDash val="solid"/>
          </a:ln>
          <a:effectLst>
            <a:outerShdw dist="12700" dir="5400000" algn="t"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45720" bIns="27432" numCol="1" spcCol="0" rtlCol="0" fromWordArt="0" anchor="ctr" anchorCtr="0" forceAA="0" compatLnSpc="0">
            <a:prstTxWarp prst="textNoShape">
              <a:avLst/>
            </a:prstTxWarp>
            <a:noAutofit/>
          </a:bodyPr>
          <a:lstStyle>
            <a:defPPr>
              <a:defRPr lang="fr-FR"/>
            </a:defPPr>
            <a:lvl1pPr>
              <a:defRPr sz="1000" b="1">
                <a:solidFill>
                  <a:schemeClr val="accent1"/>
                </a:solidFill>
                <a:latin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200"/>
              <a:t>Two-phase extension plan in progress</a:t>
            </a:r>
          </a:p>
        </p:txBody>
      </p:sp>
      <p:graphicFrame>
        <p:nvGraphicFramePr>
          <p:cNvPr id="44" name="Table 25">
            <a:extLst>
              <a:ext uri="{FF2B5EF4-FFF2-40B4-BE49-F238E27FC236}">
                <a16:creationId xmlns:a16="http://schemas.microsoft.com/office/drawing/2014/main" id="{0C1EA218-C6A6-3A3B-00AC-C40D62768A56}"/>
              </a:ext>
            </a:extLst>
          </p:cNvPr>
          <p:cNvGraphicFramePr>
            <a:graphicFrameLocks noGrp="1"/>
          </p:cNvGraphicFramePr>
          <p:nvPr/>
        </p:nvGraphicFramePr>
        <p:xfrm>
          <a:off x="4800600" y="1468019"/>
          <a:ext cx="3937632" cy="2662442"/>
        </p:xfrm>
        <a:graphic>
          <a:graphicData uri="http://schemas.openxmlformats.org/drawingml/2006/table">
            <a:tbl>
              <a:tblPr firstRow="1" bandRow="1">
                <a:tableStyleId>{0E3FDE45-AF77-4B5C-9715-49D594BDF05E}</a:tableStyleId>
              </a:tblPr>
              <a:tblGrid>
                <a:gridCol w="1534518">
                  <a:extLst>
                    <a:ext uri="{9D8B030D-6E8A-4147-A177-3AD203B41FA5}">
                      <a16:colId xmlns:a16="http://schemas.microsoft.com/office/drawing/2014/main" val="603822810"/>
                    </a:ext>
                  </a:extLst>
                </a:gridCol>
                <a:gridCol w="1125180">
                  <a:extLst>
                    <a:ext uri="{9D8B030D-6E8A-4147-A177-3AD203B41FA5}">
                      <a16:colId xmlns:a16="http://schemas.microsoft.com/office/drawing/2014/main" val="840897909"/>
                    </a:ext>
                  </a:extLst>
                </a:gridCol>
                <a:gridCol w="1277934">
                  <a:extLst>
                    <a:ext uri="{9D8B030D-6E8A-4147-A177-3AD203B41FA5}">
                      <a16:colId xmlns:a16="http://schemas.microsoft.com/office/drawing/2014/main" val="3304740280"/>
                    </a:ext>
                  </a:extLst>
                </a:gridCol>
              </a:tblGrid>
              <a:tr h="318418">
                <a:tc>
                  <a:txBody>
                    <a:bodyPr/>
                    <a:lstStyle/>
                    <a:p>
                      <a:pPr algn="ctr"/>
                      <a:endParaRPr lang="en-US" sz="1100"/>
                    </a:p>
                  </a:txBody>
                  <a:tcPr anchor="b"/>
                </a:tc>
                <a:tc>
                  <a:txBody>
                    <a:bodyPr/>
                    <a:lstStyle/>
                    <a:p>
                      <a:pPr algn="ctr"/>
                      <a:r>
                        <a:rPr lang="en-US" sz="1100"/>
                        <a:t>Phase 1</a:t>
                      </a:r>
                    </a:p>
                  </a:txBody>
                  <a:tcPr anchor="b"/>
                </a:tc>
                <a:tc>
                  <a:txBody>
                    <a:bodyPr/>
                    <a:lstStyle/>
                    <a:p>
                      <a:pPr algn="ctr"/>
                      <a:r>
                        <a:rPr lang="en-US" sz="1100"/>
                        <a:t>Phase 2</a:t>
                      </a:r>
                    </a:p>
                  </a:txBody>
                  <a:tcPr anchor="b"/>
                </a:tc>
                <a:extLst>
                  <a:ext uri="{0D108BD9-81ED-4DB2-BD59-A6C34878D82A}">
                    <a16:rowId xmlns:a16="http://schemas.microsoft.com/office/drawing/2014/main" val="4030912198"/>
                  </a:ext>
                </a:extLst>
              </a:tr>
              <a:tr h="596118">
                <a:tc>
                  <a:txBody>
                    <a:bodyPr/>
                    <a:lstStyle/>
                    <a:p>
                      <a:pPr algn="ctr"/>
                      <a:r>
                        <a:rPr lang="en-US" sz="1100"/>
                        <a:t>Incremental Annual</a:t>
                      </a:r>
                    </a:p>
                    <a:p>
                      <a:pPr algn="ctr"/>
                      <a:r>
                        <a:rPr lang="en-US" sz="1100"/>
                        <a:t>Iron Ore Production</a:t>
                      </a:r>
                      <a:r>
                        <a:rPr lang="en-US" sz="1100" baseline="30000"/>
                        <a:t>4</a:t>
                      </a:r>
                    </a:p>
                  </a:txBody>
                  <a:tcPr anchor="ctr"/>
                </a:tc>
                <a:tc>
                  <a:txBody>
                    <a:bodyPr/>
                    <a:lstStyle/>
                    <a:p>
                      <a:pPr algn="ctr"/>
                      <a:r>
                        <a:rPr lang="en-US" sz="900" i="0"/>
                        <a:t>–</a:t>
                      </a:r>
                    </a:p>
                  </a:txBody>
                  <a:tcPr anchor="ctr"/>
                </a:tc>
                <a:tc>
                  <a:txBody>
                    <a:bodyPr/>
                    <a:lstStyle/>
                    <a:p>
                      <a:pPr algn="ctr"/>
                      <a:r>
                        <a:rPr lang="en-US" sz="1100"/>
                        <a:t>+1mt – 2mt</a:t>
                      </a:r>
                    </a:p>
                  </a:txBody>
                  <a:tcPr anchor="ctr"/>
                </a:tc>
                <a:extLst>
                  <a:ext uri="{0D108BD9-81ED-4DB2-BD59-A6C34878D82A}">
                    <a16:rowId xmlns:a16="http://schemas.microsoft.com/office/drawing/2014/main" val="467745096"/>
                  </a:ext>
                </a:extLst>
              </a:tr>
              <a:tr h="596118">
                <a:tc>
                  <a:txBody>
                    <a:bodyPr/>
                    <a:lstStyle/>
                    <a:p>
                      <a:pPr algn="ctr"/>
                      <a:r>
                        <a:rPr lang="en-US" sz="1100"/>
                        <a:t>Incremental Annual EBITDA</a:t>
                      </a:r>
                      <a:r>
                        <a:rPr lang="en-US" sz="1100" baseline="30000"/>
                        <a:t>4</a:t>
                      </a:r>
                    </a:p>
                  </a:txBody>
                  <a:tcPr anchor="ctr"/>
                </a:tc>
                <a:tc>
                  <a:txBody>
                    <a:bodyPr/>
                    <a:lstStyle/>
                    <a:p>
                      <a:pPr algn="ctr"/>
                      <a:r>
                        <a:rPr lang="en-US" sz="1100"/>
                        <a:t>+€20 – €25m</a:t>
                      </a:r>
                    </a:p>
                  </a:txBody>
                  <a:tcPr anchor="ctr"/>
                </a:tc>
                <a:tc>
                  <a:txBody>
                    <a:bodyPr/>
                    <a:lstStyle/>
                    <a:p>
                      <a:pPr algn="ctr"/>
                      <a:r>
                        <a:rPr lang="en-US" sz="1100"/>
                        <a:t>+€50m – €75m</a:t>
                      </a:r>
                    </a:p>
                  </a:txBody>
                  <a:tcPr anchor="ctr"/>
                </a:tc>
                <a:extLst>
                  <a:ext uri="{0D108BD9-81ED-4DB2-BD59-A6C34878D82A}">
                    <a16:rowId xmlns:a16="http://schemas.microsoft.com/office/drawing/2014/main" val="259227891"/>
                  </a:ext>
                </a:extLst>
              </a:tr>
              <a:tr h="596118">
                <a:tc>
                  <a:txBody>
                    <a:bodyPr/>
                    <a:lstStyle/>
                    <a:p>
                      <a:pPr algn="ctr"/>
                      <a:r>
                        <a:rPr lang="en-US" sz="1100"/>
                        <a:t>Estimated </a:t>
                      </a:r>
                    </a:p>
                    <a:p>
                      <a:pPr algn="ctr"/>
                      <a:r>
                        <a:rPr lang="en-US" sz="1100"/>
                        <a:t>Project Capex (€m)</a:t>
                      </a:r>
                      <a:r>
                        <a:rPr lang="en-US" sz="1100" baseline="30000"/>
                        <a:t>5</a:t>
                      </a:r>
                    </a:p>
                  </a:txBody>
                  <a:tcPr anchor="ctr"/>
                </a:tc>
                <a:tc>
                  <a:txBody>
                    <a:bodyPr/>
                    <a:lstStyle/>
                    <a:p>
                      <a:pPr algn="ctr"/>
                      <a:r>
                        <a:rPr lang="en-US" sz="1100"/>
                        <a:t>€20m</a:t>
                      </a:r>
                    </a:p>
                  </a:txBody>
                  <a:tcPr anchor="ctr"/>
                </a:tc>
                <a:tc>
                  <a:txBody>
                    <a:bodyPr/>
                    <a:lstStyle/>
                    <a:p>
                      <a:pPr algn="ctr"/>
                      <a:r>
                        <a:rPr lang="en-US" sz="1100"/>
                        <a:t>€100m – €125m</a:t>
                      </a:r>
                    </a:p>
                  </a:txBody>
                  <a:tcPr anchor="ctr"/>
                </a:tc>
                <a:extLst>
                  <a:ext uri="{0D108BD9-81ED-4DB2-BD59-A6C34878D82A}">
                    <a16:rowId xmlns:a16="http://schemas.microsoft.com/office/drawing/2014/main" val="420641868"/>
                  </a:ext>
                </a:extLst>
              </a:tr>
              <a:tr h="555670">
                <a:tc>
                  <a:txBody>
                    <a:bodyPr/>
                    <a:lstStyle/>
                    <a:p>
                      <a:pPr algn="ctr"/>
                      <a:r>
                        <a:rPr lang="en-US" sz="1100"/>
                        <a:t>Expected </a:t>
                      </a:r>
                    </a:p>
                    <a:p>
                      <a:pPr algn="ctr"/>
                      <a:r>
                        <a:rPr lang="en-US" sz="1100"/>
                        <a:t>Start-Up</a:t>
                      </a:r>
                    </a:p>
                  </a:txBody>
                  <a:tcPr anchor="ctr"/>
                </a:tc>
                <a:tc>
                  <a:txBody>
                    <a:bodyPr/>
                    <a:lstStyle/>
                    <a:p>
                      <a:pPr algn="ctr"/>
                      <a:r>
                        <a:rPr lang="en-US" sz="1100"/>
                        <a:t>Late 2024</a:t>
                      </a:r>
                    </a:p>
                  </a:txBody>
                  <a:tcPr anchor="ctr"/>
                </a:tc>
                <a:tc>
                  <a:txBody>
                    <a:bodyPr/>
                    <a:lstStyle/>
                    <a:p>
                      <a:pPr algn="ctr"/>
                      <a:r>
                        <a:rPr lang="en-US" sz="1100"/>
                        <a:t>2027</a:t>
                      </a:r>
                    </a:p>
                  </a:txBody>
                  <a:tcPr anchor="ctr"/>
                </a:tc>
                <a:extLst>
                  <a:ext uri="{0D108BD9-81ED-4DB2-BD59-A6C34878D82A}">
                    <a16:rowId xmlns:a16="http://schemas.microsoft.com/office/drawing/2014/main" val="3461066407"/>
                  </a:ext>
                </a:extLst>
              </a:tr>
            </a:tbl>
          </a:graphicData>
        </a:graphic>
      </p:graphicFrame>
      <p:grpSp>
        <p:nvGrpSpPr>
          <p:cNvPr id="5" name="Group 4">
            <a:extLst>
              <a:ext uri="{FF2B5EF4-FFF2-40B4-BE49-F238E27FC236}">
                <a16:creationId xmlns:a16="http://schemas.microsoft.com/office/drawing/2014/main" id="{9AE7A23A-DD55-7026-D88F-3983C6F31546}"/>
              </a:ext>
            </a:extLst>
          </p:cNvPr>
          <p:cNvGrpSpPr/>
          <p:nvPr/>
        </p:nvGrpSpPr>
        <p:grpSpPr>
          <a:xfrm>
            <a:off x="457197" y="3690601"/>
            <a:ext cx="3886202" cy="439863"/>
            <a:chOff x="438697" y="1476496"/>
            <a:chExt cx="3609976" cy="520323"/>
          </a:xfrm>
        </p:grpSpPr>
        <p:sp>
          <p:nvSpPr>
            <p:cNvPr id="6" name="Rectangle: Rounded Corners 5">
              <a:extLst>
                <a:ext uri="{FF2B5EF4-FFF2-40B4-BE49-F238E27FC236}">
                  <a16:creationId xmlns:a16="http://schemas.microsoft.com/office/drawing/2014/main" id="{1B013DD5-8416-4B1E-845F-1DBBED13C0E9}"/>
                </a:ext>
              </a:extLst>
            </p:cNvPr>
            <p:cNvSpPr/>
            <p:nvPr/>
          </p:nvSpPr>
          <p:spPr>
            <a:xfrm>
              <a:off x="1049208" y="1476496"/>
              <a:ext cx="2999465" cy="520322"/>
            </a:xfrm>
            <a:prstGeom prst="roundRect">
              <a:avLst/>
            </a:prstGeom>
            <a:solidFill>
              <a:schemeClr val="accent5">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0">
              <a:prstTxWarp prst="textNoShape">
                <a:avLst/>
              </a:prstTxWarp>
              <a:noAutofit/>
            </a:bodyPr>
            <a:lstStyle/>
            <a:p>
              <a:pPr>
                <a:lnSpc>
                  <a:spcPct val="110000"/>
                </a:lnSpc>
              </a:pPr>
              <a:r>
                <a:rPr lang="en-US" sz="1100">
                  <a:solidFill>
                    <a:schemeClr val="tx2"/>
                  </a:solidFill>
                </a:rPr>
                <a:t>Annualized EBITDA run-rate</a:t>
              </a:r>
              <a:r>
                <a:rPr lang="en-US" sz="1100" baseline="30000">
                  <a:solidFill>
                    <a:schemeClr val="tx2"/>
                  </a:solidFill>
                </a:rPr>
                <a:t>3</a:t>
              </a:r>
            </a:p>
          </p:txBody>
        </p:sp>
        <p:sp>
          <p:nvSpPr>
            <p:cNvPr id="7" name="Rectangle: Rounded Corners 6">
              <a:extLst>
                <a:ext uri="{FF2B5EF4-FFF2-40B4-BE49-F238E27FC236}">
                  <a16:creationId xmlns:a16="http://schemas.microsoft.com/office/drawing/2014/main" id="{98EC1F75-98B1-06BC-1896-251F81B562EC}"/>
                </a:ext>
              </a:extLst>
            </p:cNvPr>
            <p:cNvSpPr/>
            <p:nvPr/>
          </p:nvSpPr>
          <p:spPr>
            <a:xfrm>
              <a:off x="438697" y="1476497"/>
              <a:ext cx="849406" cy="520322"/>
            </a:xfrm>
            <a:prstGeom prst="roundRect">
              <a:avLst/>
            </a:prstGeom>
            <a:solidFill>
              <a:schemeClr val="accent2"/>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0">
              <a:prstTxWarp prst="textNoShape">
                <a:avLst/>
              </a:prstTxWarp>
              <a:noAutofit/>
            </a:bodyPr>
            <a:lstStyle/>
            <a:p>
              <a:pPr algn="ctr">
                <a:lnSpc>
                  <a:spcPct val="110000"/>
                </a:lnSpc>
              </a:pPr>
              <a:r>
                <a:rPr lang="en-US" sz="1100" b="1">
                  <a:solidFill>
                    <a:schemeClr val="bg1"/>
                  </a:solidFill>
                </a:rPr>
                <a:t>~€100m</a:t>
              </a:r>
            </a:p>
          </p:txBody>
        </p:sp>
      </p:grpSp>
      <p:sp>
        <p:nvSpPr>
          <p:cNvPr id="9" name="TextBox 8">
            <a:extLst>
              <a:ext uri="{FF2B5EF4-FFF2-40B4-BE49-F238E27FC236}">
                <a16:creationId xmlns:a16="http://schemas.microsoft.com/office/drawing/2014/main" id="{F42A4537-F882-15FC-0A70-FDEEA333B2FE}"/>
              </a:ext>
            </a:extLst>
          </p:cNvPr>
          <p:cNvSpPr txBox="1"/>
          <p:nvPr/>
        </p:nvSpPr>
        <p:spPr>
          <a:xfrm>
            <a:off x="396783" y="4130462"/>
            <a:ext cx="8281035" cy="553998"/>
          </a:xfrm>
          <a:prstGeom prst="rect">
            <a:avLst/>
          </a:prstGeom>
          <a:noFill/>
        </p:spPr>
        <p:txBody>
          <a:bodyPr wrap="square" rtlCol="0">
            <a:spAutoFit/>
          </a:bodyPr>
          <a:lstStyle/>
          <a:p>
            <a:r>
              <a:rPr lang="en-GB" sz="600" i="1" baseline="30000"/>
              <a:t>1</a:t>
            </a:r>
            <a:r>
              <a:rPr lang="en-GB" sz="600" i="1"/>
              <a:t> 6 million tonne annual production target commences in 2024</a:t>
            </a:r>
          </a:p>
          <a:p>
            <a:r>
              <a:rPr lang="en-GB" sz="600" i="1" baseline="30000"/>
              <a:t>2 </a:t>
            </a:r>
            <a:r>
              <a:rPr lang="en-GB" sz="600" i="1"/>
              <a:t>“Platt’s iron ore index” refers to 62% Fe CFR China index </a:t>
            </a:r>
          </a:p>
          <a:p>
            <a:r>
              <a:rPr lang="en-GB" sz="600" i="1" baseline="30000"/>
              <a:t>3</a:t>
            </a:r>
            <a:r>
              <a:rPr lang="en-GB" sz="600" i="1"/>
              <a:t> Assuming Platts index around $110 per tonne</a:t>
            </a:r>
          </a:p>
          <a:p>
            <a:r>
              <a:rPr lang="en-GB" sz="600" i="1" baseline="30000"/>
              <a:t>4</a:t>
            </a:r>
            <a:r>
              <a:rPr lang="en-GB" sz="600" i="1"/>
              <a:t> Measured relative to near-term baseline metrics on left of page</a:t>
            </a:r>
          </a:p>
          <a:p>
            <a:r>
              <a:rPr lang="en-GB" sz="600" i="1" baseline="30000"/>
              <a:t>5</a:t>
            </a:r>
            <a:r>
              <a:rPr lang="en-GB" sz="600" i="1"/>
              <a:t> Capital expenditures for Phase 2 are still pending further project planning and evaluation. Actual project spending may vary versus current assumptions based on further cost evaluation</a:t>
            </a:r>
          </a:p>
        </p:txBody>
      </p:sp>
    </p:spTree>
    <p:extLst>
      <p:ext uri="{BB962C8B-B14F-4D97-AF65-F5344CB8AC3E}">
        <p14:creationId xmlns:p14="http://schemas.microsoft.com/office/powerpoint/2010/main" val="27733165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11637-24C2-A277-D9A8-B554A83CE881}"/>
              </a:ext>
            </a:extLst>
          </p:cNvPr>
          <p:cNvSpPr>
            <a:spLocks noGrp="1"/>
          </p:cNvSpPr>
          <p:nvPr>
            <p:ph type="title"/>
          </p:nvPr>
        </p:nvSpPr>
        <p:spPr/>
        <p:txBody>
          <a:bodyPr/>
          <a:lstStyle/>
          <a:p>
            <a:r>
              <a:rPr lang="en-US"/>
              <a:t>Midcycle Cash Flow Simulation: Significant Potential Returns</a:t>
            </a:r>
          </a:p>
        </p:txBody>
      </p:sp>
      <p:graphicFrame>
        <p:nvGraphicFramePr>
          <p:cNvPr id="3" name="Table 2">
            <a:extLst>
              <a:ext uri="{FF2B5EF4-FFF2-40B4-BE49-F238E27FC236}">
                <a16:creationId xmlns:a16="http://schemas.microsoft.com/office/drawing/2014/main" id="{D46F950A-B3DD-96C1-20DA-56979A922BA6}"/>
              </a:ext>
            </a:extLst>
          </p:cNvPr>
          <p:cNvGraphicFramePr>
            <a:graphicFrameLocks noGrp="1"/>
          </p:cNvGraphicFramePr>
          <p:nvPr>
            <p:custDataLst>
              <p:tags r:id="rId1"/>
            </p:custDataLst>
          </p:nvPr>
        </p:nvGraphicFramePr>
        <p:xfrm>
          <a:off x="459136" y="1088135"/>
          <a:ext cx="7955280" cy="2824502"/>
        </p:xfrm>
        <a:graphic>
          <a:graphicData uri="http://schemas.openxmlformats.org/drawingml/2006/table">
            <a:tbl>
              <a:tblPr firstRow="1">
                <a:tableStyleId>{8EC20E35-A176-4012-BC5E-935CFFF8708E}</a:tableStyleId>
              </a:tblPr>
              <a:tblGrid>
                <a:gridCol w="2808604">
                  <a:extLst>
                    <a:ext uri="{9D8B030D-6E8A-4147-A177-3AD203B41FA5}">
                      <a16:colId xmlns:a16="http://schemas.microsoft.com/office/drawing/2014/main" val="2969803932"/>
                    </a:ext>
                  </a:extLst>
                </a:gridCol>
                <a:gridCol w="1041990">
                  <a:extLst>
                    <a:ext uri="{9D8B030D-6E8A-4147-A177-3AD203B41FA5}">
                      <a16:colId xmlns:a16="http://schemas.microsoft.com/office/drawing/2014/main" val="1036726617"/>
                    </a:ext>
                  </a:extLst>
                </a:gridCol>
                <a:gridCol w="4104686">
                  <a:extLst>
                    <a:ext uri="{9D8B030D-6E8A-4147-A177-3AD203B41FA5}">
                      <a16:colId xmlns:a16="http://schemas.microsoft.com/office/drawing/2014/main" val="665969420"/>
                    </a:ext>
                  </a:extLst>
                </a:gridCol>
              </a:tblGrid>
              <a:tr h="214378">
                <a:tc>
                  <a:txBody>
                    <a:bodyPr/>
                    <a:lstStyle/>
                    <a:p>
                      <a:pPr algn="l" fontAlgn="b"/>
                      <a:r>
                        <a:rPr lang="en-US" sz="900" b="1" i="0" u="none" strike="noStrike">
                          <a:solidFill>
                            <a:schemeClr val="bg1"/>
                          </a:solidFill>
                          <a:effectLst/>
                          <a:latin typeface="Arial"/>
                        </a:rPr>
                        <a:t>Metric</a:t>
                      </a:r>
                    </a:p>
                  </a:txBody>
                  <a:tcPr marT="27432" marB="27432" anchor="ctr">
                    <a:solidFill>
                      <a:schemeClr val="bg2"/>
                    </a:solidFill>
                  </a:tcPr>
                </a:tc>
                <a:tc>
                  <a:txBody>
                    <a:bodyPr/>
                    <a:lstStyle/>
                    <a:p>
                      <a:pPr algn="ctr" fontAlgn="b"/>
                      <a:r>
                        <a:rPr lang="en-US" sz="900" b="1" i="0" u="none" strike="noStrike">
                          <a:solidFill>
                            <a:schemeClr val="bg1"/>
                          </a:solidFill>
                          <a:effectLst/>
                          <a:latin typeface="Arial"/>
                        </a:rPr>
                        <a:t>Assumption</a:t>
                      </a:r>
                    </a:p>
                  </a:txBody>
                  <a:tcPr marT="27432" marB="27432" anchor="ctr">
                    <a:solidFill>
                      <a:schemeClr val="bg2"/>
                    </a:solidFill>
                  </a:tcPr>
                </a:tc>
                <a:tc>
                  <a:txBody>
                    <a:bodyPr/>
                    <a:lstStyle/>
                    <a:p>
                      <a:pPr algn="l" fontAlgn="b"/>
                      <a:r>
                        <a:rPr lang="en-US" sz="900" b="1" i="0" u="none" strike="noStrike">
                          <a:solidFill>
                            <a:schemeClr val="bg1"/>
                          </a:solidFill>
                          <a:effectLst/>
                          <a:latin typeface="Arial"/>
                        </a:rPr>
                        <a:t>Comments</a:t>
                      </a:r>
                    </a:p>
                  </a:txBody>
                  <a:tcPr marT="27432" marB="27432" anchor="ctr">
                    <a:solidFill>
                      <a:schemeClr val="bg2"/>
                    </a:solidFill>
                  </a:tcPr>
                </a:tc>
                <a:extLst>
                  <a:ext uri="{0D108BD9-81ED-4DB2-BD59-A6C34878D82A}">
                    <a16:rowId xmlns:a16="http://schemas.microsoft.com/office/drawing/2014/main" val="3130537926"/>
                  </a:ext>
                </a:extLst>
              </a:tr>
              <a:tr h="214378">
                <a:tc>
                  <a:txBody>
                    <a:bodyPr/>
                    <a:lstStyle/>
                    <a:p>
                      <a:pPr algn="l" fontAlgn="b"/>
                      <a:r>
                        <a:rPr lang="en-US" sz="900" b="1" u="sng" strike="noStrike">
                          <a:solidFill>
                            <a:schemeClr val="tx2"/>
                          </a:solidFill>
                          <a:effectLst/>
                        </a:rPr>
                        <a:t>EBITDA (€)</a:t>
                      </a:r>
                      <a:endParaRPr lang="en-US" sz="900" b="1" i="0" u="sng" strike="noStrike">
                        <a:solidFill>
                          <a:schemeClr val="tx2"/>
                        </a:solidFill>
                        <a:effectLst/>
                        <a:latin typeface="Arial" panose="020B0604020202020204" pitchFamily="34" charset="0"/>
                      </a:endParaRPr>
                    </a:p>
                  </a:txBody>
                  <a:tcPr marT="27432" marB="27432" anchor="b"/>
                </a:tc>
                <a:tc>
                  <a:txBody>
                    <a:bodyPr/>
                    <a:lstStyle/>
                    <a:p>
                      <a:pPr algn="l" fontAlgn="b"/>
                      <a:endParaRPr lang="en-US" sz="900" b="1" i="0" u="none" strike="noStrike">
                        <a:solidFill>
                          <a:schemeClr val="tx2"/>
                        </a:solidFill>
                        <a:effectLst/>
                        <a:latin typeface="Arial" panose="020B0604020202020204" pitchFamily="34" charset="0"/>
                      </a:endParaRPr>
                    </a:p>
                  </a:txBody>
                  <a:tcPr marT="27432" marB="27432" anchor="b"/>
                </a:tc>
                <a:tc>
                  <a:txBody>
                    <a:bodyPr/>
                    <a:lstStyle/>
                    <a:p>
                      <a:pPr algn="l" fontAlgn="b"/>
                      <a:endParaRPr lang="en-US" sz="900" b="1" i="0" u="none" strike="noStrike">
                        <a:solidFill>
                          <a:schemeClr val="tx2"/>
                        </a:solidFill>
                        <a:effectLst/>
                        <a:latin typeface="Arial" panose="020B0604020202020204" pitchFamily="34" charset="0"/>
                      </a:endParaRPr>
                    </a:p>
                  </a:txBody>
                  <a:tcPr marT="27432" marB="27432" anchor="b"/>
                </a:tc>
                <a:extLst>
                  <a:ext uri="{0D108BD9-81ED-4DB2-BD59-A6C34878D82A}">
                    <a16:rowId xmlns:a16="http://schemas.microsoft.com/office/drawing/2014/main" val="3946267492"/>
                  </a:ext>
                </a:extLst>
              </a:tr>
              <a:tr h="214378">
                <a:tc>
                  <a:txBody>
                    <a:bodyPr/>
                    <a:lstStyle/>
                    <a:p>
                      <a:pPr algn="l" fontAlgn="b"/>
                      <a:r>
                        <a:rPr lang="en-US" sz="900" b="0" u="none" strike="noStrike">
                          <a:solidFill>
                            <a:schemeClr val="tx2"/>
                          </a:solidFill>
                          <a:effectLst/>
                        </a:rPr>
                        <a:t>Tubes</a:t>
                      </a:r>
                      <a:endParaRPr lang="en-US" sz="900" b="0" i="0" u="none" strike="noStrike">
                        <a:solidFill>
                          <a:schemeClr val="tx2"/>
                        </a:solidFill>
                        <a:effectLst/>
                        <a:latin typeface="Arial" panose="020B0604020202020204" pitchFamily="34" charset="0"/>
                      </a:endParaRPr>
                    </a:p>
                  </a:txBody>
                  <a:tcPr marL="182880" marT="27432" marB="27432" anchor="b"/>
                </a:tc>
                <a:tc>
                  <a:txBody>
                    <a:bodyPr/>
                    <a:lstStyle/>
                    <a:p>
                      <a:pPr marL="6985" marR="0" lvl="0" indent="-5080" algn="r" defTabSz="571134" rtl="0" eaLnBrk="1" fontAlgn="b" latinLnBrk="0" hangingPunct="1">
                        <a:lnSpc>
                          <a:spcPct val="100000"/>
                        </a:lnSpc>
                        <a:spcBef>
                          <a:spcPts val="166"/>
                        </a:spcBef>
                        <a:spcAft>
                          <a:spcPct val="0"/>
                        </a:spcAft>
                        <a:buClrTx/>
                        <a:buSzTx/>
                        <a:buFontTx/>
                        <a:buNone/>
                        <a:tabLst/>
                        <a:defRPr/>
                      </a:pPr>
                      <a:r>
                        <a:rPr lang="en-US" sz="900" b="0" u="none" strike="noStrike">
                          <a:solidFill>
                            <a:schemeClr val="tx2"/>
                          </a:solidFill>
                          <a:effectLst/>
                        </a:rPr>
                        <a:t>€750m</a:t>
                      </a:r>
                      <a:endParaRPr lang="en-US" sz="900" b="0" i="0" u="none" strike="noStrike">
                        <a:solidFill>
                          <a:schemeClr val="tx2"/>
                        </a:solidFill>
                        <a:effectLst/>
                        <a:latin typeface="Arial" panose="020B0604020202020204" pitchFamily="34" charset="0"/>
                      </a:endParaRPr>
                    </a:p>
                  </a:txBody>
                  <a:tcPr marR="274320" marT="27432" marB="27432" anchor="b"/>
                </a:tc>
                <a:tc>
                  <a:txBody>
                    <a:bodyPr/>
                    <a:lstStyle/>
                    <a:p>
                      <a:pPr marL="6985" marR="0" lvl="0" indent="-5080" algn="l" defTabSz="571134" rtl="0" eaLnBrk="1" fontAlgn="b" latinLnBrk="0" hangingPunct="1">
                        <a:lnSpc>
                          <a:spcPct val="100000"/>
                        </a:lnSpc>
                        <a:spcBef>
                          <a:spcPts val="166"/>
                        </a:spcBef>
                        <a:spcAft>
                          <a:spcPct val="0"/>
                        </a:spcAft>
                        <a:buClrTx/>
                        <a:buSzTx/>
                        <a:buFontTx/>
                        <a:buNone/>
                        <a:tabLst/>
                        <a:defRPr/>
                      </a:pPr>
                      <a:endParaRPr lang="en-US" sz="900" b="0" i="0" u="none" strike="noStrike">
                        <a:solidFill>
                          <a:schemeClr val="tx2"/>
                        </a:solidFill>
                        <a:effectLst/>
                        <a:latin typeface="Arial"/>
                      </a:endParaRPr>
                    </a:p>
                  </a:txBody>
                  <a:tcPr marT="27432" marB="27432" anchor="b"/>
                </a:tc>
                <a:extLst>
                  <a:ext uri="{0D108BD9-81ED-4DB2-BD59-A6C34878D82A}">
                    <a16:rowId xmlns:a16="http://schemas.microsoft.com/office/drawing/2014/main" val="4082408942"/>
                  </a:ext>
                </a:extLst>
              </a:tr>
              <a:tr h="214378">
                <a:tc>
                  <a:txBody>
                    <a:bodyPr/>
                    <a:lstStyle/>
                    <a:p>
                      <a:pPr algn="l" fontAlgn="b"/>
                      <a:r>
                        <a:rPr lang="en-US" sz="900" b="0" u="none" strike="noStrike">
                          <a:solidFill>
                            <a:schemeClr val="tx2"/>
                          </a:solidFill>
                          <a:effectLst/>
                        </a:rPr>
                        <a:t>Mine &amp; Forest</a:t>
                      </a:r>
                      <a:endParaRPr lang="en-US" sz="900" b="0" i="0" u="none" strike="noStrike">
                        <a:solidFill>
                          <a:schemeClr val="tx2"/>
                        </a:solidFill>
                        <a:effectLst/>
                        <a:latin typeface="Arial" panose="020B0604020202020204" pitchFamily="34" charset="0"/>
                      </a:endParaRPr>
                    </a:p>
                  </a:txBody>
                  <a:tcPr marL="182880" marT="27432" marB="27432" anchor="b"/>
                </a:tc>
                <a:tc>
                  <a:txBody>
                    <a:bodyPr/>
                    <a:lstStyle/>
                    <a:p>
                      <a:pPr marL="6985" marR="0" lvl="0" indent="-5080" algn="r" defTabSz="571134" rtl="0" eaLnBrk="1" fontAlgn="b" latinLnBrk="0" hangingPunct="1">
                        <a:lnSpc>
                          <a:spcPct val="100000"/>
                        </a:lnSpc>
                        <a:spcBef>
                          <a:spcPts val="166"/>
                        </a:spcBef>
                        <a:spcAft>
                          <a:spcPct val="0"/>
                        </a:spcAft>
                        <a:buClrTx/>
                        <a:buSzTx/>
                        <a:buFontTx/>
                        <a:buNone/>
                        <a:tabLst/>
                        <a:defRPr/>
                      </a:pPr>
                      <a:r>
                        <a:rPr lang="en-US" sz="900" b="0" u="none" strike="noStrike">
                          <a:solidFill>
                            <a:schemeClr val="tx2"/>
                          </a:solidFill>
                          <a:effectLst/>
                        </a:rPr>
                        <a:t>€125m</a:t>
                      </a:r>
                      <a:endParaRPr lang="en-US" sz="900" b="0" i="0" u="none" strike="noStrike">
                        <a:solidFill>
                          <a:schemeClr val="tx2"/>
                        </a:solidFill>
                        <a:effectLst/>
                        <a:latin typeface="Arial" panose="020B0604020202020204" pitchFamily="34" charset="0"/>
                      </a:endParaRPr>
                    </a:p>
                  </a:txBody>
                  <a:tcPr marR="274320" marT="27432" marB="27432" anchor="b"/>
                </a:tc>
                <a:tc>
                  <a:txBody>
                    <a:bodyPr/>
                    <a:lstStyle/>
                    <a:p>
                      <a:pPr marL="6985" marR="0" lvl="0" indent="-5080" algn="l" defTabSz="571134" rtl="0" eaLnBrk="1" fontAlgn="b" latinLnBrk="0" hangingPunct="1">
                        <a:lnSpc>
                          <a:spcPct val="100000"/>
                        </a:lnSpc>
                        <a:spcBef>
                          <a:spcPts val="166"/>
                        </a:spcBef>
                        <a:spcAft>
                          <a:spcPct val="0"/>
                        </a:spcAft>
                        <a:buClrTx/>
                        <a:buSzTx/>
                        <a:buFontTx/>
                        <a:buNone/>
                        <a:tabLst/>
                        <a:defRPr/>
                      </a:pPr>
                      <a:endParaRPr lang="en-US" sz="900" b="0" i="0" u="none" strike="noStrike">
                        <a:solidFill>
                          <a:schemeClr val="tx2"/>
                        </a:solidFill>
                        <a:effectLst/>
                        <a:latin typeface="Arial"/>
                      </a:endParaRPr>
                    </a:p>
                  </a:txBody>
                  <a:tcPr marT="27432" marB="27432" anchor="b"/>
                </a:tc>
                <a:extLst>
                  <a:ext uri="{0D108BD9-81ED-4DB2-BD59-A6C34878D82A}">
                    <a16:rowId xmlns:a16="http://schemas.microsoft.com/office/drawing/2014/main" val="2678282000"/>
                  </a:ext>
                </a:extLst>
              </a:tr>
              <a:tr h="214378">
                <a:tc>
                  <a:txBody>
                    <a:bodyPr/>
                    <a:lstStyle/>
                    <a:p>
                      <a:pPr algn="l" fontAlgn="b"/>
                      <a:r>
                        <a:rPr lang="en-US" sz="900" b="0" u="none" strike="noStrike">
                          <a:solidFill>
                            <a:schemeClr val="tx2"/>
                          </a:solidFill>
                          <a:effectLst/>
                        </a:rPr>
                        <a:t>Holding &amp; Other, Intersegment</a:t>
                      </a:r>
                      <a:endParaRPr lang="en-US" sz="900" b="0" i="0" u="none" strike="noStrike">
                        <a:solidFill>
                          <a:schemeClr val="tx2"/>
                        </a:solidFill>
                        <a:effectLst/>
                        <a:latin typeface="Arial" panose="020B0604020202020204" pitchFamily="34" charset="0"/>
                      </a:endParaRPr>
                    </a:p>
                  </a:txBody>
                  <a:tcPr marL="182880" marT="27432" marB="27432" anchor="b">
                    <a:lnB w="12700" cap="flat" cmpd="sng" algn="ctr">
                      <a:solidFill>
                        <a:schemeClr val="tx1"/>
                      </a:solidFill>
                      <a:prstDash val="solid"/>
                      <a:round/>
                      <a:headEnd type="none" w="med" len="med"/>
                      <a:tailEnd type="none" w="med" len="med"/>
                    </a:lnB>
                  </a:tcPr>
                </a:tc>
                <a:tc>
                  <a:txBody>
                    <a:bodyPr/>
                    <a:lstStyle/>
                    <a:p>
                      <a:pPr algn="r" fontAlgn="b"/>
                      <a:r>
                        <a:rPr lang="en-US" sz="900" b="0" u="none" strike="noStrike">
                          <a:solidFill>
                            <a:schemeClr val="tx2"/>
                          </a:solidFill>
                          <a:effectLst/>
                        </a:rPr>
                        <a:t>(€25m)</a:t>
                      </a:r>
                      <a:endParaRPr lang="en-US" sz="900" b="0" i="0" u="none" strike="noStrike">
                        <a:solidFill>
                          <a:schemeClr val="tx2"/>
                        </a:solidFill>
                        <a:effectLst/>
                        <a:latin typeface="Arial" panose="020B0604020202020204" pitchFamily="34" charset="0"/>
                      </a:endParaRPr>
                    </a:p>
                  </a:txBody>
                  <a:tcPr marR="274320" marT="27432" marB="27432" anchor="b">
                    <a:lnB w="12700" cap="flat" cmpd="sng" algn="ctr">
                      <a:solidFill>
                        <a:schemeClr val="tx1"/>
                      </a:solidFill>
                      <a:prstDash val="solid"/>
                      <a:round/>
                      <a:headEnd type="none" w="med" len="med"/>
                      <a:tailEnd type="none" w="med" len="med"/>
                    </a:lnB>
                  </a:tcPr>
                </a:tc>
                <a:tc>
                  <a:txBody>
                    <a:bodyPr/>
                    <a:lstStyle/>
                    <a:p>
                      <a:pPr algn="l" fontAlgn="b"/>
                      <a:endParaRPr lang="en-US" sz="900" b="0" i="0" u="none" strike="noStrike">
                        <a:solidFill>
                          <a:schemeClr val="tx2"/>
                        </a:solidFill>
                        <a:effectLst/>
                        <a:latin typeface="Arial" panose="020B0604020202020204" pitchFamily="34" charset="0"/>
                      </a:endParaRPr>
                    </a:p>
                  </a:txBody>
                  <a:tcPr marT="27432" marB="27432"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59500853"/>
                  </a:ext>
                </a:extLst>
              </a:tr>
              <a:tr h="214378">
                <a:tc>
                  <a:txBody>
                    <a:bodyPr/>
                    <a:lstStyle/>
                    <a:p>
                      <a:pPr algn="l" fontAlgn="b"/>
                      <a:r>
                        <a:rPr lang="en-US" sz="900" b="1" u="none" strike="noStrike">
                          <a:solidFill>
                            <a:schemeClr val="bg1"/>
                          </a:solidFill>
                          <a:effectLst/>
                        </a:rPr>
                        <a:t>Group EBITDA</a:t>
                      </a:r>
                      <a:endParaRPr lang="en-US" sz="900" b="1" i="0" u="none" strike="noStrike">
                        <a:solidFill>
                          <a:schemeClr val="bg1"/>
                        </a:solidFill>
                        <a:effectLst/>
                        <a:latin typeface="Arial" panose="020B0604020202020204" pitchFamily="34" charset="0"/>
                      </a:endParaRPr>
                    </a:p>
                  </a:txBody>
                  <a:tcPr marL="182880" marT="27432" marB="27432"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r" fontAlgn="b"/>
                      <a:r>
                        <a:rPr lang="en-US" sz="900" b="1" i="0" u="none" strike="noStrike">
                          <a:solidFill>
                            <a:schemeClr val="bg1"/>
                          </a:solidFill>
                          <a:effectLst/>
                          <a:latin typeface="Arial"/>
                        </a:rPr>
                        <a:t> €850m</a:t>
                      </a:r>
                    </a:p>
                  </a:txBody>
                  <a:tcPr marR="274320" marT="27432" marB="27432"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fontAlgn="b"/>
                      <a:endParaRPr lang="en-US" sz="900" b="1" i="0" u="none" strike="noStrike">
                        <a:solidFill>
                          <a:schemeClr val="bg1"/>
                        </a:solidFill>
                        <a:effectLst/>
                        <a:latin typeface="Arial" panose="020B0604020202020204" pitchFamily="34" charset="0"/>
                      </a:endParaRPr>
                    </a:p>
                  </a:txBody>
                  <a:tcPr marT="27432" marB="27432"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411569232"/>
                  </a:ext>
                </a:extLst>
              </a:tr>
              <a:tr h="0">
                <a:tc>
                  <a:txBody>
                    <a:bodyPr/>
                    <a:lstStyle/>
                    <a:p>
                      <a:pPr algn="l" fontAlgn="b"/>
                      <a:endParaRPr lang="en-US" sz="900" b="0" i="0" u="none" strike="noStrike">
                        <a:solidFill>
                          <a:srgbClr val="000000"/>
                        </a:solidFill>
                        <a:effectLst/>
                        <a:latin typeface="Arial" panose="020B0604020202020204" pitchFamily="34" charset="0"/>
                      </a:endParaRPr>
                    </a:p>
                  </a:txBody>
                  <a:tcPr marT="27432" marB="27432" anchor="b">
                    <a:lnT w="12700" cap="flat" cmpd="sng" algn="ctr">
                      <a:solidFill>
                        <a:schemeClr val="tx1"/>
                      </a:solidFill>
                      <a:prstDash val="solid"/>
                      <a:round/>
                      <a:headEnd type="none" w="med" len="med"/>
                      <a:tailEnd type="none" w="med" len="med"/>
                    </a:lnT>
                  </a:tcPr>
                </a:tc>
                <a:tc>
                  <a:txBody>
                    <a:bodyPr/>
                    <a:lstStyle/>
                    <a:p>
                      <a:pPr algn="l" fontAlgn="b"/>
                      <a:endParaRPr lang="en-US" sz="900" b="0" i="0" u="none" strike="noStrike">
                        <a:solidFill>
                          <a:srgbClr val="000000"/>
                        </a:solidFill>
                        <a:effectLst/>
                        <a:latin typeface="Arial" panose="020B0604020202020204" pitchFamily="34" charset="0"/>
                      </a:endParaRPr>
                    </a:p>
                  </a:txBody>
                  <a:tcPr marR="274320" marT="27432" marB="27432" anchor="b">
                    <a:lnT w="12700" cap="flat" cmpd="sng" algn="ctr">
                      <a:solidFill>
                        <a:schemeClr val="tx1"/>
                      </a:solidFill>
                      <a:prstDash val="solid"/>
                      <a:round/>
                      <a:headEnd type="none" w="med" len="med"/>
                      <a:tailEnd type="none" w="med" len="med"/>
                    </a:lnT>
                  </a:tcPr>
                </a:tc>
                <a:tc>
                  <a:txBody>
                    <a:bodyPr/>
                    <a:lstStyle/>
                    <a:p>
                      <a:pPr algn="l" fontAlgn="b"/>
                      <a:endParaRPr lang="en-US" sz="900" b="0" i="0" u="none" strike="noStrike">
                        <a:solidFill>
                          <a:schemeClr val="tx2"/>
                        </a:solidFill>
                        <a:effectLst/>
                        <a:latin typeface="Arial" panose="020B0604020202020204" pitchFamily="34" charset="0"/>
                      </a:endParaRPr>
                    </a:p>
                  </a:txBody>
                  <a:tcPr marT="27432" marB="27432"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044764656"/>
                  </a:ext>
                </a:extLst>
              </a:tr>
              <a:tr h="214378">
                <a:tc>
                  <a:txBody>
                    <a:bodyPr/>
                    <a:lstStyle/>
                    <a:p>
                      <a:pPr algn="l" fontAlgn="b"/>
                      <a:r>
                        <a:rPr lang="en-US" sz="900" b="1" u="sng" strike="noStrike">
                          <a:solidFill>
                            <a:schemeClr val="tx2"/>
                          </a:solidFill>
                          <a:effectLst/>
                        </a:rPr>
                        <a:t>Cash Flows (€)</a:t>
                      </a:r>
                      <a:endParaRPr lang="en-US" sz="900" b="1" i="0" u="sng" strike="noStrike">
                        <a:solidFill>
                          <a:schemeClr val="tx2"/>
                        </a:solidFill>
                        <a:effectLst/>
                        <a:latin typeface="Arial" panose="020B0604020202020204" pitchFamily="34" charset="0"/>
                      </a:endParaRPr>
                    </a:p>
                  </a:txBody>
                  <a:tcPr marT="27432" marB="27432" anchor="b"/>
                </a:tc>
                <a:tc>
                  <a:txBody>
                    <a:bodyPr/>
                    <a:lstStyle/>
                    <a:p>
                      <a:pPr algn="l" fontAlgn="b"/>
                      <a:endParaRPr lang="en-US" sz="900" b="0" i="0" u="none" strike="noStrike">
                        <a:solidFill>
                          <a:schemeClr val="tx2"/>
                        </a:solidFill>
                        <a:effectLst/>
                        <a:latin typeface="Arial" panose="020B0604020202020204" pitchFamily="34" charset="0"/>
                      </a:endParaRPr>
                    </a:p>
                  </a:txBody>
                  <a:tcPr marR="274320" marT="27432" marB="27432" anchor="b"/>
                </a:tc>
                <a:tc>
                  <a:txBody>
                    <a:bodyPr/>
                    <a:lstStyle/>
                    <a:p>
                      <a:pPr algn="l" fontAlgn="b"/>
                      <a:endParaRPr lang="en-US" sz="900" b="0" i="0" u="none" strike="noStrike">
                        <a:solidFill>
                          <a:schemeClr val="tx2"/>
                        </a:solidFill>
                        <a:effectLst/>
                        <a:latin typeface="Arial" panose="020B0604020202020204" pitchFamily="34" charset="0"/>
                      </a:endParaRPr>
                    </a:p>
                  </a:txBody>
                  <a:tcPr marT="27432" marB="27432" anchor="b"/>
                </a:tc>
                <a:extLst>
                  <a:ext uri="{0D108BD9-81ED-4DB2-BD59-A6C34878D82A}">
                    <a16:rowId xmlns:a16="http://schemas.microsoft.com/office/drawing/2014/main" val="3098214298"/>
                  </a:ext>
                </a:extLst>
              </a:tr>
              <a:tr h="214378">
                <a:tc>
                  <a:txBody>
                    <a:bodyPr/>
                    <a:lstStyle/>
                    <a:p>
                      <a:pPr algn="l" fontAlgn="b"/>
                      <a:r>
                        <a:rPr lang="en-US" sz="900" b="0" i="0" u="none" strike="noStrike">
                          <a:solidFill>
                            <a:schemeClr val="tx2"/>
                          </a:solidFill>
                          <a:effectLst/>
                          <a:latin typeface="Arial"/>
                        </a:rPr>
                        <a:t>Capital expenditures</a:t>
                      </a:r>
                    </a:p>
                  </a:txBody>
                  <a:tcPr marL="182880" marT="27432" marB="27432" anchor="b"/>
                </a:tc>
                <a:tc>
                  <a:txBody>
                    <a:bodyPr/>
                    <a:lstStyle/>
                    <a:p>
                      <a:pPr marL="6985" marR="0" lvl="0" indent="-5080" algn="r" defTabSz="571134" rtl="0" eaLnBrk="1" fontAlgn="b" latinLnBrk="0" hangingPunct="1">
                        <a:lnSpc>
                          <a:spcPct val="100000"/>
                        </a:lnSpc>
                        <a:spcBef>
                          <a:spcPts val="166"/>
                        </a:spcBef>
                        <a:spcAft>
                          <a:spcPct val="0"/>
                        </a:spcAft>
                        <a:buClrTx/>
                        <a:buSzTx/>
                        <a:buFontTx/>
                        <a:buNone/>
                        <a:tabLst/>
                        <a:defRPr/>
                      </a:pPr>
                      <a:r>
                        <a:rPr lang="en-US" sz="900" b="0" i="0" u="none" strike="noStrike">
                          <a:solidFill>
                            <a:schemeClr val="tx2"/>
                          </a:solidFill>
                          <a:effectLst/>
                          <a:latin typeface="Arial"/>
                        </a:rPr>
                        <a:t>€175m</a:t>
                      </a:r>
                    </a:p>
                  </a:txBody>
                  <a:tcPr marR="274320" marT="27432" marB="27432" anchor="b"/>
                </a:tc>
                <a:tc>
                  <a:txBody>
                    <a:bodyPr/>
                    <a:lstStyle/>
                    <a:p>
                      <a:pPr algn="l" fontAlgn="b"/>
                      <a:r>
                        <a:rPr lang="en-US" sz="900" b="0" i="0" u="none" strike="noStrike">
                          <a:solidFill>
                            <a:schemeClr val="tx2"/>
                          </a:solidFill>
                          <a:effectLst/>
                          <a:latin typeface="Arial"/>
                        </a:rPr>
                        <a:t>Including mine extensions, can reduce to ~€125m in downturn</a:t>
                      </a:r>
                    </a:p>
                  </a:txBody>
                  <a:tcPr marT="27432" marB="27432" anchor="b"/>
                </a:tc>
                <a:extLst>
                  <a:ext uri="{0D108BD9-81ED-4DB2-BD59-A6C34878D82A}">
                    <a16:rowId xmlns:a16="http://schemas.microsoft.com/office/drawing/2014/main" val="1395767279"/>
                  </a:ext>
                </a:extLst>
              </a:tr>
              <a:tr h="214378">
                <a:tc>
                  <a:txBody>
                    <a:bodyPr/>
                    <a:lstStyle/>
                    <a:p>
                      <a:pPr algn="l" fontAlgn="b"/>
                      <a:r>
                        <a:rPr lang="en-US" sz="900" b="0" i="0" u="none" strike="noStrike">
                          <a:solidFill>
                            <a:schemeClr val="tx2"/>
                          </a:solidFill>
                          <a:effectLst/>
                          <a:latin typeface="Arial"/>
                        </a:rPr>
                        <a:t>Financial cash out</a:t>
                      </a:r>
                    </a:p>
                  </a:txBody>
                  <a:tcPr marL="182880" marT="27432" marB="27432" anchor="b"/>
                </a:tc>
                <a:tc>
                  <a:txBody>
                    <a:bodyPr/>
                    <a:lstStyle/>
                    <a:p>
                      <a:pPr marL="6985" marR="0" lvl="0" indent="-5080" algn="r" defTabSz="571134" rtl="0" eaLnBrk="1" fontAlgn="b" latinLnBrk="0" hangingPunct="1">
                        <a:lnSpc>
                          <a:spcPct val="100000"/>
                        </a:lnSpc>
                        <a:spcBef>
                          <a:spcPts val="166"/>
                        </a:spcBef>
                        <a:spcAft>
                          <a:spcPct val="0"/>
                        </a:spcAft>
                        <a:buClrTx/>
                        <a:buSzTx/>
                        <a:buFontTx/>
                        <a:buNone/>
                        <a:tabLst/>
                        <a:defRPr/>
                      </a:pPr>
                      <a:r>
                        <a:rPr lang="en-US" sz="900" b="0" i="0" u="none" strike="noStrike">
                          <a:solidFill>
                            <a:schemeClr val="tx2"/>
                          </a:solidFill>
                          <a:effectLst/>
                          <a:latin typeface="Arial"/>
                        </a:rPr>
                        <a:t>€50m</a:t>
                      </a:r>
                    </a:p>
                  </a:txBody>
                  <a:tcPr marR="274320" marT="27432" marB="27432" anchor="b"/>
                </a:tc>
                <a:tc>
                  <a:txBody>
                    <a:bodyPr/>
                    <a:lstStyle/>
                    <a:p>
                      <a:pPr marL="6985" marR="0" lvl="0" indent="-5080" algn="l" rtl="0" eaLnBrk="1" fontAlgn="b" latinLnBrk="0" hangingPunct="1">
                        <a:lnSpc>
                          <a:spcPct val="100000"/>
                        </a:lnSpc>
                        <a:spcBef>
                          <a:spcPts val="166"/>
                        </a:spcBef>
                        <a:spcAft>
                          <a:spcPct val="0"/>
                        </a:spcAft>
                        <a:buClrTx/>
                        <a:buSzTx/>
                        <a:buFontTx/>
                        <a:buNone/>
                      </a:pPr>
                      <a:r>
                        <a:rPr lang="en-US" sz="900" b="0" i="0" u="none" strike="noStrike">
                          <a:solidFill>
                            <a:schemeClr val="tx2"/>
                          </a:solidFill>
                          <a:effectLst/>
                          <a:latin typeface="Arial"/>
                        </a:rPr>
                        <a:t>Assuming </a:t>
                      </a:r>
                      <a:r>
                        <a:rPr lang="en-US" sz="900" b="0" i="0" u="none" strike="noStrike">
                          <a:solidFill>
                            <a:schemeClr val="tx2"/>
                          </a:solidFill>
                          <a:effectLst/>
                          <a:latin typeface="+mn-lt"/>
                        </a:rPr>
                        <a:t>zero net debt, with costs for minimal gross debt and other items</a:t>
                      </a:r>
                      <a:endParaRPr lang="en-US" sz="900" b="0" i="0" u="none" strike="noStrike">
                        <a:solidFill>
                          <a:schemeClr val="tx2"/>
                        </a:solidFill>
                        <a:effectLst/>
                        <a:latin typeface="Arial" panose="020B0604020202020204" pitchFamily="34" charset="0"/>
                      </a:endParaRPr>
                    </a:p>
                  </a:txBody>
                  <a:tcPr marT="27432" marB="27432" anchor="b"/>
                </a:tc>
                <a:extLst>
                  <a:ext uri="{0D108BD9-81ED-4DB2-BD59-A6C34878D82A}">
                    <a16:rowId xmlns:a16="http://schemas.microsoft.com/office/drawing/2014/main" val="3020996061"/>
                  </a:ext>
                </a:extLst>
              </a:tr>
              <a:tr h="214378">
                <a:tc>
                  <a:txBody>
                    <a:bodyPr/>
                    <a:lstStyle/>
                    <a:p>
                      <a:pPr algn="l" fontAlgn="b"/>
                      <a:r>
                        <a:rPr lang="en-US" sz="900" b="0" i="0" u="none" strike="noStrike">
                          <a:solidFill>
                            <a:schemeClr val="tx2"/>
                          </a:solidFill>
                          <a:effectLst/>
                          <a:latin typeface="Arial"/>
                        </a:rPr>
                        <a:t>Cash tax</a:t>
                      </a:r>
                    </a:p>
                  </a:txBody>
                  <a:tcPr marL="182880" marT="27432" marB="27432" anchor="b">
                    <a:lnB w="12700" cap="flat" cmpd="sng" algn="ctr">
                      <a:solidFill>
                        <a:schemeClr val="tx1"/>
                      </a:solidFill>
                      <a:prstDash val="solid"/>
                      <a:round/>
                      <a:headEnd type="none" w="med" len="med"/>
                      <a:tailEnd type="none" w="med" len="med"/>
                    </a:lnB>
                  </a:tcPr>
                </a:tc>
                <a:tc>
                  <a:txBody>
                    <a:bodyPr/>
                    <a:lstStyle/>
                    <a:p>
                      <a:pPr marL="6985" marR="0" lvl="0" indent="-5080" algn="r" defTabSz="571134" rtl="0" eaLnBrk="1" fontAlgn="b" latinLnBrk="0" hangingPunct="1">
                        <a:lnSpc>
                          <a:spcPct val="100000"/>
                        </a:lnSpc>
                        <a:spcBef>
                          <a:spcPts val="166"/>
                        </a:spcBef>
                        <a:spcAft>
                          <a:spcPct val="0"/>
                        </a:spcAft>
                        <a:buClrTx/>
                        <a:buSzTx/>
                        <a:buFontTx/>
                        <a:buNone/>
                        <a:tabLst/>
                        <a:defRPr/>
                      </a:pPr>
                      <a:r>
                        <a:rPr lang="en-US" sz="900" b="0" i="0" u="none" strike="noStrike">
                          <a:solidFill>
                            <a:schemeClr val="tx2"/>
                          </a:solidFill>
                          <a:effectLst/>
                          <a:latin typeface="Arial"/>
                        </a:rPr>
                        <a:t>€175m</a:t>
                      </a:r>
                    </a:p>
                  </a:txBody>
                  <a:tcPr marR="274320" marT="27432" marB="27432" anchor="b">
                    <a:lnB w="12700" cap="flat" cmpd="sng" algn="ctr">
                      <a:solidFill>
                        <a:schemeClr val="tx1"/>
                      </a:solidFill>
                      <a:prstDash val="solid"/>
                      <a:round/>
                      <a:headEnd type="none" w="med" len="med"/>
                      <a:tailEnd type="none" w="med" len="med"/>
                    </a:lnB>
                  </a:tcPr>
                </a:tc>
                <a:tc>
                  <a:txBody>
                    <a:bodyPr/>
                    <a:lstStyle/>
                    <a:p>
                      <a:pPr marL="6985" marR="0" lvl="0" indent="-5080" algn="l" rtl="0" eaLnBrk="1" fontAlgn="b" latinLnBrk="0" hangingPunct="1">
                        <a:lnSpc>
                          <a:spcPct val="100000"/>
                        </a:lnSpc>
                        <a:spcBef>
                          <a:spcPts val="166"/>
                        </a:spcBef>
                        <a:spcAft>
                          <a:spcPct val="0"/>
                        </a:spcAft>
                        <a:buClrTx/>
                        <a:buSzTx/>
                        <a:buFontTx/>
                        <a:buNone/>
                      </a:pPr>
                      <a:r>
                        <a:rPr lang="en-US" sz="900" b="0" i="0" u="none" strike="noStrike">
                          <a:solidFill>
                            <a:schemeClr val="tx2"/>
                          </a:solidFill>
                          <a:effectLst/>
                          <a:latin typeface="Arial"/>
                        </a:rPr>
                        <a:t>High 20% range depending on blend of regional profits</a:t>
                      </a:r>
                      <a:endParaRPr lang="en-US" sz="900" b="0" i="0" u="none" strike="noStrike">
                        <a:solidFill>
                          <a:schemeClr val="tx2"/>
                        </a:solidFill>
                        <a:effectLst/>
                        <a:latin typeface="Arial" panose="020B0604020202020204" pitchFamily="34" charset="0"/>
                      </a:endParaRPr>
                    </a:p>
                  </a:txBody>
                  <a:tcPr marT="27432" marB="27432"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8658939"/>
                  </a:ext>
                </a:extLst>
              </a:tr>
              <a:tr h="214378">
                <a:tc>
                  <a:txBody>
                    <a:bodyPr/>
                    <a:lstStyle/>
                    <a:p>
                      <a:pPr algn="l" fontAlgn="b"/>
                      <a:r>
                        <a:rPr lang="en-US" sz="900" b="1" u="none" strike="noStrike">
                          <a:solidFill>
                            <a:schemeClr val="bg1"/>
                          </a:solidFill>
                          <a:effectLst/>
                        </a:rPr>
                        <a:t>Group total cash generation</a:t>
                      </a:r>
                      <a:endParaRPr lang="en-US" sz="900" b="1" i="0" u="none" strike="noStrike">
                        <a:solidFill>
                          <a:schemeClr val="bg1"/>
                        </a:solidFill>
                        <a:effectLst/>
                        <a:latin typeface="Arial" panose="020B0604020202020204" pitchFamily="34" charset="0"/>
                      </a:endParaRPr>
                    </a:p>
                  </a:txBody>
                  <a:tcPr marL="182880" marT="27432" marB="27432"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r" fontAlgn="b"/>
                      <a:r>
                        <a:rPr lang="en-US" sz="900" b="1" i="0" u="none" strike="noStrike">
                          <a:solidFill>
                            <a:schemeClr val="bg1"/>
                          </a:solidFill>
                          <a:effectLst/>
                          <a:latin typeface="Arial"/>
                        </a:rPr>
                        <a:t>€450m</a:t>
                      </a:r>
                    </a:p>
                  </a:txBody>
                  <a:tcPr marR="274320" marT="27432" marB="27432"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fontAlgn="b"/>
                      <a:endParaRPr lang="en-US" sz="900" b="1" i="0" u="none" strike="noStrike">
                        <a:solidFill>
                          <a:schemeClr val="bg1"/>
                        </a:solidFill>
                        <a:effectLst/>
                        <a:latin typeface="Arial" panose="020B0604020202020204" pitchFamily="34" charset="0"/>
                      </a:endParaRPr>
                    </a:p>
                  </a:txBody>
                  <a:tcPr marT="27432" marB="27432"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97739593"/>
                  </a:ext>
                </a:extLst>
              </a:tr>
              <a:tr h="274320">
                <a:tc>
                  <a:txBody>
                    <a:bodyPr/>
                    <a:lstStyle/>
                    <a:p>
                      <a:pPr algn="l" fontAlgn="b"/>
                      <a:r>
                        <a:rPr lang="en-US" sz="900" b="1" i="1" u="none" strike="noStrike">
                          <a:solidFill>
                            <a:schemeClr val="tx2"/>
                          </a:solidFill>
                          <a:effectLst/>
                          <a:latin typeface="Arial"/>
                        </a:rPr>
                        <a:t>Aspired total cash generation payout ratio</a:t>
                      </a:r>
                      <a:r>
                        <a:rPr lang="en-US" sz="900" b="1" i="1" u="none" strike="noStrike" baseline="30000" noProof="0">
                          <a:solidFill>
                            <a:schemeClr val="tx1"/>
                          </a:solidFill>
                          <a:effectLst/>
                          <a:latin typeface="Arial"/>
                        </a:rPr>
                        <a:t>1</a:t>
                      </a:r>
                    </a:p>
                  </a:txBody>
                  <a:tcPr marL="182880" marT="27432" marB="27432"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1" i="1" u="none" strike="noStrike">
                          <a:solidFill>
                            <a:schemeClr val="tx2"/>
                          </a:solidFill>
                          <a:effectLst/>
                          <a:latin typeface="Arial"/>
                        </a:rPr>
                        <a:t>80% – 100%</a:t>
                      </a:r>
                    </a:p>
                  </a:txBody>
                  <a:tcPr marT="27432" marB="27432"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r>
                        <a:rPr lang="en-US" sz="900" b="1" i="1" u="none" strike="noStrike">
                          <a:solidFill>
                            <a:schemeClr val="tx2"/>
                          </a:solidFill>
                          <a:effectLst/>
                          <a:latin typeface="Arial"/>
                        </a:rPr>
                        <a:t>In line with highest ratios in the market</a:t>
                      </a:r>
                    </a:p>
                  </a:txBody>
                  <a:tcPr marT="27432" marB="27432"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820174776"/>
                  </a:ext>
                </a:extLst>
              </a:tr>
            </a:tbl>
          </a:graphicData>
        </a:graphic>
      </p:graphicFrame>
      <p:sp>
        <p:nvSpPr>
          <p:cNvPr id="6" name="TextBox 37">
            <a:extLst>
              <a:ext uri="{FF2B5EF4-FFF2-40B4-BE49-F238E27FC236}">
                <a16:creationId xmlns:a16="http://schemas.microsoft.com/office/drawing/2014/main" id="{0D8316E5-D6CB-45C1-2261-E1FD01CFA220}"/>
              </a:ext>
            </a:extLst>
          </p:cNvPr>
          <p:cNvSpPr txBox="1"/>
          <p:nvPr/>
        </p:nvSpPr>
        <p:spPr>
          <a:xfrm>
            <a:off x="457198" y="4152105"/>
            <a:ext cx="7955281" cy="501291"/>
          </a:xfrm>
          <a:prstGeom prst="rect">
            <a:avLst/>
          </a:prstGeom>
          <a:noFill/>
        </p:spPr>
        <p:txBody>
          <a:bodyPr vert="horz" wrap="square" lIns="0" tIns="0" rIns="0" bIns="0" rtlCol="0" anchor="t">
            <a:spAutoFit/>
          </a:bodyPr>
          <a:lstStyle>
            <a:defPPr>
              <a:defRPr lang="fr-FR"/>
            </a:defPPr>
            <a:lvl1pPr>
              <a:lnSpc>
                <a:spcPct val="110000"/>
              </a:lnSpc>
              <a:defRPr sz="600" b="0" i="1">
                <a:solidFill>
                  <a:schemeClr val="tx2"/>
                </a:solidFill>
              </a:defRPr>
            </a:lvl1pPr>
          </a:lstStyle>
          <a:p>
            <a:pPr algn="just"/>
            <a:r>
              <a:rPr lang="en-US" sz="500" baseline="30000"/>
              <a:t>1 </a:t>
            </a:r>
            <a:r>
              <a:rPr lang="en-US" sz="500"/>
              <a:t>Vallourec’s dividend policy would in any event be conditional upon the Board’s decision taking into account Vallourec’s results, its financial position including the deleveraging target and the potential restrictions applicable to the payment of dividends. Dividends and share repurchases would also be subject to shareholders approval. The midcycle simulation and related assumptions shown in this presentation do NOT represent guidance, forecast, target or outlook of Vallourec for any particular financial year, but aim to represent an abstract average across cycles and across different circumstances to illustrate, in a volatile and unpredictable environment, the theoretical functioning of the New Vallourec.</a:t>
            </a:r>
          </a:p>
          <a:p>
            <a:pPr algn="just"/>
            <a:r>
              <a:rPr lang="en-US" sz="500"/>
              <a:t>Analysis excludes changes in working capital, asset disposals and restructuring cash out. The midcycle simulation shown in this presentation does NOT represent guidance, forecast, target or outlook of Vallourec for any particular financial year, but aims to represent an abstract average across cycles and across different circumstances to illustrate, in a volatile and unpredictable environment, the theoretical functioning of the New Vallourec.</a:t>
            </a:r>
            <a:endParaRPr lang="en-US" sz="500">
              <a:cs typeface="Arial"/>
            </a:endParaRPr>
          </a:p>
          <a:p>
            <a:pPr algn="just"/>
            <a:endParaRPr lang="fr-FR" sz="500"/>
          </a:p>
        </p:txBody>
      </p:sp>
    </p:spTree>
    <p:extLst>
      <p:ext uri="{BB962C8B-B14F-4D97-AF65-F5344CB8AC3E}">
        <p14:creationId xmlns:p14="http://schemas.microsoft.com/office/powerpoint/2010/main" val="11474270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54E1F-02BC-B49D-8F01-1213679C9F63}"/>
              </a:ext>
            </a:extLst>
          </p:cNvPr>
          <p:cNvSpPr>
            <a:spLocks noGrp="1"/>
          </p:cNvSpPr>
          <p:nvPr>
            <p:ph type="title"/>
          </p:nvPr>
        </p:nvSpPr>
        <p:spPr/>
        <p:txBody>
          <a:bodyPr/>
          <a:lstStyle/>
          <a:p>
            <a:r>
              <a:rPr lang="en-US" sz="2000">
                <a:latin typeface="Arial"/>
                <a:cs typeface="Arial"/>
              </a:rPr>
              <a:t>2024 Earnings, Cash Flow and Net Debt Outlook</a:t>
            </a:r>
          </a:p>
        </p:txBody>
      </p:sp>
      <p:sp>
        <p:nvSpPr>
          <p:cNvPr id="4" name="Text Placeholder 3">
            <a:extLst>
              <a:ext uri="{FF2B5EF4-FFF2-40B4-BE49-F238E27FC236}">
                <a16:creationId xmlns:a16="http://schemas.microsoft.com/office/drawing/2014/main" id="{2752C893-0C9D-4F7B-280A-F60EB8AC5055}"/>
              </a:ext>
            </a:extLst>
          </p:cNvPr>
          <p:cNvSpPr>
            <a:spLocks noGrp="1"/>
          </p:cNvSpPr>
          <p:nvPr>
            <p:ph type="body" sz="quarter" idx="11"/>
          </p:nvPr>
        </p:nvSpPr>
        <p:spPr/>
        <p:txBody>
          <a:bodyPr/>
          <a:lstStyle/>
          <a:p>
            <a:r>
              <a:rPr lang="en-US" baseline="30000"/>
              <a:t>1</a:t>
            </a:r>
            <a:r>
              <a:rPr lang="en-US"/>
              <a:t> In all cases, total cash generation and net debt guidance excludes the potential positive impact of major asset sales.</a:t>
            </a:r>
          </a:p>
        </p:txBody>
      </p:sp>
      <p:sp>
        <p:nvSpPr>
          <p:cNvPr id="8" name="Rounded Rectangle 4">
            <a:extLst>
              <a:ext uri="{FF2B5EF4-FFF2-40B4-BE49-F238E27FC236}">
                <a16:creationId xmlns:a16="http://schemas.microsoft.com/office/drawing/2014/main" id="{17D0FD32-8316-5CFA-7741-5F9B8BCC4F6A}"/>
              </a:ext>
            </a:extLst>
          </p:cNvPr>
          <p:cNvSpPr/>
          <p:nvPr/>
        </p:nvSpPr>
        <p:spPr>
          <a:xfrm>
            <a:off x="2546416" y="969961"/>
            <a:ext cx="2926080" cy="3467619"/>
          </a:xfrm>
          <a:prstGeom prst="roundRect">
            <a:avLst>
              <a:gd name="adj" fmla="val 5038"/>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60000" rIns="0" bIns="0" numCol="1" spcCol="0" rtlCol="0" fromWordArt="0" anchor="t" anchorCtr="0" forceAA="0" compatLnSpc="0">
            <a:prstTxWarp prst="textNoShape">
              <a:avLst/>
            </a:prstTxWarp>
            <a:noAutofit/>
          </a:bodyPr>
          <a:lstStyle/>
          <a:p>
            <a:pPr algn="ctr">
              <a:lnSpc>
                <a:spcPct val="110000"/>
              </a:lnSpc>
            </a:pPr>
            <a:r>
              <a:rPr lang="en-GB" sz="1600" b="1">
                <a:solidFill>
                  <a:schemeClr val="bg1"/>
                </a:solidFill>
              </a:rPr>
              <a:t>Second Quarter 2024</a:t>
            </a:r>
          </a:p>
        </p:txBody>
      </p:sp>
      <p:sp>
        <p:nvSpPr>
          <p:cNvPr id="9" name="Rounded Rectangle 4">
            <a:extLst>
              <a:ext uri="{FF2B5EF4-FFF2-40B4-BE49-F238E27FC236}">
                <a16:creationId xmlns:a16="http://schemas.microsoft.com/office/drawing/2014/main" id="{534CB3F1-9EC0-5992-AF3F-A2ABE7DAC7F8}"/>
              </a:ext>
            </a:extLst>
          </p:cNvPr>
          <p:cNvSpPr/>
          <p:nvPr/>
        </p:nvSpPr>
        <p:spPr>
          <a:xfrm>
            <a:off x="5794236" y="969961"/>
            <a:ext cx="2926080" cy="3467619"/>
          </a:xfrm>
          <a:prstGeom prst="roundRect">
            <a:avLst>
              <a:gd name="adj" fmla="val 5038"/>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60000" rIns="0" bIns="0" numCol="1" spcCol="0" rtlCol="0" fromWordArt="0" anchor="t" anchorCtr="0" forceAA="0" compatLnSpc="0">
            <a:prstTxWarp prst="textNoShape">
              <a:avLst/>
            </a:prstTxWarp>
            <a:noAutofit/>
          </a:bodyPr>
          <a:lstStyle/>
          <a:p>
            <a:pPr algn="ctr">
              <a:lnSpc>
                <a:spcPct val="110000"/>
              </a:lnSpc>
            </a:pPr>
            <a:r>
              <a:rPr lang="en-GB" sz="1600" b="1">
                <a:solidFill>
                  <a:schemeClr val="bg1"/>
                </a:solidFill>
              </a:rPr>
              <a:t>Full Year 2024</a:t>
            </a:r>
          </a:p>
        </p:txBody>
      </p:sp>
      <p:sp>
        <p:nvSpPr>
          <p:cNvPr id="26" name="Rectangle 25">
            <a:extLst>
              <a:ext uri="{FF2B5EF4-FFF2-40B4-BE49-F238E27FC236}">
                <a16:creationId xmlns:a16="http://schemas.microsoft.com/office/drawing/2014/main" id="{68AF3670-03E8-80ED-0A22-6C9CA4CA9C93}"/>
              </a:ext>
            </a:extLst>
          </p:cNvPr>
          <p:cNvSpPr/>
          <p:nvPr/>
        </p:nvSpPr>
        <p:spPr>
          <a:xfrm>
            <a:off x="423684" y="1574677"/>
            <a:ext cx="8293608" cy="640036"/>
          </a:xfrm>
          <a:prstGeom prst="rect">
            <a:avLst/>
          </a:prstGeom>
          <a:solidFill>
            <a:srgbClr val="F2F2F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27" name="Rectangle 26">
            <a:extLst>
              <a:ext uri="{FF2B5EF4-FFF2-40B4-BE49-F238E27FC236}">
                <a16:creationId xmlns:a16="http://schemas.microsoft.com/office/drawing/2014/main" id="{E1D12D59-8085-2DB9-A482-595A4AE8865C}"/>
              </a:ext>
            </a:extLst>
          </p:cNvPr>
          <p:cNvSpPr/>
          <p:nvPr/>
        </p:nvSpPr>
        <p:spPr>
          <a:xfrm>
            <a:off x="578755" y="1574721"/>
            <a:ext cx="1920240" cy="6400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Tubes</a:t>
            </a:r>
          </a:p>
        </p:txBody>
      </p:sp>
      <p:sp>
        <p:nvSpPr>
          <p:cNvPr id="28" name="TextBox 27">
            <a:extLst>
              <a:ext uri="{FF2B5EF4-FFF2-40B4-BE49-F238E27FC236}">
                <a16:creationId xmlns:a16="http://schemas.microsoft.com/office/drawing/2014/main" id="{028CE373-0622-FD12-3126-495F5D966886}"/>
              </a:ext>
            </a:extLst>
          </p:cNvPr>
          <p:cNvSpPr txBox="1"/>
          <p:nvPr/>
        </p:nvSpPr>
        <p:spPr>
          <a:xfrm>
            <a:off x="2546416" y="1574721"/>
            <a:ext cx="2926080" cy="640036"/>
          </a:xfrm>
          <a:prstGeom prst="rect">
            <a:avLst/>
          </a:prstGeom>
          <a:noFill/>
        </p:spPr>
        <p:txBody>
          <a:bodyPr wrap="square" rtlCol="0" anchor="ctr" anchorCtr="0">
            <a:noAutofit/>
          </a:bodyPr>
          <a:lstStyle/>
          <a:p>
            <a:pPr algn="ctr"/>
            <a:r>
              <a:rPr lang="en-GB" sz="1000">
                <a:solidFill>
                  <a:schemeClr val="tx2"/>
                </a:solidFill>
              </a:rPr>
              <a:t>Volumes to increase sequentially due to higher international shipments; EBITDA per tonne to decline primarily due to lower US pricing</a:t>
            </a:r>
          </a:p>
        </p:txBody>
      </p:sp>
      <p:sp>
        <p:nvSpPr>
          <p:cNvPr id="29" name="TextBox 28">
            <a:extLst>
              <a:ext uri="{FF2B5EF4-FFF2-40B4-BE49-F238E27FC236}">
                <a16:creationId xmlns:a16="http://schemas.microsoft.com/office/drawing/2014/main" id="{BD94AEC4-4B47-5055-7342-2EE93905C3BA}"/>
              </a:ext>
            </a:extLst>
          </p:cNvPr>
          <p:cNvSpPr txBox="1"/>
          <p:nvPr/>
        </p:nvSpPr>
        <p:spPr>
          <a:xfrm>
            <a:off x="5794236" y="1574721"/>
            <a:ext cx="2926080" cy="640036"/>
          </a:xfrm>
          <a:prstGeom prst="rect">
            <a:avLst/>
          </a:prstGeom>
          <a:noFill/>
        </p:spPr>
        <p:txBody>
          <a:bodyPr wrap="square" rtlCol="0" anchor="ctr" anchorCtr="0">
            <a:noAutofit/>
          </a:bodyPr>
          <a:lstStyle/>
          <a:p>
            <a:pPr algn="ctr"/>
            <a:r>
              <a:rPr lang="en-GB" sz="1000">
                <a:solidFill>
                  <a:schemeClr val="tx2"/>
                </a:solidFill>
              </a:rPr>
              <a:t>Strong international market environment to persist with results benefiting from strong </a:t>
            </a:r>
          </a:p>
          <a:p>
            <a:pPr algn="ctr"/>
            <a:r>
              <a:rPr lang="en-GB" sz="1000">
                <a:solidFill>
                  <a:schemeClr val="tx2"/>
                </a:solidFill>
              </a:rPr>
              <a:t>pricing already in backlog</a:t>
            </a:r>
          </a:p>
        </p:txBody>
      </p:sp>
      <p:sp>
        <p:nvSpPr>
          <p:cNvPr id="22" name="Rectangle 21">
            <a:extLst>
              <a:ext uri="{FF2B5EF4-FFF2-40B4-BE49-F238E27FC236}">
                <a16:creationId xmlns:a16="http://schemas.microsoft.com/office/drawing/2014/main" id="{D7179278-852D-2550-F769-E1DDAE023BF0}"/>
              </a:ext>
            </a:extLst>
          </p:cNvPr>
          <p:cNvSpPr/>
          <p:nvPr/>
        </p:nvSpPr>
        <p:spPr>
          <a:xfrm>
            <a:off x="423684" y="2261842"/>
            <a:ext cx="8293608" cy="640037"/>
          </a:xfrm>
          <a:prstGeom prst="rect">
            <a:avLst/>
          </a:prstGeom>
          <a:solidFill>
            <a:srgbClr val="F2F2F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23" name="Rectangle 22">
            <a:extLst>
              <a:ext uri="{FF2B5EF4-FFF2-40B4-BE49-F238E27FC236}">
                <a16:creationId xmlns:a16="http://schemas.microsoft.com/office/drawing/2014/main" id="{89302EB4-C263-9B76-B87D-7CB3A31547DB}"/>
              </a:ext>
            </a:extLst>
          </p:cNvPr>
          <p:cNvSpPr/>
          <p:nvPr/>
        </p:nvSpPr>
        <p:spPr>
          <a:xfrm>
            <a:off x="567436" y="2261885"/>
            <a:ext cx="1920240" cy="6400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Mine &amp; Forest</a:t>
            </a:r>
          </a:p>
        </p:txBody>
      </p:sp>
      <p:sp>
        <p:nvSpPr>
          <p:cNvPr id="24" name="TextBox 23">
            <a:extLst>
              <a:ext uri="{FF2B5EF4-FFF2-40B4-BE49-F238E27FC236}">
                <a16:creationId xmlns:a16="http://schemas.microsoft.com/office/drawing/2014/main" id="{525EB8A4-73B5-3F1C-A992-98A9FC326067}"/>
              </a:ext>
            </a:extLst>
          </p:cNvPr>
          <p:cNvSpPr txBox="1"/>
          <p:nvPr/>
        </p:nvSpPr>
        <p:spPr>
          <a:xfrm>
            <a:off x="2546416" y="2261885"/>
            <a:ext cx="2926080" cy="640037"/>
          </a:xfrm>
          <a:prstGeom prst="rect">
            <a:avLst/>
          </a:prstGeom>
          <a:noFill/>
        </p:spPr>
        <p:txBody>
          <a:bodyPr wrap="square" rtlCol="0" anchor="ctr" anchorCtr="0">
            <a:noAutofit/>
          </a:bodyPr>
          <a:lstStyle/>
          <a:p>
            <a:pPr algn="ctr"/>
            <a:r>
              <a:rPr lang="en-GB" sz="1000">
                <a:solidFill>
                  <a:schemeClr val="tx2"/>
                </a:solidFill>
              </a:rPr>
              <a:t>Production sold to be slightly higher vs. Q1</a:t>
            </a:r>
          </a:p>
        </p:txBody>
      </p:sp>
      <p:sp>
        <p:nvSpPr>
          <p:cNvPr id="25" name="TextBox 24">
            <a:extLst>
              <a:ext uri="{FF2B5EF4-FFF2-40B4-BE49-F238E27FC236}">
                <a16:creationId xmlns:a16="http://schemas.microsoft.com/office/drawing/2014/main" id="{9FBB1672-48D1-8A98-628A-4B5F9C1E8A4B}"/>
              </a:ext>
            </a:extLst>
          </p:cNvPr>
          <p:cNvSpPr txBox="1"/>
          <p:nvPr/>
        </p:nvSpPr>
        <p:spPr>
          <a:xfrm>
            <a:off x="5794236" y="2261885"/>
            <a:ext cx="2926080" cy="640037"/>
          </a:xfrm>
          <a:prstGeom prst="rect">
            <a:avLst/>
          </a:prstGeom>
          <a:noFill/>
        </p:spPr>
        <p:txBody>
          <a:bodyPr wrap="square" rtlCol="0" anchor="ctr" anchorCtr="0">
            <a:noAutofit/>
          </a:bodyPr>
          <a:lstStyle/>
          <a:p>
            <a:pPr algn="ctr"/>
            <a:r>
              <a:rPr lang="en-GB" sz="1000">
                <a:solidFill>
                  <a:schemeClr val="tx2"/>
                </a:solidFill>
              </a:rPr>
              <a:t>Production sold to be approximately 6m tonnes</a:t>
            </a:r>
          </a:p>
        </p:txBody>
      </p:sp>
      <p:sp>
        <p:nvSpPr>
          <p:cNvPr id="18" name="Rectangle 17">
            <a:extLst>
              <a:ext uri="{FF2B5EF4-FFF2-40B4-BE49-F238E27FC236}">
                <a16:creationId xmlns:a16="http://schemas.microsoft.com/office/drawing/2014/main" id="{09802DC3-ABEF-A2FE-2F01-1548E4185FF1}"/>
              </a:ext>
            </a:extLst>
          </p:cNvPr>
          <p:cNvSpPr/>
          <p:nvPr/>
        </p:nvSpPr>
        <p:spPr>
          <a:xfrm>
            <a:off x="423684" y="3636173"/>
            <a:ext cx="8293608" cy="640037"/>
          </a:xfrm>
          <a:prstGeom prst="rect">
            <a:avLst/>
          </a:prstGeom>
          <a:solidFill>
            <a:srgbClr val="F2F2F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9" name="Rectangle 18">
            <a:extLst>
              <a:ext uri="{FF2B5EF4-FFF2-40B4-BE49-F238E27FC236}">
                <a16:creationId xmlns:a16="http://schemas.microsoft.com/office/drawing/2014/main" id="{155B7F7C-F6A8-C37F-A81B-D09B7CBCF4C9}"/>
              </a:ext>
            </a:extLst>
          </p:cNvPr>
          <p:cNvSpPr/>
          <p:nvPr/>
        </p:nvSpPr>
        <p:spPr>
          <a:xfrm>
            <a:off x="578936" y="3636216"/>
            <a:ext cx="1920240" cy="6400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Total Cash Generation &amp; Net Debt</a:t>
            </a:r>
            <a:endParaRPr lang="en-US" sz="1200" b="1" baseline="30000"/>
          </a:p>
        </p:txBody>
      </p:sp>
      <p:sp>
        <p:nvSpPr>
          <p:cNvPr id="20" name="TextBox 19">
            <a:extLst>
              <a:ext uri="{FF2B5EF4-FFF2-40B4-BE49-F238E27FC236}">
                <a16:creationId xmlns:a16="http://schemas.microsoft.com/office/drawing/2014/main" id="{2A0A60D5-2E6D-0BAB-6A1A-36EE4C907532}"/>
              </a:ext>
            </a:extLst>
          </p:cNvPr>
          <p:cNvSpPr txBox="1"/>
          <p:nvPr/>
        </p:nvSpPr>
        <p:spPr>
          <a:xfrm>
            <a:off x="2546416" y="3636216"/>
            <a:ext cx="2926080" cy="640037"/>
          </a:xfrm>
          <a:prstGeom prst="rect">
            <a:avLst/>
          </a:prstGeom>
          <a:noFill/>
        </p:spPr>
        <p:txBody>
          <a:bodyPr wrap="square" lIns="91440" tIns="45720" rIns="91440" bIns="45720" rtlCol="0" anchor="ctr" anchorCtr="0">
            <a:noAutofit/>
          </a:bodyPr>
          <a:lstStyle/>
          <a:p>
            <a:pPr algn="ctr"/>
            <a:r>
              <a:rPr lang="en-GB" sz="1000">
                <a:solidFill>
                  <a:schemeClr val="tx2"/>
                </a:solidFill>
                <a:cs typeface="Arial"/>
              </a:rPr>
              <a:t>Expect to reduce net debt further </a:t>
            </a:r>
          </a:p>
          <a:p>
            <a:pPr algn="ctr"/>
            <a:r>
              <a:rPr lang="en-GB" sz="1000">
                <a:solidFill>
                  <a:schemeClr val="tx2"/>
                </a:solidFill>
                <a:cs typeface="Arial"/>
              </a:rPr>
              <a:t>vs. the Q1 2024 level</a:t>
            </a:r>
            <a:r>
              <a:rPr lang="en-GB" sz="1000" baseline="30000">
                <a:solidFill>
                  <a:schemeClr val="tx2"/>
                </a:solidFill>
              </a:rPr>
              <a:t>1</a:t>
            </a:r>
            <a:endParaRPr lang="en-GB" sz="1000" strike="sngStrike" baseline="30000">
              <a:solidFill>
                <a:schemeClr val="tx2"/>
              </a:solidFill>
            </a:endParaRPr>
          </a:p>
        </p:txBody>
      </p:sp>
      <p:sp>
        <p:nvSpPr>
          <p:cNvPr id="21" name="TextBox 20">
            <a:extLst>
              <a:ext uri="{FF2B5EF4-FFF2-40B4-BE49-F238E27FC236}">
                <a16:creationId xmlns:a16="http://schemas.microsoft.com/office/drawing/2014/main" id="{8B97D728-4AEB-93E6-4D5A-428702183620}"/>
              </a:ext>
            </a:extLst>
          </p:cNvPr>
          <p:cNvSpPr txBox="1"/>
          <p:nvPr/>
        </p:nvSpPr>
        <p:spPr>
          <a:xfrm>
            <a:off x="5794236" y="3636216"/>
            <a:ext cx="2926080" cy="640037"/>
          </a:xfrm>
          <a:prstGeom prst="rect">
            <a:avLst/>
          </a:prstGeom>
          <a:noFill/>
        </p:spPr>
        <p:txBody>
          <a:bodyPr wrap="square" rtlCol="0" anchor="ctr" anchorCtr="0">
            <a:noAutofit/>
          </a:bodyPr>
          <a:lstStyle/>
          <a:p>
            <a:pPr algn="ctr"/>
            <a:r>
              <a:rPr lang="en-GB" sz="1000">
                <a:solidFill>
                  <a:schemeClr val="tx2"/>
                </a:solidFill>
              </a:rPr>
              <a:t>Total cash generation to be positive and </a:t>
            </a:r>
          </a:p>
          <a:p>
            <a:pPr algn="ctr"/>
            <a:r>
              <a:rPr lang="en-GB" sz="1000">
                <a:solidFill>
                  <a:schemeClr val="tx2"/>
                </a:solidFill>
              </a:rPr>
              <a:t>net debt to meaningfully decline </a:t>
            </a:r>
          </a:p>
          <a:p>
            <a:pPr algn="ctr"/>
            <a:r>
              <a:rPr lang="en-GB" sz="1000">
                <a:solidFill>
                  <a:schemeClr val="tx2"/>
                </a:solidFill>
              </a:rPr>
              <a:t>versus the Q1 2024 level</a:t>
            </a:r>
            <a:r>
              <a:rPr lang="en-GB" sz="1000" baseline="30000">
                <a:solidFill>
                  <a:schemeClr val="tx2"/>
                </a:solidFill>
              </a:rPr>
              <a:t>1</a:t>
            </a:r>
          </a:p>
        </p:txBody>
      </p:sp>
      <p:sp>
        <p:nvSpPr>
          <p:cNvPr id="14" name="Rectangle 13">
            <a:extLst>
              <a:ext uri="{FF2B5EF4-FFF2-40B4-BE49-F238E27FC236}">
                <a16:creationId xmlns:a16="http://schemas.microsoft.com/office/drawing/2014/main" id="{3F65C964-4C55-8352-6F0B-41350B5F0E8A}"/>
              </a:ext>
            </a:extLst>
          </p:cNvPr>
          <p:cNvSpPr/>
          <p:nvPr/>
        </p:nvSpPr>
        <p:spPr>
          <a:xfrm>
            <a:off x="423684" y="2949007"/>
            <a:ext cx="8293608" cy="640037"/>
          </a:xfrm>
          <a:prstGeom prst="rect">
            <a:avLst/>
          </a:prstGeom>
          <a:solidFill>
            <a:srgbClr val="F2F2F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5" name="Rectangle 14">
            <a:extLst>
              <a:ext uri="{FF2B5EF4-FFF2-40B4-BE49-F238E27FC236}">
                <a16:creationId xmlns:a16="http://schemas.microsoft.com/office/drawing/2014/main" id="{E12A44B6-AB92-7F2D-9391-B063B9F8F693}"/>
              </a:ext>
            </a:extLst>
          </p:cNvPr>
          <p:cNvSpPr/>
          <p:nvPr/>
        </p:nvSpPr>
        <p:spPr>
          <a:xfrm>
            <a:off x="578936" y="2949050"/>
            <a:ext cx="1920240" cy="6400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Group EBITDA</a:t>
            </a:r>
          </a:p>
        </p:txBody>
      </p:sp>
      <p:sp>
        <p:nvSpPr>
          <p:cNvPr id="16" name="TextBox 15">
            <a:extLst>
              <a:ext uri="{FF2B5EF4-FFF2-40B4-BE49-F238E27FC236}">
                <a16:creationId xmlns:a16="http://schemas.microsoft.com/office/drawing/2014/main" id="{9B6EB12E-293E-94D5-B2E5-9154A4720562}"/>
              </a:ext>
            </a:extLst>
          </p:cNvPr>
          <p:cNvSpPr txBox="1"/>
          <p:nvPr/>
        </p:nvSpPr>
        <p:spPr>
          <a:xfrm>
            <a:off x="2546416" y="2949050"/>
            <a:ext cx="2926080" cy="640037"/>
          </a:xfrm>
          <a:prstGeom prst="rect">
            <a:avLst/>
          </a:prstGeom>
          <a:noFill/>
        </p:spPr>
        <p:txBody>
          <a:bodyPr wrap="square" lIns="91440" tIns="45720" rIns="91440" bIns="45720" rtlCol="0" anchor="ctr" anchorCtr="0">
            <a:noAutofit/>
          </a:bodyPr>
          <a:lstStyle/>
          <a:p>
            <a:pPr algn="ctr"/>
            <a:r>
              <a:rPr lang="en-GB" sz="1000">
                <a:solidFill>
                  <a:schemeClr val="tx2"/>
                </a:solidFill>
              </a:rPr>
              <a:t>EBITDA to moderately decline versus Q1 </a:t>
            </a:r>
          </a:p>
          <a:p>
            <a:pPr algn="ctr"/>
            <a:r>
              <a:rPr lang="en-GB" sz="1000">
                <a:solidFill>
                  <a:schemeClr val="tx2"/>
                </a:solidFill>
              </a:rPr>
              <a:t>due to US market dynamics</a:t>
            </a:r>
            <a:endParaRPr lang="en-GB" sz="1000">
              <a:solidFill>
                <a:schemeClr val="tx2"/>
              </a:solidFill>
              <a:cs typeface="Arial"/>
            </a:endParaRPr>
          </a:p>
        </p:txBody>
      </p:sp>
      <p:sp>
        <p:nvSpPr>
          <p:cNvPr id="17" name="TextBox 16">
            <a:extLst>
              <a:ext uri="{FF2B5EF4-FFF2-40B4-BE49-F238E27FC236}">
                <a16:creationId xmlns:a16="http://schemas.microsoft.com/office/drawing/2014/main" id="{F27A3005-D3EC-3777-5489-C30D54F62B9B}"/>
              </a:ext>
            </a:extLst>
          </p:cNvPr>
          <p:cNvSpPr txBox="1"/>
          <p:nvPr/>
        </p:nvSpPr>
        <p:spPr>
          <a:xfrm>
            <a:off x="5794236" y="2949050"/>
            <a:ext cx="2926080" cy="640037"/>
          </a:xfrm>
          <a:prstGeom prst="rect">
            <a:avLst/>
          </a:prstGeom>
          <a:noFill/>
        </p:spPr>
        <p:txBody>
          <a:bodyPr wrap="square" lIns="91440" tIns="45720" rIns="91440" bIns="45720" rtlCol="0" anchor="ctr" anchorCtr="0">
            <a:noAutofit/>
          </a:bodyPr>
          <a:lstStyle/>
          <a:p>
            <a:pPr algn="ctr"/>
            <a:r>
              <a:rPr lang="en-GB" sz="1000">
                <a:solidFill>
                  <a:schemeClr val="tx2"/>
                </a:solidFill>
              </a:rPr>
              <a:t>Group EBITDA margin to remain strong due to robust international Tubes pricing and continued operational improvement</a:t>
            </a:r>
          </a:p>
        </p:txBody>
      </p:sp>
    </p:spTree>
    <p:extLst>
      <p:ext uri="{BB962C8B-B14F-4D97-AF65-F5344CB8AC3E}">
        <p14:creationId xmlns:p14="http://schemas.microsoft.com/office/powerpoint/2010/main" val="40712024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31D9A0-A91A-812D-66D1-270E558923F1}"/>
              </a:ext>
            </a:extLst>
          </p:cNvPr>
          <p:cNvSpPr>
            <a:spLocks noGrp="1"/>
          </p:cNvSpPr>
          <p:nvPr>
            <p:ph type="body" sz="quarter" idx="11"/>
          </p:nvPr>
        </p:nvSpPr>
        <p:spPr/>
        <p:txBody>
          <a:bodyPr/>
          <a:lstStyle/>
          <a:p>
            <a:r>
              <a:rPr lang="en-US"/>
              <a:t>Market Dynamics</a:t>
            </a:r>
          </a:p>
        </p:txBody>
      </p:sp>
      <p:sp>
        <p:nvSpPr>
          <p:cNvPr id="7" name="Text Placeholder 6">
            <a:extLst>
              <a:ext uri="{FF2B5EF4-FFF2-40B4-BE49-F238E27FC236}">
                <a16:creationId xmlns:a16="http://schemas.microsoft.com/office/drawing/2014/main" id="{9CDA8DCB-FAB4-8357-22E5-DFD8B1A6E89F}"/>
              </a:ext>
            </a:extLst>
          </p:cNvPr>
          <p:cNvSpPr>
            <a:spLocks noGrp="1"/>
          </p:cNvSpPr>
          <p:nvPr>
            <p:ph type="body" sz="quarter" idx="10"/>
          </p:nvPr>
        </p:nvSpPr>
        <p:spPr/>
        <p:txBody>
          <a:bodyPr>
            <a:normAutofit/>
          </a:bodyPr>
          <a:lstStyle/>
          <a:p>
            <a:r>
              <a:rPr lang="en-US"/>
              <a:t>3</a:t>
            </a:r>
          </a:p>
        </p:txBody>
      </p:sp>
    </p:spTree>
    <p:custDataLst>
      <p:tags r:id="rId1"/>
    </p:custDataLst>
    <p:extLst>
      <p:ext uri="{BB962C8B-B14F-4D97-AF65-F5344CB8AC3E}">
        <p14:creationId xmlns:p14="http://schemas.microsoft.com/office/powerpoint/2010/main" val="23960309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608ED4-691E-8868-D2EA-BD06A4B57515}"/>
              </a:ext>
            </a:extLst>
          </p:cNvPr>
          <p:cNvSpPr>
            <a:spLocks noGrp="1"/>
          </p:cNvSpPr>
          <p:nvPr>
            <p:ph type="title"/>
          </p:nvPr>
        </p:nvSpPr>
        <p:spPr/>
        <p:txBody>
          <a:bodyPr/>
          <a:lstStyle/>
          <a:p>
            <a:r>
              <a:rPr lang="en-US"/>
              <a:t>Key Seamless Tubes Markets</a:t>
            </a:r>
          </a:p>
        </p:txBody>
      </p:sp>
      <p:graphicFrame>
        <p:nvGraphicFramePr>
          <p:cNvPr id="5" name="Table 4">
            <a:extLst>
              <a:ext uri="{FF2B5EF4-FFF2-40B4-BE49-F238E27FC236}">
                <a16:creationId xmlns:a16="http://schemas.microsoft.com/office/drawing/2014/main" id="{9E432068-64CF-13B2-CC6B-CC7C8532D292}"/>
              </a:ext>
            </a:extLst>
          </p:cNvPr>
          <p:cNvGraphicFramePr>
            <a:graphicFrameLocks noGrp="1"/>
          </p:cNvGraphicFramePr>
          <p:nvPr>
            <p:custDataLst>
              <p:tags r:id="rId2"/>
            </p:custDataLst>
          </p:nvPr>
        </p:nvGraphicFramePr>
        <p:xfrm>
          <a:off x="443863" y="1486986"/>
          <a:ext cx="8290558" cy="2864974"/>
        </p:xfrm>
        <a:graphic>
          <a:graphicData uri="http://schemas.openxmlformats.org/drawingml/2006/table">
            <a:tbl>
              <a:tblPr firstRow="1" bandRow="1">
                <a:tableStyleId>{2D5ABB26-0587-4C30-8999-92F81FD0307C}</a:tableStyleId>
              </a:tblPr>
              <a:tblGrid>
                <a:gridCol w="2448682">
                  <a:extLst>
                    <a:ext uri="{9D8B030D-6E8A-4147-A177-3AD203B41FA5}">
                      <a16:colId xmlns:a16="http://schemas.microsoft.com/office/drawing/2014/main" val="20000"/>
                    </a:ext>
                  </a:extLst>
                </a:gridCol>
                <a:gridCol w="1460469">
                  <a:extLst>
                    <a:ext uri="{9D8B030D-6E8A-4147-A177-3AD203B41FA5}">
                      <a16:colId xmlns:a16="http://schemas.microsoft.com/office/drawing/2014/main" val="20001"/>
                    </a:ext>
                  </a:extLst>
                </a:gridCol>
                <a:gridCol w="1460469">
                  <a:extLst>
                    <a:ext uri="{9D8B030D-6E8A-4147-A177-3AD203B41FA5}">
                      <a16:colId xmlns:a16="http://schemas.microsoft.com/office/drawing/2014/main" val="20002"/>
                    </a:ext>
                  </a:extLst>
                </a:gridCol>
                <a:gridCol w="1460469">
                  <a:extLst>
                    <a:ext uri="{9D8B030D-6E8A-4147-A177-3AD203B41FA5}">
                      <a16:colId xmlns:a16="http://schemas.microsoft.com/office/drawing/2014/main" val="20003"/>
                    </a:ext>
                  </a:extLst>
                </a:gridCol>
                <a:gridCol w="1460469">
                  <a:extLst>
                    <a:ext uri="{9D8B030D-6E8A-4147-A177-3AD203B41FA5}">
                      <a16:colId xmlns:a16="http://schemas.microsoft.com/office/drawing/2014/main" val="20004"/>
                    </a:ext>
                  </a:extLst>
                </a:gridCol>
              </a:tblGrid>
              <a:tr h="391544">
                <a:tc>
                  <a:txBody>
                    <a:bodyPr/>
                    <a:lstStyle/>
                    <a:p>
                      <a:pPr marL="0" marR="0" indent="0" algn="l" defTabSz="914400" rtl="0" eaLnBrk="0" latinLnBrk="0" hangingPunct="0">
                        <a:lnSpc>
                          <a:spcPct val="100000"/>
                        </a:lnSpc>
                        <a:spcBef>
                          <a:spcPts val="265"/>
                        </a:spcBef>
                        <a:spcAft>
                          <a:spcPts val="100"/>
                        </a:spcAft>
                        <a:buNone/>
                      </a:pPr>
                      <a:endParaRPr lang="en-GB" sz="900" b="1" i="0" strike="noStrike" cap="none" baseline="0" noProof="0">
                        <a:solidFill>
                          <a:schemeClr val="tx2"/>
                        </a:solidFill>
                        <a:latin typeface="Arial" panose="020B0604020202020204" pitchFamily="34" charset="0"/>
                        <a:ea typeface="PMingLiU"/>
                        <a:cs typeface="Times New Roman"/>
                      </a:endParaRPr>
                    </a:p>
                  </a:txBody>
                  <a:tcPr marL="45720" marT="18288" marB="9144" anchor="ctr">
                    <a:lnL>
                      <a:noFill/>
                    </a:lnL>
                    <a:lnR>
                      <a:noFill/>
                    </a:lnR>
                    <a:lnT>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a:solidFill>
                            <a:schemeClr val="accent1"/>
                          </a:solidFill>
                        </a:rPr>
                        <a:t>Oil Country Tubular Goods (OCTG)</a:t>
                      </a:r>
                    </a:p>
                  </a:txBody>
                  <a:tcPr marL="85241" marR="85241" marT="42620" marB="42620" anchor="b">
                    <a:lnL>
                      <a:noFill/>
                    </a:lnL>
                    <a:lnR>
                      <a:noFill/>
                    </a:lnR>
                    <a:lnT>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a:solidFill>
                            <a:schemeClr val="accent1"/>
                          </a:solidFill>
                        </a:rPr>
                        <a:t>Project Line Pipe </a:t>
                      </a:r>
                      <a:br>
                        <a:rPr lang="en-US" sz="1000" b="1">
                          <a:solidFill>
                            <a:schemeClr val="accent1"/>
                          </a:solidFill>
                        </a:rPr>
                      </a:br>
                      <a:r>
                        <a:rPr lang="en-US" sz="1000" b="1">
                          <a:solidFill>
                            <a:schemeClr val="accent1"/>
                          </a:solidFill>
                        </a:rPr>
                        <a:t>(PLP) &amp; Process</a:t>
                      </a:r>
                    </a:p>
                  </a:txBody>
                  <a:tcPr marL="85241" marR="85241" marT="42620" marB="42620" anchor="b">
                    <a:lnL>
                      <a:noFill/>
                    </a:lnL>
                    <a:lnR>
                      <a:noFill/>
                    </a:lnR>
                    <a:lnT>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a:solidFill>
                            <a:schemeClr val="accent1"/>
                          </a:solidFill>
                        </a:rPr>
                        <a:t>Industry </a:t>
                      </a:r>
                      <a:br>
                        <a:rPr lang="en-US" sz="1000" b="1">
                          <a:solidFill>
                            <a:schemeClr val="accent1"/>
                          </a:solidFill>
                        </a:rPr>
                      </a:br>
                      <a:r>
                        <a:rPr lang="en-US" sz="1000" b="1">
                          <a:solidFill>
                            <a:schemeClr val="accent1"/>
                          </a:solidFill>
                        </a:rPr>
                        <a:t>&amp; Other</a:t>
                      </a:r>
                    </a:p>
                  </a:txBody>
                  <a:tcPr marL="85241" marR="85241" marT="42620" marB="42620" anchor="b">
                    <a:lnL>
                      <a:noFill/>
                    </a:lnL>
                    <a:lnR>
                      <a:noFill/>
                    </a:lnR>
                    <a:lnT>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1">
                          <a:solidFill>
                            <a:schemeClr val="accent1"/>
                          </a:solidFill>
                        </a:rPr>
                        <a:t>New </a:t>
                      </a:r>
                    </a:p>
                    <a:p>
                      <a:pPr algn="ctr"/>
                      <a:r>
                        <a:rPr lang="en-US" sz="1000" b="1">
                          <a:solidFill>
                            <a:schemeClr val="accent1"/>
                          </a:solidFill>
                        </a:rPr>
                        <a:t>Energies</a:t>
                      </a:r>
                    </a:p>
                  </a:txBody>
                  <a:tcPr marL="85241" marR="85241" marT="42620" marB="42620" anchor="b">
                    <a:lnL>
                      <a:noFill/>
                    </a:lnL>
                    <a:lnR>
                      <a:noFill/>
                    </a:lnR>
                    <a:lnT>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09287">
                <a:tc>
                  <a:txBody>
                    <a:bodyPr/>
                    <a:lstStyle/>
                    <a:p>
                      <a:pPr algn="l"/>
                      <a:r>
                        <a:rPr lang="en-US" sz="1000" b="1">
                          <a:solidFill>
                            <a:schemeClr val="tx2"/>
                          </a:solidFill>
                        </a:rPr>
                        <a:t>2023E ASP (price/tonne)</a:t>
                      </a:r>
                    </a:p>
                  </a:txBody>
                  <a:tcPr marT="0" marB="0" anchor="ctr">
                    <a:lnT w="12700" cap="flat" cmpd="sng" algn="ctr">
                      <a:solidFill>
                        <a:schemeClr val="accent1"/>
                      </a:solidFill>
                      <a:prstDash val="solid"/>
                      <a:round/>
                      <a:headEnd type="none" w="med" len="med"/>
                      <a:tailEnd type="none" w="med" len="med"/>
                    </a:lnT>
                    <a:lnB w="6350" cmpd="sng">
                      <a:solidFill>
                        <a:srgbClr val="CCCDCB">
                          <a:lumMod val="100000"/>
                        </a:srgbClr>
                      </a:solidFill>
                      <a:prstDash val="solid"/>
                    </a:lnB>
                  </a:tcPr>
                </a:tc>
                <a:tc>
                  <a:txBody>
                    <a:bodyPr/>
                    <a:lstStyle/>
                    <a:p>
                      <a:pPr algn="ctr"/>
                      <a:r>
                        <a:rPr lang="en-US" sz="1000" b="0">
                          <a:solidFill>
                            <a:schemeClr val="tx2"/>
                          </a:solidFill>
                        </a:rPr>
                        <a:t>Mid $3k </a:t>
                      </a:r>
                    </a:p>
                  </a:txBody>
                  <a:tcPr marT="0" marB="0" anchor="ctr">
                    <a:lnT w="12700" cap="flat" cmpd="sng" algn="ctr">
                      <a:solidFill>
                        <a:schemeClr val="accent1"/>
                      </a:solidFill>
                      <a:prstDash val="solid"/>
                      <a:round/>
                      <a:headEnd type="none" w="med" len="med"/>
                      <a:tailEnd type="none" w="med" len="med"/>
                    </a:lnT>
                    <a:lnB w="6350" cmpd="sng">
                      <a:solidFill>
                        <a:srgbClr val="CCCDCB">
                          <a:lumMod val="100000"/>
                        </a:srgbClr>
                      </a:solidFill>
                      <a:prstDash val="solid"/>
                    </a:lnB>
                  </a:tcPr>
                </a:tc>
                <a:tc>
                  <a:txBody>
                    <a:bodyPr/>
                    <a:lstStyle/>
                    <a:p>
                      <a:pPr algn="ctr"/>
                      <a:r>
                        <a:rPr lang="en-US" sz="1000" b="0">
                          <a:solidFill>
                            <a:schemeClr val="tx2"/>
                          </a:solidFill>
                        </a:rPr>
                        <a:t>Low-mid $2k</a:t>
                      </a:r>
                    </a:p>
                  </a:txBody>
                  <a:tcPr marT="0" marB="0" anchor="ctr">
                    <a:lnT w="12700" cap="flat" cmpd="sng" algn="ctr">
                      <a:solidFill>
                        <a:schemeClr val="accent1"/>
                      </a:solidFill>
                      <a:prstDash val="solid"/>
                      <a:round/>
                      <a:headEnd type="none" w="med" len="med"/>
                      <a:tailEnd type="none" w="med" len="med"/>
                    </a:lnT>
                    <a:lnB w="6350" cmpd="sng">
                      <a:solidFill>
                        <a:srgbClr val="CCCDCB">
                          <a:lumMod val="100000"/>
                        </a:srgbClr>
                      </a:solidFill>
                      <a:prstDash val="solid"/>
                    </a:lnB>
                  </a:tcPr>
                </a:tc>
                <a:tc>
                  <a:txBody>
                    <a:bodyPr/>
                    <a:lstStyle/>
                    <a:p>
                      <a:pPr algn="ctr"/>
                      <a:r>
                        <a:rPr lang="en-US" sz="1000" b="0" i="0">
                          <a:solidFill>
                            <a:schemeClr val="tx2"/>
                          </a:solidFill>
                        </a:rPr>
                        <a:t>Low $2k</a:t>
                      </a:r>
                      <a:r>
                        <a:rPr lang="en-US" sz="1000" b="0" i="0" baseline="30000">
                          <a:solidFill>
                            <a:schemeClr val="tx2"/>
                          </a:solidFill>
                        </a:rPr>
                        <a:t>1</a:t>
                      </a:r>
                    </a:p>
                  </a:txBody>
                  <a:tcPr marT="0" marB="0" anchor="ctr">
                    <a:lnT w="12700" cap="flat" cmpd="sng" algn="ctr">
                      <a:solidFill>
                        <a:schemeClr val="accent1"/>
                      </a:solidFill>
                      <a:prstDash val="solid"/>
                      <a:round/>
                      <a:headEnd type="none" w="med" len="med"/>
                      <a:tailEnd type="none" w="med" len="med"/>
                    </a:lnT>
                    <a:lnB w="6350" cmpd="sng">
                      <a:solidFill>
                        <a:srgbClr val="CCCDCB">
                          <a:lumMod val="100000"/>
                        </a:srgbClr>
                      </a:solidFill>
                      <a:prstDash val="solid"/>
                    </a:lnB>
                  </a:tcPr>
                </a:tc>
                <a:tc rowSpan="4">
                  <a:txBody>
                    <a:bodyPr/>
                    <a:lstStyle/>
                    <a:p>
                      <a:pPr marL="0" marR="0" indent="0" algn="ctr" defTabSz="914400" rtl="0" eaLnBrk="0" latinLnBrk="0" hangingPunct="0">
                        <a:lnSpc>
                          <a:spcPct val="100000"/>
                        </a:lnSpc>
                        <a:spcBef>
                          <a:spcPts val="265"/>
                        </a:spcBef>
                        <a:spcAft>
                          <a:spcPts val="0"/>
                        </a:spcAft>
                        <a:buNone/>
                      </a:pPr>
                      <a:r>
                        <a:rPr lang="en-GB" sz="1000" b="0" i="0" strike="noStrike" cap="none" baseline="0" noProof="0">
                          <a:solidFill>
                            <a:schemeClr val="tx2"/>
                          </a:solidFill>
                          <a:latin typeface="+mj-lt"/>
                        </a:rPr>
                        <a:t>High-Growth</a:t>
                      </a:r>
                      <a:br>
                        <a:rPr lang="en-GB" sz="1000" b="0" i="0" strike="noStrike" cap="none" baseline="0" noProof="0">
                          <a:solidFill>
                            <a:schemeClr val="tx2"/>
                          </a:solidFill>
                          <a:latin typeface="+mj-lt"/>
                        </a:rPr>
                      </a:br>
                      <a:r>
                        <a:rPr lang="en-GB" sz="1000" b="0" i="0" strike="noStrike" cap="none" baseline="0" noProof="0">
                          <a:solidFill>
                            <a:schemeClr val="tx2"/>
                          </a:solidFill>
                          <a:latin typeface="+mj-lt"/>
                        </a:rPr>
                        <a:t>Emerging Market</a:t>
                      </a:r>
                    </a:p>
                  </a:txBody>
                  <a:tcPr marT="0" marB="0" anchor="ctr">
                    <a:lnT w="12700" cap="flat" cmpd="sng" algn="ctr">
                      <a:solidFill>
                        <a:schemeClr val="accent1"/>
                      </a:solidFill>
                      <a:prstDash val="solid"/>
                      <a:round/>
                      <a:headEnd type="none" w="med" len="med"/>
                      <a:tailEnd type="none" w="med" len="med"/>
                    </a:lnT>
                    <a:lnB w="6350" cap="flat" cmpd="sng" algn="ctr">
                      <a:solidFill>
                        <a:srgbClr val="CCCDCB">
                          <a:lumMod val="100000"/>
                        </a:srgbClr>
                      </a:solidFill>
                      <a:prstDash val="solid"/>
                      <a:round/>
                      <a:headEnd type="none" w="med" len="med"/>
                      <a:tailEnd type="none" w="med" len="med"/>
                    </a:lnB>
                  </a:tcPr>
                </a:tc>
                <a:extLst>
                  <a:ext uri="{0D108BD9-81ED-4DB2-BD59-A6C34878D82A}">
                    <a16:rowId xmlns:a16="http://schemas.microsoft.com/office/drawing/2014/main" val="10001"/>
                  </a:ext>
                </a:extLst>
              </a:tr>
              <a:tr h="331530">
                <a:tc>
                  <a:txBody>
                    <a:bodyPr/>
                    <a:lstStyle/>
                    <a:p>
                      <a:pPr marL="7615" marR="0" lvl="0" indent="-5632" algn="l" defTabSz="571134" rtl="0" eaLnBrk="1" fontAlgn="b" latinLnBrk="0" hangingPunct="1">
                        <a:lnSpc>
                          <a:spcPct val="100000"/>
                        </a:lnSpc>
                        <a:spcBef>
                          <a:spcPts val="166"/>
                        </a:spcBef>
                        <a:spcAft>
                          <a:spcPct val="0"/>
                        </a:spcAft>
                        <a:buClrTx/>
                        <a:buSzTx/>
                        <a:buFontTx/>
                        <a:buNone/>
                        <a:tabLst/>
                        <a:defRPr/>
                      </a:pPr>
                      <a:r>
                        <a:rPr lang="en-US" sz="1000" b="1">
                          <a:solidFill>
                            <a:schemeClr val="tx2"/>
                          </a:solidFill>
                        </a:rPr>
                        <a:t>2023E Total Market Size (mt)</a:t>
                      </a:r>
                    </a:p>
                  </a:txBody>
                  <a:tcPr marT="0" marB="0" anchor="ctr">
                    <a:lnT w="6350" cap="flat" cmpd="sng" algn="ctr">
                      <a:solidFill>
                        <a:srgbClr val="CCCDCB">
                          <a:lumMod val="100000"/>
                        </a:srgbClr>
                      </a:solidFill>
                      <a:prstDash val="solid"/>
                      <a:round/>
                      <a:headEnd type="none" w="med" len="med"/>
                      <a:tailEnd type="none" w="med" len="med"/>
                    </a:lnT>
                    <a:lnB w="6350" cmpd="sng">
                      <a:solidFill>
                        <a:srgbClr val="CCCDCB">
                          <a:lumMod val="100000"/>
                        </a:srgbClr>
                      </a:solidFill>
                      <a:prstDash val="solid"/>
                    </a:lnB>
                  </a:tcPr>
                </a:tc>
                <a:tc>
                  <a:txBody>
                    <a:bodyPr/>
                    <a:lstStyle/>
                    <a:p>
                      <a:pPr marL="7615" marR="0" lvl="0" indent="-5632" algn="ctr" defTabSz="571134" rtl="0" eaLnBrk="1" fontAlgn="b" latinLnBrk="0" hangingPunct="1">
                        <a:lnSpc>
                          <a:spcPct val="100000"/>
                        </a:lnSpc>
                        <a:spcBef>
                          <a:spcPts val="166"/>
                        </a:spcBef>
                        <a:spcAft>
                          <a:spcPct val="0"/>
                        </a:spcAft>
                        <a:buClrTx/>
                        <a:buSzTx/>
                        <a:buFontTx/>
                        <a:buNone/>
                        <a:tabLst/>
                        <a:defRPr/>
                      </a:pPr>
                      <a:r>
                        <a:rPr lang="en-US" sz="1000" b="0">
                          <a:solidFill>
                            <a:schemeClr val="tx2"/>
                          </a:solidFill>
                        </a:rPr>
                        <a:t>9.6</a:t>
                      </a:r>
                    </a:p>
                  </a:txBody>
                  <a:tcPr marT="0" marB="0" anchor="ctr">
                    <a:lnT w="6350" cap="flat" cmpd="sng" algn="ctr">
                      <a:solidFill>
                        <a:srgbClr val="CCCDCB">
                          <a:lumMod val="100000"/>
                        </a:srgbClr>
                      </a:solidFill>
                      <a:prstDash val="solid"/>
                      <a:round/>
                      <a:headEnd type="none" w="med" len="med"/>
                      <a:tailEnd type="none" w="med" len="med"/>
                    </a:lnT>
                    <a:lnB w="6350" cmpd="sng">
                      <a:solidFill>
                        <a:srgbClr val="CCCDCB">
                          <a:lumMod val="100000"/>
                        </a:srgbClr>
                      </a:solidFill>
                      <a:prstDash val="solid"/>
                    </a:lnB>
                  </a:tcPr>
                </a:tc>
                <a:tc>
                  <a:txBody>
                    <a:bodyPr/>
                    <a:lstStyle/>
                    <a:p>
                      <a:pPr marL="7615" marR="0" lvl="0" indent="-5632" algn="ctr" defTabSz="571134" rtl="0" eaLnBrk="1" fontAlgn="b" latinLnBrk="0" hangingPunct="1">
                        <a:lnSpc>
                          <a:spcPct val="100000"/>
                        </a:lnSpc>
                        <a:spcBef>
                          <a:spcPts val="166"/>
                        </a:spcBef>
                        <a:spcAft>
                          <a:spcPct val="0"/>
                        </a:spcAft>
                        <a:buClrTx/>
                        <a:buSzTx/>
                        <a:buFontTx/>
                        <a:buNone/>
                        <a:tabLst/>
                        <a:defRPr/>
                      </a:pPr>
                      <a:r>
                        <a:rPr lang="en-US" sz="1000" b="0">
                          <a:solidFill>
                            <a:schemeClr val="tx2"/>
                          </a:solidFill>
                        </a:rPr>
                        <a:t>4.4</a:t>
                      </a:r>
                    </a:p>
                  </a:txBody>
                  <a:tcPr marT="0" marB="0" anchor="ctr">
                    <a:lnT w="6350" cap="flat" cmpd="sng" algn="ctr">
                      <a:solidFill>
                        <a:srgbClr val="CCCDCB">
                          <a:lumMod val="100000"/>
                        </a:srgbClr>
                      </a:solidFill>
                      <a:prstDash val="solid"/>
                      <a:round/>
                      <a:headEnd type="none" w="med" len="med"/>
                      <a:tailEnd type="none" w="med" len="med"/>
                    </a:lnT>
                    <a:lnB w="6350" cmpd="sng">
                      <a:solidFill>
                        <a:srgbClr val="CCCDCB">
                          <a:lumMod val="100000"/>
                        </a:srgbClr>
                      </a:solidFill>
                      <a:prstDash val="solid"/>
                    </a:lnB>
                  </a:tcPr>
                </a:tc>
                <a:tc>
                  <a:txBody>
                    <a:bodyPr/>
                    <a:lstStyle/>
                    <a:p>
                      <a:pPr marL="7615" marR="0" lvl="0" indent="-5632" algn="ctr" defTabSz="571134" rtl="0" eaLnBrk="1" fontAlgn="b" latinLnBrk="0" hangingPunct="1">
                        <a:lnSpc>
                          <a:spcPct val="100000"/>
                        </a:lnSpc>
                        <a:spcBef>
                          <a:spcPts val="166"/>
                        </a:spcBef>
                        <a:spcAft>
                          <a:spcPct val="0"/>
                        </a:spcAft>
                        <a:buClrTx/>
                        <a:buSzTx/>
                        <a:buFontTx/>
                        <a:buNone/>
                        <a:tabLst/>
                        <a:defRPr/>
                      </a:pPr>
                      <a:r>
                        <a:rPr lang="en-US" sz="1000" b="0" i="1">
                          <a:solidFill>
                            <a:schemeClr val="tx2"/>
                          </a:solidFill>
                        </a:rPr>
                        <a:t>Not Analyzed</a:t>
                      </a:r>
                    </a:p>
                  </a:txBody>
                  <a:tcPr marT="0" marB="0" anchor="ctr">
                    <a:lnT w="6350" cap="flat" cmpd="sng" algn="ctr">
                      <a:solidFill>
                        <a:srgbClr val="CCCDCB">
                          <a:lumMod val="100000"/>
                        </a:srgbClr>
                      </a:solidFill>
                      <a:prstDash val="solid"/>
                      <a:round/>
                      <a:headEnd type="none" w="med" len="med"/>
                      <a:tailEnd type="none" w="med" len="med"/>
                    </a:lnT>
                    <a:lnB w="6350" cmpd="sng">
                      <a:solidFill>
                        <a:srgbClr val="CCCDCB">
                          <a:lumMod val="100000"/>
                        </a:srgbClr>
                      </a:solidFill>
                      <a:prstDash val="solid"/>
                    </a:lnB>
                  </a:tcPr>
                </a:tc>
                <a:tc vMerge="1">
                  <a:txBody>
                    <a:bodyPr/>
                    <a:lstStyle/>
                    <a:p>
                      <a:endParaRPr lang="en-US"/>
                    </a:p>
                  </a:txBody>
                  <a:tcPr/>
                </a:tc>
                <a:extLst>
                  <a:ext uri="{0D108BD9-81ED-4DB2-BD59-A6C34878D82A}">
                    <a16:rowId xmlns:a16="http://schemas.microsoft.com/office/drawing/2014/main" val="4202566083"/>
                  </a:ext>
                </a:extLst>
              </a:tr>
              <a:tr h="331530">
                <a:tc>
                  <a:txBody>
                    <a:bodyPr/>
                    <a:lstStyle/>
                    <a:p>
                      <a:pPr algn="l"/>
                      <a:r>
                        <a:rPr lang="en-US" sz="1000" b="1">
                          <a:solidFill>
                            <a:schemeClr val="tx2"/>
                          </a:solidFill>
                        </a:rPr>
                        <a:t>2023E Served Market Size (mt)</a:t>
                      </a:r>
                    </a:p>
                  </a:txBody>
                  <a:tcPr marT="0" marB="0" anchor="ctr">
                    <a:lnT w="6350" cmpd="sng">
                      <a:solidFill>
                        <a:srgbClr val="CCCDCB">
                          <a:lumMod val="100000"/>
                        </a:srgbClr>
                      </a:solidFill>
                      <a:prstDash val="solid"/>
                    </a:lnT>
                    <a:lnB w="6350" cmpd="sng">
                      <a:solidFill>
                        <a:srgbClr val="CCCDCB">
                          <a:lumMod val="100000"/>
                        </a:srgbClr>
                      </a:solidFill>
                      <a:prstDash val="solid"/>
                    </a:lnB>
                  </a:tcPr>
                </a:tc>
                <a:tc>
                  <a:txBody>
                    <a:bodyPr/>
                    <a:lstStyle/>
                    <a:p>
                      <a:pPr algn="ctr"/>
                      <a:r>
                        <a:rPr lang="en-US" sz="1000" b="0">
                          <a:solidFill>
                            <a:schemeClr val="tx2"/>
                          </a:solidFill>
                        </a:rPr>
                        <a:t>5.4</a:t>
                      </a:r>
                    </a:p>
                  </a:txBody>
                  <a:tcPr marT="0" marB="0" anchor="ctr">
                    <a:lnT w="6350" cmpd="sng">
                      <a:solidFill>
                        <a:srgbClr val="CCCDCB">
                          <a:lumMod val="100000"/>
                        </a:srgbClr>
                      </a:solidFill>
                      <a:prstDash val="solid"/>
                    </a:lnT>
                    <a:lnB w="6350" cmpd="sng">
                      <a:solidFill>
                        <a:srgbClr val="CCCDCB">
                          <a:lumMod val="100000"/>
                        </a:srgbClr>
                      </a:solidFill>
                      <a:prstDash val="solid"/>
                    </a:lnB>
                  </a:tcPr>
                </a:tc>
                <a:tc>
                  <a:txBody>
                    <a:bodyPr/>
                    <a:lstStyle/>
                    <a:p>
                      <a:pPr algn="ctr"/>
                      <a:r>
                        <a:rPr lang="en-US" sz="1000" b="0">
                          <a:solidFill>
                            <a:schemeClr val="tx2"/>
                          </a:solidFill>
                        </a:rPr>
                        <a:t>1.1</a:t>
                      </a:r>
                    </a:p>
                  </a:txBody>
                  <a:tcPr marT="0" marB="0" anchor="ctr">
                    <a:lnT w="6350" cmpd="sng">
                      <a:solidFill>
                        <a:srgbClr val="CCCDCB">
                          <a:lumMod val="100000"/>
                        </a:srgbClr>
                      </a:solidFill>
                      <a:prstDash val="solid"/>
                    </a:lnT>
                    <a:lnB w="6350" cmpd="sng">
                      <a:solidFill>
                        <a:srgbClr val="CCCDCB">
                          <a:lumMod val="100000"/>
                        </a:srgbClr>
                      </a:solidFill>
                      <a:prstDash val="solid"/>
                    </a:lnB>
                  </a:tcPr>
                </a:tc>
                <a:tc>
                  <a:txBody>
                    <a:bodyPr/>
                    <a:lstStyle/>
                    <a:p>
                      <a:pPr algn="ctr"/>
                      <a:r>
                        <a:rPr lang="en-US" sz="1000" b="0">
                          <a:solidFill>
                            <a:schemeClr val="tx2"/>
                          </a:solidFill>
                        </a:rPr>
                        <a:t>0.4</a:t>
                      </a:r>
                    </a:p>
                  </a:txBody>
                  <a:tcPr marT="0" marB="0" anchor="ctr">
                    <a:lnT w="6350" cmpd="sng">
                      <a:solidFill>
                        <a:srgbClr val="CCCDCB">
                          <a:lumMod val="100000"/>
                        </a:srgbClr>
                      </a:solidFill>
                      <a:prstDash val="solid"/>
                    </a:lnT>
                    <a:lnB w="6350" cmpd="sng">
                      <a:solidFill>
                        <a:srgbClr val="CCCDCB">
                          <a:lumMod val="100000"/>
                        </a:srgbClr>
                      </a:solidFill>
                      <a:prstDash val="solid"/>
                    </a:lnB>
                  </a:tcPr>
                </a:tc>
                <a:tc vMerge="1">
                  <a:txBody>
                    <a:bodyPr/>
                    <a:lstStyle/>
                    <a:p>
                      <a:pPr marL="0" marR="0" indent="0" algn="r" defTabSz="914400" rtl="0" eaLnBrk="0" latinLnBrk="0" hangingPunct="0">
                        <a:lnSpc>
                          <a:spcPct val="100000"/>
                        </a:lnSpc>
                        <a:spcBef>
                          <a:spcPts val="265"/>
                        </a:spcBef>
                        <a:spcAft>
                          <a:spcPts val="0"/>
                        </a:spcAft>
                        <a:buNone/>
                      </a:pPr>
                      <a:r>
                        <a:rPr lang="en-GB" sz="900" b="0" i="0" strike="noStrike" cap="none" baseline="0" noProof="0">
                          <a:solidFill>
                            <a:schemeClr val="tx2"/>
                          </a:solidFill>
                          <a:latin typeface="Arial" panose="020B0604020202020204" pitchFamily="34" charset="0"/>
                        </a:rPr>
                        <a:t>21.7</a:t>
                      </a:r>
                      <a:endParaRPr lang="en-GB" sz="900" b="0" i="0" strike="noStrike" cap="none" baseline="0" noProof="0">
                        <a:solidFill>
                          <a:schemeClr val="tx2"/>
                        </a:solidFill>
                        <a:latin typeface="Arial" panose="020B0604020202020204" pitchFamily="34" charset="0"/>
                        <a:ea typeface="PMingLiU"/>
                        <a:cs typeface="Times New Roman"/>
                      </a:endParaRPr>
                    </a:p>
                  </a:txBody>
                  <a:tcPr marL="45720" marT="9144" marB="9144" anchor="ctr">
                    <a:lnT w="6350" cmpd="sng">
                      <a:solidFill>
                        <a:srgbClr val="CCCDCB">
                          <a:lumMod val="100000"/>
                        </a:srgbClr>
                      </a:solidFill>
                      <a:prstDash val="solid"/>
                    </a:lnT>
                    <a:lnB w="6350" cmpd="sng">
                      <a:solidFill>
                        <a:srgbClr val="CCCDCB">
                          <a:lumMod val="100000"/>
                        </a:srgbClr>
                      </a:solidFill>
                      <a:prstDash val="solid"/>
                    </a:lnB>
                  </a:tcPr>
                </a:tc>
                <a:extLst>
                  <a:ext uri="{0D108BD9-81ED-4DB2-BD59-A6C34878D82A}">
                    <a16:rowId xmlns:a16="http://schemas.microsoft.com/office/drawing/2014/main" val="10002"/>
                  </a:ext>
                </a:extLst>
              </a:tr>
              <a:tr h="3092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2"/>
                          </a:solidFill>
                        </a:rPr>
                        <a:t>% of Vallourec Tubes Volumes</a:t>
                      </a:r>
                      <a:r>
                        <a:rPr lang="en-US" sz="1000" b="1" baseline="30000">
                          <a:solidFill>
                            <a:schemeClr val="tx2"/>
                          </a:solidFill>
                        </a:rPr>
                        <a:t>2</a:t>
                      </a:r>
                    </a:p>
                  </a:txBody>
                  <a:tcPr marT="0" marB="0" anchor="ctr">
                    <a:lnT w="6350" cap="flat" cmpd="sng" algn="ctr">
                      <a:solidFill>
                        <a:srgbClr val="CCCDCB">
                          <a:lumMod val="100000"/>
                        </a:srgbClr>
                      </a:solidFill>
                      <a:prstDash val="solid"/>
                      <a:round/>
                      <a:headEnd type="none" w="med" len="med"/>
                      <a:tailEnd type="none" w="med" len="med"/>
                    </a:lnT>
                    <a:lnB w="6350" cmpd="sng">
                      <a:solidFill>
                        <a:srgbClr val="CCCDCB">
                          <a:lumMod val="100000"/>
                        </a:srgbClr>
                      </a:solidFill>
                      <a:prstDash val="solid"/>
                    </a:lnB>
                  </a:tcPr>
                </a:tc>
                <a:tc>
                  <a:txBody>
                    <a:bodyPr/>
                    <a:lstStyle/>
                    <a:p>
                      <a:pPr algn="ctr"/>
                      <a:r>
                        <a:rPr lang="en-US" sz="1000" b="0">
                          <a:solidFill>
                            <a:schemeClr val="tx2"/>
                          </a:solidFill>
                        </a:rPr>
                        <a:t>65% – 70%</a:t>
                      </a:r>
                    </a:p>
                  </a:txBody>
                  <a:tcPr marT="0" marB="0" anchor="ctr">
                    <a:lnT w="6350" cap="flat" cmpd="sng" algn="ctr">
                      <a:solidFill>
                        <a:srgbClr val="CCCDCB">
                          <a:lumMod val="100000"/>
                        </a:srgbClr>
                      </a:solidFill>
                      <a:prstDash val="solid"/>
                      <a:round/>
                      <a:headEnd type="none" w="med" len="med"/>
                      <a:tailEnd type="none" w="med" len="med"/>
                    </a:lnT>
                    <a:lnB w="6350" cmpd="sng">
                      <a:solidFill>
                        <a:srgbClr val="CCCDCB">
                          <a:lumMod val="100000"/>
                        </a:srgbClr>
                      </a:solidFill>
                      <a:prstDash val="solid"/>
                    </a:lnB>
                  </a:tcPr>
                </a:tc>
                <a:tc>
                  <a:txBody>
                    <a:bodyPr/>
                    <a:lstStyle/>
                    <a:p>
                      <a:pPr algn="ctr"/>
                      <a:r>
                        <a:rPr lang="en-US" sz="1000" b="0">
                          <a:solidFill>
                            <a:schemeClr val="tx2"/>
                          </a:solidFill>
                        </a:rPr>
                        <a:t>15% – 20%</a:t>
                      </a:r>
                    </a:p>
                  </a:txBody>
                  <a:tcPr marT="0" marB="0" anchor="ctr">
                    <a:lnT w="6350" cap="flat" cmpd="sng" algn="ctr">
                      <a:solidFill>
                        <a:srgbClr val="CCCDCB">
                          <a:lumMod val="100000"/>
                        </a:srgbClr>
                      </a:solidFill>
                      <a:prstDash val="solid"/>
                      <a:round/>
                      <a:headEnd type="none" w="med" len="med"/>
                      <a:tailEnd type="none" w="med" len="med"/>
                    </a:lnT>
                    <a:lnB w="6350" cmpd="sng">
                      <a:solidFill>
                        <a:srgbClr val="CCCDCB">
                          <a:lumMod val="100000"/>
                        </a:srgbClr>
                      </a:solidFill>
                      <a:prstDash val="solid"/>
                    </a:lnB>
                  </a:tcPr>
                </a:tc>
                <a:tc>
                  <a:txBody>
                    <a:bodyPr/>
                    <a:lstStyle/>
                    <a:p>
                      <a:pPr algn="ctr"/>
                      <a:r>
                        <a:rPr lang="en-US" sz="1000" b="0">
                          <a:solidFill>
                            <a:schemeClr val="tx2"/>
                          </a:solidFill>
                        </a:rPr>
                        <a:t>10% – 15%</a:t>
                      </a:r>
                    </a:p>
                  </a:txBody>
                  <a:tcPr marT="0" marB="0" anchor="ctr">
                    <a:lnT w="6350" cap="flat" cmpd="sng" algn="ctr">
                      <a:solidFill>
                        <a:srgbClr val="CCCDCB">
                          <a:lumMod val="100000"/>
                        </a:srgbClr>
                      </a:solidFill>
                      <a:prstDash val="solid"/>
                      <a:round/>
                      <a:headEnd type="none" w="med" len="med"/>
                      <a:tailEnd type="none" w="med" len="med"/>
                    </a:lnT>
                    <a:lnB w="6350" cmpd="sng">
                      <a:solidFill>
                        <a:srgbClr val="CCCDCB">
                          <a:lumMod val="100000"/>
                        </a:srgbClr>
                      </a:solidFill>
                      <a:prstDash val="solid"/>
                    </a:lnB>
                  </a:tcPr>
                </a:tc>
                <a:tc vMerge="1">
                  <a:txBody>
                    <a:bodyPr/>
                    <a:lstStyle/>
                    <a:p>
                      <a:pPr marL="0" marR="0" indent="0" algn="r" defTabSz="914400" rtl="0" eaLnBrk="0" latinLnBrk="0" hangingPunct="0">
                        <a:lnSpc>
                          <a:spcPct val="100000"/>
                        </a:lnSpc>
                        <a:spcBef>
                          <a:spcPts val="265"/>
                        </a:spcBef>
                        <a:spcAft>
                          <a:spcPts val="0"/>
                        </a:spcAft>
                        <a:buNone/>
                      </a:pPr>
                      <a:r>
                        <a:rPr lang="en-GB" sz="900" b="0" i="0" strike="noStrike" cap="none" baseline="0" noProof="0">
                          <a:solidFill>
                            <a:schemeClr val="tx2"/>
                          </a:solidFill>
                          <a:latin typeface="Arial" panose="020B0604020202020204" pitchFamily="34" charset="0"/>
                        </a:rPr>
                        <a:t>9.5</a:t>
                      </a:r>
                      <a:endParaRPr lang="en-GB" sz="900" b="0" i="0" strike="noStrike" cap="none" baseline="0" noProof="0">
                        <a:solidFill>
                          <a:schemeClr val="tx2"/>
                        </a:solidFill>
                        <a:latin typeface="Arial" panose="020B0604020202020204" pitchFamily="34" charset="0"/>
                        <a:ea typeface="PMingLiU"/>
                        <a:cs typeface="Times New Roman"/>
                      </a:endParaRPr>
                    </a:p>
                  </a:txBody>
                  <a:tcPr marL="45720" marT="9144" marB="9144" anchor="ctr">
                    <a:lnT w="6350" cap="flat" cmpd="sng" algn="ctr">
                      <a:solidFill>
                        <a:srgbClr val="CCCDCB">
                          <a:lumMod val="100000"/>
                        </a:srgbClr>
                      </a:solidFill>
                      <a:prstDash val="solid"/>
                      <a:round/>
                      <a:headEnd type="none" w="med" len="med"/>
                      <a:tailEnd type="none" w="med" len="med"/>
                    </a:lnT>
                    <a:lnB w="6350" cap="flat" cmpd="sng" algn="ctr">
                      <a:solidFill>
                        <a:srgbClr val="CCCDCB">
                          <a:lumMod val="100000"/>
                        </a:srgbClr>
                      </a:solidFill>
                      <a:prstDash val="solid"/>
                      <a:round/>
                      <a:headEnd type="none" w="med" len="med"/>
                      <a:tailEnd type="none" w="med" len="med"/>
                    </a:lnB>
                  </a:tcPr>
                </a:tc>
                <a:extLst>
                  <a:ext uri="{0D108BD9-81ED-4DB2-BD59-A6C34878D82A}">
                    <a16:rowId xmlns:a16="http://schemas.microsoft.com/office/drawing/2014/main" val="10010"/>
                  </a:ext>
                </a:extLst>
              </a:tr>
              <a:tr h="354951">
                <a:tc>
                  <a:txBody>
                    <a:bodyPr/>
                    <a:lstStyle/>
                    <a:p>
                      <a:pPr algn="l"/>
                      <a:r>
                        <a:rPr lang="en-US" sz="1000" b="1">
                          <a:solidFill>
                            <a:schemeClr val="tx2"/>
                          </a:solidFill>
                        </a:rPr>
                        <a:t>Market Growth Outlook</a:t>
                      </a:r>
                    </a:p>
                  </a:txBody>
                  <a:tcPr marT="0" marB="0" anchor="ctr">
                    <a:lnT w="6350" cmpd="sng">
                      <a:solidFill>
                        <a:srgbClr val="CCCDCB">
                          <a:lumMod val="100000"/>
                        </a:srgbClr>
                      </a:solidFill>
                      <a:prstDash val="solid"/>
                    </a:lnT>
                    <a:lnB w="6350" cmpd="sng">
                      <a:solidFill>
                        <a:srgbClr val="CCCDCB">
                          <a:lumMod val="100000"/>
                        </a:srgbClr>
                      </a:solidFill>
                      <a:prstDash val="solid"/>
                    </a:lnB>
                  </a:tcPr>
                </a:tc>
                <a:tc>
                  <a:txBody>
                    <a:bodyPr/>
                    <a:lstStyle/>
                    <a:p>
                      <a:pPr algn="ctr"/>
                      <a:r>
                        <a:rPr lang="en-US" sz="1000" b="0">
                          <a:solidFill>
                            <a:schemeClr val="tx2"/>
                          </a:solidFill>
                        </a:rPr>
                        <a:t>Cyclical</a:t>
                      </a:r>
                    </a:p>
                    <a:p>
                      <a:pPr algn="ctr"/>
                      <a:r>
                        <a:rPr lang="en-US" sz="1000" b="0">
                          <a:solidFill>
                            <a:schemeClr val="tx2"/>
                          </a:solidFill>
                        </a:rPr>
                        <a:t>Upturn</a:t>
                      </a:r>
                    </a:p>
                  </a:txBody>
                  <a:tcPr marT="0" marB="0" anchor="ctr">
                    <a:lnT w="6350" cmpd="sng">
                      <a:solidFill>
                        <a:srgbClr val="CCCDCB">
                          <a:lumMod val="100000"/>
                        </a:srgbClr>
                      </a:solidFill>
                      <a:prstDash val="solid"/>
                    </a:lnT>
                    <a:lnB w="6350" cmpd="sng">
                      <a:solidFill>
                        <a:srgbClr val="CCCDCB">
                          <a:lumMod val="100000"/>
                        </a:srgbClr>
                      </a:solidFill>
                      <a:prstDash val="solid"/>
                    </a:lnB>
                  </a:tcPr>
                </a:tc>
                <a:tc>
                  <a:txBody>
                    <a:bodyPr/>
                    <a:lstStyle/>
                    <a:p>
                      <a:pPr algn="ctr"/>
                      <a:r>
                        <a:rPr lang="en-US" sz="1000" b="0">
                          <a:solidFill>
                            <a:schemeClr val="tx2"/>
                          </a:solidFill>
                        </a:rPr>
                        <a:t>Cyclical</a:t>
                      </a:r>
                    </a:p>
                    <a:p>
                      <a:pPr algn="ctr"/>
                      <a:r>
                        <a:rPr lang="en-US" sz="1000" b="0">
                          <a:solidFill>
                            <a:schemeClr val="tx2"/>
                          </a:solidFill>
                        </a:rPr>
                        <a:t>Upturn</a:t>
                      </a:r>
                    </a:p>
                  </a:txBody>
                  <a:tcPr marT="0" marB="0" anchor="ctr">
                    <a:lnT w="6350" cmpd="sng">
                      <a:solidFill>
                        <a:srgbClr val="CCCDCB">
                          <a:lumMod val="100000"/>
                        </a:srgbClr>
                      </a:solidFill>
                      <a:prstDash val="solid"/>
                    </a:lnT>
                    <a:lnB w="6350" cmpd="sng">
                      <a:solidFill>
                        <a:srgbClr val="CCCDCB">
                          <a:lumMod val="100000"/>
                        </a:srgbClr>
                      </a:solidFill>
                      <a:prstDash val="solid"/>
                    </a:lnB>
                  </a:tcPr>
                </a:tc>
                <a:tc>
                  <a:txBody>
                    <a:bodyPr/>
                    <a:lstStyle/>
                    <a:p>
                      <a:pPr algn="ctr"/>
                      <a:r>
                        <a:rPr lang="en-US" sz="1000" b="0">
                          <a:solidFill>
                            <a:schemeClr val="tx2"/>
                          </a:solidFill>
                        </a:rPr>
                        <a:t>Cyclical</a:t>
                      </a:r>
                    </a:p>
                    <a:p>
                      <a:pPr algn="ctr"/>
                      <a:r>
                        <a:rPr lang="en-US" sz="1000" b="0">
                          <a:solidFill>
                            <a:schemeClr val="tx2"/>
                          </a:solidFill>
                        </a:rPr>
                        <a:t>Slowdown</a:t>
                      </a:r>
                    </a:p>
                  </a:txBody>
                  <a:tcPr marT="0" marB="0" anchor="ctr">
                    <a:lnT w="6350" cmpd="sng">
                      <a:solidFill>
                        <a:srgbClr val="CCCDCB">
                          <a:lumMod val="100000"/>
                        </a:srgbClr>
                      </a:solidFill>
                      <a:prstDash val="solid"/>
                    </a:lnT>
                    <a:lnB w="6350" cmpd="sng">
                      <a:solidFill>
                        <a:srgbClr val="CCCDCB">
                          <a:lumMod val="100000"/>
                        </a:srgbClr>
                      </a:solidFill>
                      <a:prstDash val="solid"/>
                    </a:lnB>
                  </a:tcPr>
                </a:tc>
                <a:tc>
                  <a:txBody>
                    <a:bodyPr/>
                    <a:lstStyle/>
                    <a:p>
                      <a:pPr algn="ctr"/>
                      <a:r>
                        <a:rPr lang="en-US" sz="1000">
                          <a:solidFill>
                            <a:schemeClr val="tx2"/>
                          </a:solidFill>
                          <a:latin typeface="+mj-lt"/>
                        </a:rPr>
                        <a:t>High Structural </a:t>
                      </a:r>
                    </a:p>
                    <a:p>
                      <a:pPr algn="ctr"/>
                      <a:r>
                        <a:rPr lang="en-US" sz="1000">
                          <a:solidFill>
                            <a:schemeClr val="tx2"/>
                          </a:solidFill>
                          <a:latin typeface="+mj-lt"/>
                        </a:rPr>
                        <a:t>Growth</a:t>
                      </a:r>
                    </a:p>
                  </a:txBody>
                  <a:tcPr marT="0" marB="0" anchor="ctr">
                    <a:lnT w="6350" cmpd="sng">
                      <a:solidFill>
                        <a:srgbClr val="CCCDCB">
                          <a:lumMod val="100000"/>
                        </a:srgbClr>
                      </a:solidFill>
                      <a:prstDash val="solid"/>
                    </a:lnT>
                    <a:lnB w="6350" cmpd="sng">
                      <a:solidFill>
                        <a:srgbClr val="CCCDCB">
                          <a:lumMod val="100000"/>
                        </a:srgbClr>
                      </a:solidFill>
                      <a:prstDash val="solid"/>
                    </a:lnB>
                  </a:tcPr>
                </a:tc>
                <a:extLst>
                  <a:ext uri="{0D108BD9-81ED-4DB2-BD59-A6C34878D82A}">
                    <a16:rowId xmlns:a16="http://schemas.microsoft.com/office/drawing/2014/main" val="10011"/>
                  </a:ext>
                </a:extLst>
              </a:tr>
              <a:tr h="457998">
                <a:tc>
                  <a:txBody>
                    <a:bodyPr/>
                    <a:lstStyle/>
                    <a:p>
                      <a:pPr algn="l"/>
                      <a:r>
                        <a:rPr lang="en-US" sz="1000" b="1">
                          <a:solidFill>
                            <a:schemeClr val="tx2"/>
                          </a:solidFill>
                        </a:rPr>
                        <a:t>Primary End-Markets</a:t>
                      </a:r>
                    </a:p>
                  </a:txBody>
                  <a:tcPr marT="0" marB="0" anchor="ctr">
                    <a:lnT w="6350" cmpd="sng">
                      <a:solidFill>
                        <a:srgbClr val="CCCDCB">
                          <a:lumMod val="100000"/>
                        </a:srgbClr>
                      </a:solidFill>
                      <a:prstDash val="solid"/>
                    </a:lnT>
                    <a:lnB w="6350" cmpd="sng">
                      <a:solidFill>
                        <a:srgbClr val="CCCDCB">
                          <a:lumMod val="100000"/>
                        </a:srgbClr>
                      </a:solidFill>
                      <a:prstDash val="solid"/>
                    </a:lnB>
                  </a:tcPr>
                </a:tc>
                <a:tc>
                  <a:txBody>
                    <a:bodyPr/>
                    <a:lstStyle/>
                    <a:p>
                      <a:pPr algn="ctr"/>
                      <a:r>
                        <a:rPr lang="en-US" sz="1000" b="0">
                          <a:solidFill>
                            <a:schemeClr val="tx2"/>
                          </a:solidFill>
                        </a:rPr>
                        <a:t>Upstream</a:t>
                      </a:r>
                    </a:p>
                    <a:p>
                      <a:pPr algn="ctr"/>
                      <a:r>
                        <a:rPr lang="en-US" sz="1000" b="0">
                          <a:solidFill>
                            <a:schemeClr val="tx2"/>
                          </a:solidFill>
                        </a:rPr>
                        <a:t>Oil &amp; Gas</a:t>
                      </a:r>
                    </a:p>
                  </a:txBody>
                  <a:tcPr marT="0" marB="0" anchor="ctr">
                    <a:lnT w="6350" cmpd="sng">
                      <a:solidFill>
                        <a:srgbClr val="CCCDCB">
                          <a:lumMod val="100000"/>
                        </a:srgbClr>
                      </a:solidFill>
                      <a:prstDash val="solid"/>
                    </a:lnT>
                    <a:lnB w="6350" cmpd="sng">
                      <a:solidFill>
                        <a:srgbClr val="CCCDCB">
                          <a:lumMod val="100000"/>
                        </a:srgbClr>
                      </a:solidFill>
                      <a:prstDash val="solid"/>
                    </a:lnB>
                  </a:tcPr>
                </a:tc>
                <a:tc>
                  <a:txBody>
                    <a:bodyPr/>
                    <a:lstStyle/>
                    <a:p>
                      <a:pPr algn="ctr"/>
                      <a:r>
                        <a:rPr lang="en-US" sz="1000" b="0">
                          <a:solidFill>
                            <a:schemeClr val="tx2"/>
                          </a:solidFill>
                        </a:rPr>
                        <a:t>Oil &amp; Gas and Petrochemicals</a:t>
                      </a:r>
                    </a:p>
                  </a:txBody>
                  <a:tcPr marT="0" marB="0" anchor="ctr">
                    <a:lnT w="6350" cmpd="sng">
                      <a:solidFill>
                        <a:srgbClr val="CCCDCB">
                          <a:lumMod val="100000"/>
                        </a:srgbClr>
                      </a:solidFill>
                      <a:prstDash val="solid"/>
                    </a:lnT>
                    <a:lnB w="6350" cmpd="sng">
                      <a:solidFill>
                        <a:srgbClr val="CCCDCB">
                          <a:lumMod val="100000"/>
                        </a:srgbClr>
                      </a:solidFill>
                      <a:prstDash val="solid"/>
                    </a:lnB>
                  </a:tcPr>
                </a:tc>
                <a:tc>
                  <a:txBody>
                    <a:bodyPr/>
                    <a:lstStyle/>
                    <a:p>
                      <a:pPr algn="ctr"/>
                      <a:r>
                        <a:rPr lang="en-US" sz="1000" b="0">
                          <a:solidFill>
                            <a:schemeClr val="tx2"/>
                          </a:solidFill>
                        </a:rPr>
                        <a:t>Automotive, Agribusiness, Construction, etc.</a:t>
                      </a:r>
                    </a:p>
                  </a:txBody>
                  <a:tcPr marT="0" marB="0" anchor="ctr">
                    <a:lnT w="6350" cmpd="sng">
                      <a:solidFill>
                        <a:srgbClr val="CCCDCB">
                          <a:lumMod val="100000"/>
                        </a:srgbClr>
                      </a:solidFill>
                      <a:prstDash val="solid"/>
                    </a:lnT>
                    <a:lnB w="6350" cmpd="sng">
                      <a:solidFill>
                        <a:srgbClr val="CCCDCB">
                          <a:lumMod val="100000"/>
                        </a:srgbClr>
                      </a:solidFill>
                      <a:prstDash val="solid"/>
                    </a:lnB>
                  </a:tcPr>
                </a:tc>
                <a:tc>
                  <a:txBody>
                    <a:bodyPr/>
                    <a:lstStyle/>
                    <a:p>
                      <a:pPr algn="ctr"/>
                      <a:r>
                        <a:rPr lang="en-US" sz="1000">
                          <a:solidFill>
                            <a:schemeClr val="tx2"/>
                          </a:solidFill>
                          <a:latin typeface="+mj-lt"/>
                        </a:rPr>
                        <a:t>Carbon Capture, Geothermal, Hydrogen</a:t>
                      </a:r>
                    </a:p>
                  </a:txBody>
                  <a:tcPr marT="0" marB="0" anchor="ctr">
                    <a:lnT w="6350" cmpd="sng">
                      <a:solidFill>
                        <a:srgbClr val="CCCDCB">
                          <a:lumMod val="100000"/>
                        </a:srgbClr>
                      </a:solidFill>
                      <a:prstDash val="solid"/>
                    </a:lnT>
                    <a:lnB w="6350" cmpd="sng">
                      <a:solidFill>
                        <a:srgbClr val="CCCDCB">
                          <a:lumMod val="100000"/>
                        </a:srgbClr>
                      </a:solidFill>
                      <a:prstDash val="solid"/>
                    </a:lnB>
                  </a:tcPr>
                </a:tc>
                <a:extLst>
                  <a:ext uri="{0D108BD9-81ED-4DB2-BD59-A6C34878D82A}">
                    <a16:rowId xmlns:a16="http://schemas.microsoft.com/office/drawing/2014/main" val="10012"/>
                  </a:ext>
                </a:extLst>
              </a:tr>
              <a:tr h="354951">
                <a:tc>
                  <a:txBody>
                    <a:bodyPr/>
                    <a:lstStyle/>
                    <a:p>
                      <a:pPr algn="l"/>
                      <a:r>
                        <a:rPr lang="en-US" sz="1000" b="1">
                          <a:solidFill>
                            <a:schemeClr val="tx2"/>
                          </a:solidFill>
                        </a:rPr>
                        <a:t>Primary Customers</a:t>
                      </a:r>
                    </a:p>
                  </a:txBody>
                  <a:tcPr marT="0" marB="0" anchor="ctr">
                    <a:lnT w="6350" cap="flat" cmpd="sng" algn="ctr">
                      <a:solidFill>
                        <a:srgbClr val="CCCDCB">
                          <a:lumMod val="100000"/>
                        </a:srgb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US" sz="1000" b="0">
                          <a:solidFill>
                            <a:schemeClr val="tx2"/>
                          </a:solidFill>
                        </a:rPr>
                        <a:t>Oil &amp; Gas </a:t>
                      </a:r>
                    </a:p>
                    <a:p>
                      <a:pPr algn="ctr"/>
                      <a:r>
                        <a:rPr lang="en-US" sz="1000" b="0">
                          <a:solidFill>
                            <a:schemeClr val="tx2"/>
                          </a:solidFill>
                        </a:rPr>
                        <a:t>Operators</a:t>
                      </a:r>
                    </a:p>
                  </a:txBody>
                  <a:tcPr marT="0" marB="0" anchor="ctr">
                    <a:lnT w="6350" cap="flat" cmpd="sng" algn="ctr">
                      <a:solidFill>
                        <a:srgbClr val="CCCDCB">
                          <a:lumMod val="100000"/>
                        </a:srgb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US" sz="1000" b="0">
                          <a:solidFill>
                            <a:schemeClr val="tx2"/>
                          </a:solidFill>
                        </a:rPr>
                        <a:t>Engineering &amp; Construction Firms</a:t>
                      </a:r>
                    </a:p>
                  </a:txBody>
                  <a:tcPr marT="0" marB="0" anchor="ctr">
                    <a:lnT w="6350" cap="flat" cmpd="sng" algn="ctr">
                      <a:solidFill>
                        <a:srgbClr val="CCCDCB">
                          <a:lumMod val="100000"/>
                        </a:srgb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US" sz="1000" b="0">
                          <a:solidFill>
                            <a:schemeClr val="tx2"/>
                          </a:solidFill>
                        </a:rPr>
                        <a:t>Diversified</a:t>
                      </a:r>
                    </a:p>
                  </a:txBody>
                  <a:tcPr marT="0" marB="0" anchor="ctr">
                    <a:lnT w="6350" cap="flat" cmpd="sng" algn="ctr">
                      <a:solidFill>
                        <a:srgbClr val="CCCDCB">
                          <a:lumMod val="100000"/>
                        </a:srgb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US" sz="1000">
                          <a:solidFill>
                            <a:schemeClr val="tx2"/>
                          </a:solidFill>
                          <a:latin typeface="+mj-lt"/>
                        </a:rPr>
                        <a:t>Diversified</a:t>
                      </a:r>
                    </a:p>
                  </a:txBody>
                  <a:tcPr marT="0" marB="0" anchor="ctr">
                    <a:lnT w="6350" cap="flat" cmpd="sng" algn="ctr">
                      <a:solidFill>
                        <a:srgbClr val="CCCDCB">
                          <a:lumMod val="100000"/>
                        </a:srgb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016"/>
                  </a:ext>
                </a:extLst>
              </a:tr>
            </a:tbl>
          </a:graphicData>
        </a:graphic>
      </p:graphicFrame>
      <p:pic>
        <p:nvPicPr>
          <p:cNvPr id="1036" name="Picture 12">
            <a:extLst>
              <a:ext uri="{FF2B5EF4-FFF2-40B4-BE49-F238E27FC236}">
                <a16:creationId xmlns:a16="http://schemas.microsoft.com/office/drawing/2014/main" id="{A68091E2-C4E1-1807-3907-013BC42B512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23487" y="871995"/>
            <a:ext cx="731520" cy="73152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20D8A93B-1461-BDDC-49D8-682088B873F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80180" y="903745"/>
            <a:ext cx="731520" cy="73152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5F10DDDD-05CE-177A-2FDA-B1B0138FD59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79494" y="903745"/>
            <a:ext cx="731520" cy="73152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FAA3F0B3-DC84-4030-A114-303DA1BA4D7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48202" y="903745"/>
            <a:ext cx="731520" cy="73152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9E4EC7FB-314E-4D77-9F21-A6894119C479}"/>
              </a:ext>
            </a:extLst>
          </p:cNvPr>
          <p:cNvSpPr txBox="1"/>
          <p:nvPr/>
        </p:nvSpPr>
        <p:spPr>
          <a:xfrm>
            <a:off x="458156" y="4390061"/>
            <a:ext cx="8281035" cy="296813"/>
          </a:xfrm>
          <a:prstGeom prst="rect">
            <a:avLst/>
          </a:prstGeom>
          <a:noFill/>
        </p:spPr>
        <p:txBody>
          <a:bodyPr vert="horz" wrap="square" lIns="0" tIns="0" rIns="0" bIns="0" rtlCol="0" anchor="t">
            <a:spAutoFit/>
          </a:bodyPr>
          <a:lstStyle/>
          <a:p>
            <a:pPr algn="l">
              <a:lnSpc>
                <a:spcPct val="110000"/>
              </a:lnSpc>
            </a:pPr>
            <a:r>
              <a:rPr lang="en-US" sz="600" i="1" baseline="30000">
                <a:solidFill>
                  <a:schemeClr val="tx2"/>
                </a:solidFill>
              </a:rPr>
              <a:t>1</a:t>
            </a:r>
            <a:r>
              <a:rPr lang="en-US" sz="600" i="1">
                <a:solidFill>
                  <a:schemeClr val="tx2"/>
                </a:solidFill>
              </a:rPr>
              <a:t> Refers only to continuing Industrial business in Brazil; excludes production from Germany</a:t>
            </a:r>
          </a:p>
          <a:p>
            <a:pPr algn="l">
              <a:lnSpc>
                <a:spcPct val="110000"/>
              </a:lnSpc>
            </a:pPr>
            <a:r>
              <a:rPr lang="en-US" sz="600" i="1" baseline="30000">
                <a:solidFill>
                  <a:schemeClr val="tx2"/>
                </a:solidFill>
              </a:rPr>
              <a:t>2</a:t>
            </a:r>
            <a:r>
              <a:rPr lang="en-US" sz="600" i="1">
                <a:solidFill>
                  <a:schemeClr val="tx2"/>
                </a:solidFill>
              </a:rPr>
              <a:t> Pro forma for New Vallourec plan</a:t>
            </a:r>
          </a:p>
          <a:p>
            <a:pPr algn="l">
              <a:lnSpc>
                <a:spcPct val="110000"/>
              </a:lnSpc>
            </a:pPr>
            <a:r>
              <a:rPr lang="en-US" sz="600" i="1">
                <a:solidFill>
                  <a:schemeClr val="tx2"/>
                </a:solidFill>
              </a:rPr>
              <a:t>Sources: Internal market intelligence based on public peer commentary, Rystad Energy, Preston Pipe, OCTG Situation Report, </a:t>
            </a:r>
            <a:r>
              <a:rPr lang="en-US" sz="600" i="1" err="1">
                <a:solidFill>
                  <a:schemeClr val="tx2"/>
                </a:solidFill>
              </a:rPr>
              <a:t>PipeLogix</a:t>
            </a:r>
            <a:endParaRPr lang="en-US" sz="600" i="1">
              <a:solidFill>
                <a:schemeClr val="tx2"/>
              </a:solidFill>
            </a:endParaRPr>
          </a:p>
        </p:txBody>
      </p:sp>
    </p:spTree>
    <p:custDataLst>
      <p:tags r:id="rId1"/>
    </p:custDataLst>
    <p:extLst>
      <p:ext uri="{BB962C8B-B14F-4D97-AF65-F5344CB8AC3E}">
        <p14:creationId xmlns:p14="http://schemas.microsoft.com/office/powerpoint/2010/main" val="2226415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7EAEBA-C920-9E80-63A2-C3527E167541}"/>
              </a:ext>
            </a:extLst>
          </p:cNvPr>
          <p:cNvSpPr>
            <a:spLocks noGrp="1"/>
          </p:cNvSpPr>
          <p:nvPr>
            <p:ph type="title"/>
          </p:nvPr>
        </p:nvSpPr>
        <p:spPr/>
        <p:txBody>
          <a:bodyPr/>
          <a:lstStyle/>
          <a:p>
            <a:r>
              <a:rPr lang="en-US"/>
              <a:t>Legal Disclaimer</a:t>
            </a:r>
          </a:p>
        </p:txBody>
      </p:sp>
      <p:sp>
        <p:nvSpPr>
          <p:cNvPr id="3" name="ZoneTexte 5">
            <a:extLst>
              <a:ext uri="{FF2B5EF4-FFF2-40B4-BE49-F238E27FC236}">
                <a16:creationId xmlns:a16="http://schemas.microsoft.com/office/drawing/2014/main" id="{5D79CA8D-0B20-CFB0-CE9F-78217454856F}"/>
              </a:ext>
            </a:extLst>
          </p:cNvPr>
          <p:cNvSpPr txBox="1"/>
          <p:nvPr/>
        </p:nvSpPr>
        <p:spPr>
          <a:xfrm>
            <a:off x="458155" y="1074117"/>
            <a:ext cx="8182926" cy="3339451"/>
          </a:xfrm>
          <a:prstGeom prst="rect">
            <a:avLst/>
          </a:prstGeom>
          <a:noFill/>
        </p:spPr>
        <p:txBody>
          <a:bodyPr wrap="square" rtlCol="0">
            <a:noAutofit/>
          </a:bodyPr>
          <a:lstStyle/>
          <a:p>
            <a:pPr algn="just"/>
            <a:r>
              <a:rPr lang="en-US" sz="900" b="1"/>
              <a:t>Forward-Looking Statements</a:t>
            </a:r>
          </a:p>
          <a:p>
            <a:pPr algn="just"/>
            <a:r>
              <a:rPr lang="en-US" sz="900"/>
              <a:t>This presentation includes forward-looking statements. These forward-looking statements can be identified by the use of forward-looking terminology, including the terms as “believe”, “expect”, “anticipate”, “may”, “assume”, “plan”, “intend”, “will”, “should”, “estimate”, “risk” and or, in each case, their negative, or other variations or comparable terminology. These forward-looking statements include all matters that are not historical facts and include statements regarding the Company’s intentions, beliefs or current expectations concerning, among other things, Vallourec’s results of operations, financial condition, liquidity, prospects, growth, strategies and the industries in which they operate. Readers are cautioned that forward-looking statements are not guarantees of future performance and that Vallourec’s or any of its affiliates’ actual results of operations, financial condition and liquidity, and the development of the industries in which they operate may differ materially from those made in or suggested by the forward-looking statements contained in this presentation. In addition, even if Vallourec’s or any of its affiliates’ results of operations, financial condition and liquidity, and the development of the industries in which they operate are consistent with the forward-looking statements contained in this presentation, those results or developments may not be indicative of results or developments in subsequent periods. By their nature, forward-looking statements involve risks and uncertainties because they relate to events and depend on circumstances that may or may not occur in the future. These risks include those developed or identified in the public documents filed by Vallourec with the French Financial Markets Authority (</a:t>
            </a:r>
            <a:r>
              <a:rPr lang="en-US" sz="900" err="1"/>
              <a:t>Autorité</a:t>
            </a:r>
            <a:r>
              <a:rPr lang="en-US" sz="900"/>
              <a:t> des </a:t>
            </a:r>
            <a:r>
              <a:rPr lang="en-US" sz="900" err="1"/>
              <a:t>marchés</a:t>
            </a:r>
            <a:r>
              <a:rPr lang="en-US" sz="900"/>
              <a:t> financiers, or “AMF”), including those listed in the “Risk Factors” section of the Registration Document filed with the AMF on March 14, 2024, under filing number n° D. 24-0113. </a:t>
            </a:r>
          </a:p>
          <a:p>
            <a:pPr algn="just"/>
            <a:r>
              <a:rPr lang="en-US" sz="900"/>
              <a:t>Accordingly, readers of this document are cautioned against relying on these forward-looking statements. These forward-looking statements are made as of the date of this document. Vallourec disclaims any intention or obligation to complete, update or revise these forward-looking statements, whether as a result of new information, future events or otherwise, except as required by applicable laws and regulations. This presentation does not constitute any offer to purchase or exchange, nor any solicitation of an offer to sell or exchange securities of Vallourec. For further information, please refer to the website www.vallourec.com.  </a:t>
            </a:r>
          </a:p>
          <a:p>
            <a:pPr algn="just"/>
            <a:endParaRPr lang="en-US" sz="900"/>
          </a:p>
          <a:p>
            <a:pPr algn="just"/>
            <a:r>
              <a:rPr lang="en-US" sz="900" b="1"/>
              <a:t>Information</a:t>
            </a:r>
          </a:p>
          <a:p>
            <a:pPr algn="just"/>
            <a:r>
              <a:rPr lang="en-US" sz="900"/>
              <a:t>Quarterly statements are unaudited and not subject to any review. Audit procedures have been carried out for the full year consolidated financial statements. </a:t>
            </a:r>
          </a:p>
          <a:p>
            <a:pPr algn="just"/>
            <a:r>
              <a:rPr lang="en-US" sz="900"/>
              <a:t>Unless otherwise specified, indicated variations are expressed in comparison with the same period of the previous year.</a:t>
            </a:r>
          </a:p>
          <a:p>
            <a:pPr algn="just"/>
            <a:endParaRPr lang="en-US" sz="900"/>
          </a:p>
          <a:p>
            <a:pPr algn="just"/>
            <a:endParaRPr lang="en-US" sz="700" b="1"/>
          </a:p>
          <a:p>
            <a:pPr algn="just"/>
            <a:endParaRPr lang="en-US" sz="700"/>
          </a:p>
        </p:txBody>
      </p:sp>
    </p:spTree>
    <p:extLst>
      <p:ext uri="{BB962C8B-B14F-4D97-AF65-F5344CB8AC3E}">
        <p14:creationId xmlns:p14="http://schemas.microsoft.com/office/powerpoint/2010/main" val="14606816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68CC1-A0A0-3F6D-50E0-6B4F7DCED978}"/>
              </a:ext>
            </a:extLst>
          </p:cNvPr>
          <p:cNvSpPr>
            <a:spLocks noGrp="1"/>
          </p:cNvSpPr>
          <p:nvPr>
            <p:ph type="title"/>
          </p:nvPr>
        </p:nvSpPr>
        <p:spPr/>
        <p:txBody>
          <a:bodyPr/>
          <a:lstStyle/>
          <a:p>
            <a:r>
              <a:rPr lang="en-US"/>
              <a:t>Limited Set of Premium Seamless Tube Suppliers</a:t>
            </a:r>
          </a:p>
        </p:txBody>
      </p:sp>
      <p:sp>
        <p:nvSpPr>
          <p:cNvPr id="5" name="Rectangle: Rounded Corners 4">
            <a:extLst>
              <a:ext uri="{FF2B5EF4-FFF2-40B4-BE49-F238E27FC236}">
                <a16:creationId xmlns:a16="http://schemas.microsoft.com/office/drawing/2014/main" id="{B87C9D00-A5FF-A8C1-D542-B17863147522}"/>
              </a:ext>
            </a:extLst>
          </p:cNvPr>
          <p:cNvSpPr/>
          <p:nvPr/>
        </p:nvSpPr>
        <p:spPr>
          <a:xfrm>
            <a:off x="2891315" y="963390"/>
            <a:ext cx="3361370" cy="1463040"/>
          </a:xfrm>
          <a:prstGeom prst="roundRect">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0">
            <a:prstTxWarp prst="textNoShape">
              <a:avLst/>
            </a:prstTxWarp>
            <a:noAutofit/>
          </a:bodyPr>
          <a:lstStyle/>
          <a:p>
            <a:pPr algn="ctr">
              <a:lnSpc>
                <a:spcPct val="110000"/>
              </a:lnSpc>
            </a:pPr>
            <a:r>
              <a:rPr lang="en-US" sz="1400" b="1" u="sng" dirty="0">
                <a:solidFill>
                  <a:schemeClr val="tx2"/>
                </a:solidFill>
              </a:rPr>
              <a:t>Tier 1 Global Suppliers</a:t>
            </a:r>
          </a:p>
          <a:p>
            <a:pPr algn="ctr">
              <a:lnSpc>
                <a:spcPct val="110000"/>
              </a:lnSpc>
            </a:pPr>
            <a:r>
              <a:rPr lang="en-US" sz="1200" b="1" dirty="0">
                <a:solidFill>
                  <a:schemeClr val="tx2"/>
                </a:solidFill>
              </a:rPr>
              <a:t>~6 million tonnes annual production</a:t>
            </a:r>
          </a:p>
        </p:txBody>
      </p:sp>
      <p:sp>
        <p:nvSpPr>
          <p:cNvPr id="7" name="Rectangle: Rounded Corners 6">
            <a:extLst>
              <a:ext uri="{FF2B5EF4-FFF2-40B4-BE49-F238E27FC236}">
                <a16:creationId xmlns:a16="http://schemas.microsoft.com/office/drawing/2014/main" id="{37BC30FF-EB1E-AB9D-43E1-6E6CBF7F1BA0}"/>
              </a:ext>
            </a:extLst>
          </p:cNvPr>
          <p:cNvSpPr/>
          <p:nvPr/>
        </p:nvSpPr>
        <p:spPr>
          <a:xfrm>
            <a:off x="458155" y="2839217"/>
            <a:ext cx="3361370" cy="1645920"/>
          </a:xfrm>
          <a:prstGeom prst="roundRect">
            <a:avLst/>
          </a:prstGeom>
          <a:noFill/>
          <a:ln w="12700">
            <a:solidFill>
              <a:schemeClr val="accent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0">
            <a:prstTxWarp prst="textNoShape">
              <a:avLst/>
            </a:prstTxWarp>
            <a:noAutofit/>
          </a:bodyPr>
          <a:lstStyle/>
          <a:p>
            <a:pPr algn="ctr">
              <a:lnSpc>
                <a:spcPct val="110000"/>
              </a:lnSpc>
            </a:pPr>
            <a:r>
              <a:rPr lang="en-US" sz="1400" b="1" u="sng">
                <a:solidFill>
                  <a:schemeClr val="tx2"/>
                </a:solidFill>
              </a:rPr>
              <a:t>Regional Western Suppliers</a:t>
            </a:r>
          </a:p>
          <a:p>
            <a:pPr algn="ctr">
              <a:lnSpc>
                <a:spcPct val="110000"/>
              </a:lnSpc>
            </a:pPr>
            <a:r>
              <a:rPr lang="en-US" sz="1200" b="1">
                <a:solidFill>
                  <a:schemeClr val="tx2"/>
                </a:solidFill>
              </a:rPr>
              <a:t>~2.5 million tonnes annual production</a:t>
            </a:r>
          </a:p>
        </p:txBody>
      </p:sp>
      <p:sp>
        <p:nvSpPr>
          <p:cNvPr id="13" name="Rectangle: Rounded Corners 12">
            <a:extLst>
              <a:ext uri="{FF2B5EF4-FFF2-40B4-BE49-F238E27FC236}">
                <a16:creationId xmlns:a16="http://schemas.microsoft.com/office/drawing/2014/main" id="{BB7AFF85-A5B5-4448-3446-E3A3405D0F8D}"/>
              </a:ext>
            </a:extLst>
          </p:cNvPr>
          <p:cNvSpPr/>
          <p:nvPr/>
        </p:nvSpPr>
        <p:spPr>
          <a:xfrm>
            <a:off x="5324475" y="2839216"/>
            <a:ext cx="3361370" cy="1645921"/>
          </a:xfrm>
          <a:prstGeom prst="roundRect">
            <a:avLst/>
          </a:prstGeom>
          <a:noFill/>
          <a:ln w="19050">
            <a:solidFill>
              <a:schemeClr val="accent4"/>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0">
            <a:prstTxWarp prst="textNoShape">
              <a:avLst/>
            </a:prstTxWarp>
            <a:noAutofit/>
          </a:bodyPr>
          <a:lstStyle/>
          <a:p>
            <a:pPr algn="ctr">
              <a:lnSpc>
                <a:spcPct val="110000"/>
              </a:lnSpc>
            </a:pPr>
            <a:r>
              <a:rPr lang="en-US" sz="1400" b="1" u="sng">
                <a:solidFill>
                  <a:schemeClr val="tx2"/>
                </a:solidFill>
              </a:rPr>
              <a:t>Asia and CIS Suppliers</a:t>
            </a:r>
          </a:p>
          <a:p>
            <a:pPr algn="ctr">
              <a:lnSpc>
                <a:spcPct val="110000"/>
              </a:lnSpc>
            </a:pPr>
            <a:r>
              <a:rPr lang="en-US" sz="1200" b="1">
                <a:solidFill>
                  <a:schemeClr val="tx2"/>
                </a:solidFill>
              </a:rPr>
              <a:t>&gt;10 million tonnes annual production</a:t>
            </a:r>
          </a:p>
        </p:txBody>
      </p:sp>
      <p:pic>
        <p:nvPicPr>
          <p:cNvPr id="38" name="Picture 8">
            <a:extLst>
              <a:ext uri="{FF2B5EF4-FFF2-40B4-BE49-F238E27FC236}">
                <a16:creationId xmlns:a16="http://schemas.microsoft.com/office/drawing/2014/main" id="{C3BB17B5-54CB-A36B-1332-A633DB68A4C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27327" y="3937808"/>
            <a:ext cx="417935" cy="417935"/>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Straight Connector 40">
            <a:extLst>
              <a:ext uri="{FF2B5EF4-FFF2-40B4-BE49-F238E27FC236}">
                <a16:creationId xmlns:a16="http://schemas.microsoft.com/office/drawing/2014/main" id="{9C31DA7C-C799-5C18-2004-48033E29A414}"/>
              </a:ext>
            </a:extLst>
          </p:cNvPr>
          <p:cNvCxnSpPr>
            <a:cxnSpLocks/>
          </p:cNvCxnSpPr>
          <p:nvPr/>
        </p:nvCxnSpPr>
        <p:spPr>
          <a:xfrm>
            <a:off x="287078" y="2607190"/>
            <a:ext cx="8595360" cy="0"/>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47" name="TextBox 46">
            <a:extLst>
              <a:ext uri="{FF2B5EF4-FFF2-40B4-BE49-F238E27FC236}">
                <a16:creationId xmlns:a16="http://schemas.microsoft.com/office/drawing/2014/main" id="{953FA93B-5BF8-F96F-1FD7-6C5EE6EC86AA}"/>
              </a:ext>
            </a:extLst>
          </p:cNvPr>
          <p:cNvSpPr txBox="1"/>
          <p:nvPr/>
        </p:nvSpPr>
        <p:spPr>
          <a:xfrm>
            <a:off x="2907344" y="2562006"/>
            <a:ext cx="3710375" cy="279757"/>
          </a:xfrm>
          <a:prstGeom prst="rect">
            <a:avLst/>
          </a:prstGeom>
          <a:noFill/>
        </p:spPr>
        <p:txBody>
          <a:bodyPr vert="horz" wrap="none" lIns="91440" tIns="45720" rIns="91440" bIns="45720" rtlCol="0" anchor="t">
            <a:spAutoFit/>
          </a:bodyPr>
          <a:lstStyle/>
          <a:p>
            <a:pPr algn="l">
              <a:lnSpc>
                <a:spcPct val="110000"/>
              </a:lnSpc>
            </a:pPr>
            <a:r>
              <a:rPr lang="en-US" sz="1200" i="1">
                <a:solidFill>
                  <a:schemeClr val="tx2"/>
                </a:solidFill>
              </a:rPr>
              <a:t>Suppliers Unable to Access Global Premium Market</a:t>
            </a:r>
          </a:p>
        </p:txBody>
      </p:sp>
      <p:sp>
        <p:nvSpPr>
          <p:cNvPr id="4" name="TextBox 3">
            <a:extLst>
              <a:ext uri="{FF2B5EF4-FFF2-40B4-BE49-F238E27FC236}">
                <a16:creationId xmlns:a16="http://schemas.microsoft.com/office/drawing/2014/main" id="{90AD60E2-8B6D-8372-3178-FAC3DF1066B1}"/>
              </a:ext>
            </a:extLst>
          </p:cNvPr>
          <p:cNvSpPr txBox="1"/>
          <p:nvPr/>
        </p:nvSpPr>
        <p:spPr>
          <a:xfrm>
            <a:off x="457200" y="4527868"/>
            <a:ext cx="8281035" cy="93680"/>
          </a:xfrm>
          <a:prstGeom prst="rect">
            <a:avLst/>
          </a:prstGeom>
          <a:noFill/>
        </p:spPr>
        <p:txBody>
          <a:bodyPr vert="horz" wrap="square" lIns="0" tIns="0" rIns="0" bIns="0" rtlCol="0" anchor="t">
            <a:spAutoFit/>
          </a:bodyPr>
          <a:lstStyle/>
          <a:p>
            <a:pPr algn="l">
              <a:lnSpc>
                <a:spcPct val="110000"/>
              </a:lnSpc>
            </a:pPr>
            <a:r>
              <a:rPr lang="en-US" sz="600" i="1">
                <a:solidFill>
                  <a:schemeClr val="tx2"/>
                </a:solidFill>
              </a:rPr>
              <a:t>Note: reflects production estimates for 2023</a:t>
            </a:r>
          </a:p>
        </p:txBody>
      </p:sp>
      <p:pic>
        <p:nvPicPr>
          <p:cNvPr id="10" name="Image 9">
            <a:extLst>
              <a:ext uri="{FF2B5EF4-FFF2-40B4-BE49-F238E27FC236}">
                <a16:creationId xmlns:a16="http://schemas.microsoft.com/office/drawing/2014/main" id="{24848201-EE79-70CD-DA0B-2CB4FCAC9041}"/>
              </a:ext>
            </a:extLst>
          </p:cNvPr>
          <p:cNvPicPr>
            <a:picLocks noChangeAspect="1"/>
          </p:cNvPicPr>
          <p:nvPr/>
        </p:nvPicPr>
        <p:blipFill>
          <a:blip r:embed="rId4"/>
          <a:stretch>
            <a:fillRect/>
          </a:stretch>
        </p:blipFill>
        <p:spPr>
          <a:xfrm>
            <a:off x="5833432" y="3958301"/>
            <a:ext cx="584938" cy="298691"/>
          </a:xfrm>
          <a:prstGeom prst="rect">
            <a:avLst/>
          </a:prstGeom>
        </p:spPr>
      </p:pic>
      <p:pic>
        <p:nvPicPr>
          <p:cNvPr id="9218" name="Picture 2">
            <a:extLst>
              <a:ext uri="{FF2B5EF4-FFF2-40B4-BE49-F238E27FC236}">
                <a16:creationId xmlns:a16="http://schemas.microsoft.com/office/drawing/2014/main" id="{68109F6E-E72B-2DFE-D223-B826A3EFF74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029" b="16906"/>
          <a:stretch/>
        </p:blipFill>
        <p:spPr bwMode="auto">
          <a:xfrm>
            <a:off x="3204883" y="1875369"/>
            <a:ext cx="1127825" cy="445273"/>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a:extLst>
              <a:ext uri="{FF2B5EF4-FFF2-40B4-BE49-F238E27FC236}">
                <a16:creationId xmlns:a16="http://schemas.microsoft.com/office/drawing/2014/main" id="{CD6B4B89-8334-6F01-9867-5301F481A0C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14951" y="1811079"/>
            <a:ext cx="641691" cy="494125"/>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a:extLst>
              <a:ext uri="{FF2B5EF4-FFF2-40B4-BE49-F238E27FC236}">
                <a16:creationId xmlns:a16="http://schemas.microsoft.com/office/drawing/2014/main" id="{950CD3EB-5275-626E-ED6C-9F5A605CA89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5803" b="21198"/>
          <a:stretch/>
        </p:blipFill>
        <p:spPr bwMode="auto">
          <a:xfrm>
            <a:off x="1061889" y="3476190"/>
            <a:ext cx="1169965" cy="344483"/>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Benteler | World Wide Metric">
            <a:extLst>
              <a:ext uri="{FF2B5EF4-FFF2-40B4-BE49-F238E27FC236}">
                <a16:creationId xmlns:a16="http://schemas.microsoft.com/office/drawing/2014/main" id="{ABD63C31-AAA7-D56D-B989-F2674775E99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08873" y="3622690"/>
            <a:ext cx="833632" cy="130834"/>
          </a:xfrm>
          <a:prstGeom prst="rect">
            <a:avLst/>
          </a:prstGeom>
          <a:noFill/>
          <a:extLst>
            <a:ext uri="{909E8E84-426E-40DD-AFC4-6F175D3DCCD1}">
              <a14:hiddenFill xmlns:a14="http://schemas.microsoft.com/office/drawing/2010/main">
                <a:solidFill>
                  <a:srgbClr val="FFFFFF"/>
                </a:solidFill>
              </a14:hiddenFill>
            </a:ext>
          </a:extLst>
        </p:spPr>
      </p:pic>
      <p:pic>
        <p:nvPicPr>
          <p:cNvPr id="9226" name="Picture 10" descr="Tubos Reunidos - BIND 4.0 Open Innovation &amp; Accelerator Program">
            <a:extLst>
              <a:ext uri="{FF2B5EF4-FFF2-40B4-BE49-F238E27FC236}">
                <a16:creationId xmlns:a16="http://schemas.microsoft.com/office/drawing/2014/main" id="{046FCA0A-DE86-B56A-87F0-3508E48B2DD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4564" t="21586" r="26743" b="17176"/>
          <a:stretch/>
        </p:blipFill>
        <p:spPr bwMode="auto">
          <a:xfrm>
            <a:off x="1986965" y="3868230"/>
            <a:ext cx="833632" cy="487512"/>
          </a:xfrm>
          <a:prstGeom prst="rect">
            <a:avLst/>
          </a:prstGeom>
          <a:noFill/>
          <a:extLst>
            <a:ext uri="{909E8E84-426E-40DD-AFC4-6F175D3DCCD1}">
              <a14:hiddenFill xmlns:a14="http://schemas.microsoft.com/office/drawing/2010/main">
                <a:solidFill>
                  <a:srgbClr val="FFFFFF"/>
                </a:solidFill>
              </a14:hiddenFill>
            </a:ext>
          </a:extLst>
        </p:spPr>
      </p:pic>
      <p:pic>
        <p:nvPicPr>
          <p:cNvPr id="9232" name="Picture 16">
            <a:extLst>
              <a:ext uri="{FF2B5EF4-FFF2-40B4-BE49-F238E27FC236}">
                <a16:creationId xmlns:a16="http://schemas.microsoft.com/office/drawing/2014/main" id="{A4C6623F-B23C-88CC-5EE2-F0431034ED3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18206" b="32123"/>
          <a:stretch/>
        </p:blipFill>
        <p:spPr bwMode="auto">
          <a:xfrm>
            <a:off x="789709" y="3954991"/>
            <a:ext cx="1082515" cy="195414"/>
          </a:xfrm>
          <a:prstGeom prst="rect">
            <a:avLst/>
          </a:prstGeom>
          <a:noFill/>
          <a:extLst>
            <a:ext uri="{909E8E84-426E-40DD-AFC4-6F175D3DCCD1}">
              <a14:hiddenFill xmlns:a14="http://schemas.microsoft.com/office/drawing/2010/main">
                <a:solidFill>
                  <a:srgbClr val="FFFFFF"/>
                </a:solidFill>
              </a14:hiddenFill>
            </a:ext>
          </a:extLst>
        </p:spPr>
      </p:pic>
      <p:pic>
        <p:nvPicPr>
          <p:cNvPr id="9234" name="Picture 18">
            <a:extLst>
              <a:ext uri="{FF2B5EF4-FFF2-40B4-BE49-F238E27FC236}">
                <a16:creationId xmlns:a16="http://schemas.microsoft.com/office/drawing/2014/main" id="{EA95A01C-D501-AA8A-9762-B471A5C4844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99317" y="3481813"/>
            <a:ext cx="1345944" cy="289752"/>
          </a:xfrm>
          <a:prstGeom prst="rect">
            <a:avLst/>
          </a:prstGeom>
          <a:noFill/>
          <a:extLst>
            <a:ext uri="{909E8E84-426E-40DD-AFC4-6F175D3DCCD1}">
              <a14:hiddenFill xmlns:a14="http://schemas.microsoft.com/office/drawing/2010/main">
                <a:solidFill>
                  <a:srgbClr val="FFFFFF"/>
                </a:solidFill>
              </a14:hiddenFill>
            </a:ext>
          </a:extLst>
        </p:spPr>
      </p:pic>
      <p:pic>
        <p:nvPicPr>
          <p:cNvPr id="9236" name="Picture 20" descr="CITIC Group – Wikipedia">
            <a:extLst>
              <a:ext uri="{FF2B5EF4-FFF2-40B4-BE49-F238E27FC236}">
                <a16:creationId xmlns:a16="http://schemas.microsoft.com/office/drawing/2014/main" id="{672CA279-6631-0788-81D8-3BF249DDE54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23665" y="3438654"/>
            <a:ext cx="603425" cy="61404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B20FF93E-76D3-962B-1A5B-536D9726E2E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002662" y="1584903"/>
            <a:ext cx="1190109" cy="273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04768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04976-F61E-2FE5-A7AF-91139B85EE5D}"/>
              </a:ext>
            </a:extLst>
          </p:cNvPr>
          <p:cNvSpPr>
            <a:spLocks noGrp="1"/>
          </p:cNvSpPr>
          <p:nvPr>
            <p:ph type="title"/>
          </p:nvPr>
        </p:nvSpPr>
        <p:spPr/>
        <p:txBody>
          <a:bodyPr/>
          <a:lstStyle/>
          <a:p>
            <a:r>
              <a:rPr lang="en-US"/>
              <a:t>Major Seamless OCTG Markets</a:t>
            </a:r>
          </a:p>
        </p:txBody>
      </p:sp>
      <p:sp>
        <p:nvSpPr>
          <p:cNvPr id="167" name="Subtitle 166">
            <a:extLst>
              <a:ext uri="{FF2B5EF4-FFF2-40B4-BE49-F238E27FC236}">
                <a16:creationId xmlns:a16="http://schemas.microsoft.com/office/drawing/2014/main" id="{9A4A6F62-0CB3-085F-F352-8B050661B3E1}"/>
              </a:ext>
            </a:extLst>
          </p:cNvPr>
          <p:cNvSpPr>
            <a:spLocks noGrp="1"/>
          </p:cNvSpPr>
          <p:nvPr>
            <p:ph type="subTitle" sz="quarter" idx="12"/>
          </p:nvPr>
        </p:nvSpPr>
        <p:spPr/>
        <p:txBody>
          <a:bodyPr/>
          <a:lstStyle/>
          <a:p>
            <a:r>
              <a:rPr lang="en-US"/>
              <a:t>2023 Market Size (Million Tonnes)</a:t>
            </a:r>
          </a:p>
        </p:txBody>
      </p:sp>
      <p:sp>
        <p:nvSpPr>
          <p:cNvPr id="5" name="Freeform 165">
            <a:extLst>
              <a:ext uri="{FF2B5EF4-FFF2-40B4-BE49-F238E27FC236}">
                <a16:creationId xmlns:a16="http://schemas.microsoft.com/office/drawing/2014/main" id="{DB73E38F-EB10-9F40-DFC6-859DBBAFD293}"/>
              </a:ext>
            </a:extLst>
          </p:cNvPr>
          <p:cNvSpPr>
            <a:spLocks noEditPoints="1"/>
          </p:cNvSpPr>
          <p:nvPr/>
        </p:nvSpPr>
        <p:spPr bwMode="auto">
          <a:xfrm>
            <a:off x="1744349" y="1095902"/>
            <a:ext cx="5688973" cy="2611183"/>
          </a:xfrm>
          <a:custGeom>
            <a:avLst/>
            <a:gdLst>
              <a:gd name="T0" fmla="*/ 1179 w 4564"/>
              <a:gd name="T1" fmla="*/ 1421 h 2489"/>
              <a:gd name="T2" fmla="*/ 838 w 4564"/>
              <a:gd name="T3" fmla="*/ 1281 h 2489"/>
              <a:gd name="T4" fmla="*/ 1001 w 4564"/>
              <a:gd name="T5" fmla="*/ 1184 h 2489"/>
              <a:gd name="T6" fmla="*/ 1298 w 4564"/>
              <a:gd name="T7" fmla="*/ 753 h 2489"/>
              <a:gd name="T8" fmla="*/ 1011 w 4564"/>
              <a:gd name="T9" fmla="*/ 670 h 2489"/>
              <a:gd name="T10" fmla="*/ 953 w 4564"/>
              <a:gd name="T11" fmla="*/ 314 h 2489"/>
              <a:gd name="T12" fmla="*/ 268 w 4564"/>
              <a:gd name="T13" fmla="*/ 348 h 2489"/>
              <a:gd name="T14" fmla="*/ 75 w 4564"/>
              <a:gd name="T15" fmla="*/ 682 h 2489"/>
              <a:gd name="T16" fmla="*/ 510 w 4564"/>
              <a:gd name="T17" fmla="*/ 1068 h 2489"/>
              <a:gd name="T18" fmla="*/ 1002 w 4564"/>
              <a:gd name="T19" fmla="*/ 1473 h 2489"/>
              <a:gd name="T20" fmla="*/ 1237 w 4564"/>
              <a:gd name="T21" fmla="*/ 2239 h 2489"/>
              <a:gd name="T22" fmla="*/ 1377 w 4564"/>
              <a:gd name="T23" fmla="*/ 803 h 2489"/>
              <a:gd name="T24" fmla="*/ 1179 w 4564"/>
              <a:gd name="T25" fmla="*/ 1289 h 2489"/>
              <a:gd name="T26" fmla="*/ 1190 w 4564"/>
              <a:gd name="T27" fmla="*/ 2489 h 2489"/>
              <a:gd name="T28" fmla="*/ 1020 w 4564"/>
              <a:gd name="T29" fmla="*/ 271 h 2489"/>
              <a:gd name="T30" fmla="*/ 1120 w 4564"/>
              <a:gd name="T31" fmla="*/ 242 h 2489"/>
              <a:gd name="T32" fmla="*/ 828 w 4564"/>
              <a:gd name="T33" fmla="*/ 320 h 2489"/>
              <a:gd name="T34" fmla="*/ 792 w 4564"/>
              <a:gd name="T35" fmla="*/ 232 h 2489"/>
              <a:gd name="T36" fmla="*/ 930 w 4564"/>
              <a:gd name="T37" fmla="*/ 200 h 2489"/>
              <a:gd name="T38" fmla="*/ 1024 w 4564"/>
              <a:gd name="T39" fmla="*/ 62 h 2489"/>
              <a:gd name="T40" fmla="*/ 1072 w 4564"/>
              <a:gd name="T41" fmla="*/ 40 h 2489"/>
              <a:gd name="T42" fmla="*/ 1719 w 4564"/>
              <a:gd name="T43" fmla="*/ 10 h 2489"/>
              <a:gd name="T44" fmla="*/ 1535 w 4564"/>
              <a:gd name="T45" fmla="*/ 518 h 2489"/>
              <a:gd name="T46" fmla="*/ 3340 w 4564"/>
              <a:gd name="T47" fmla="*/ 1480 h 2489"/>
              <a:gd name="T48" fmla="*/ 3540 w 4564"/>
              <a:gd name="T49" fmla="*/ 1487 h 2489"/>
              <a:gd name="T50" fmla="*/ 3684 w 4564"/>
              <a:gd name="T51" fmla="*/ 1685 h 2489"/>
              <a:gd name="T52" fmla="*/ 3720 w 4564"/>
              <a:gd name="T53" fmla="*/ 1286 h 2489"/>
              <a:gd name="T54" fmla="*/ 3899 w 4564"/>
              <a:gd name="T55" fmla="*/ 1407 h 2489"/>
              <a:gd name="T56" fmla="*/ 3854 w 4564"/>
              <a:gd name="T57" fmla="*/ 1710 h 2489"/>
              <a:gd name="T58" fmla="*/ 4226 w 4564"/>
              <a:gd name="T59" fmla="*/ 1689 h 2489"/>
              <a:gd name="T60" fmla="*/ 4080 w 4564"/>
              <a:gd name="T61" fmla="*/ 1817 h 2489"/>
              <a:gd name="T62" fmla="*/ 4013 w 4564"/>
              <a:gd name="T63" fmla="*/ 2117 h 2489"/>
              <a:gd name="T64" fmla="*/ 4499 w 4564"/>
              <a:gd name="T65" fmla="*/ 2237 h 2489"/>
              <a:gd name="T66" fmla="*/ 3974 w 4564"/>
              <a:gd name="T67" fmla="*/ 1034 h 2489"/>
              <a:gd name="T68" fmla="*/ 4076 w 4564"/>
              <a:gd name="T69" fmla="*/ 826 h 2489"/>
              <a:gd name="T70" fmla="*/ 2521 w 4564"/>
              <a:gd name="T71" fmla="*/ 157 h 2489"/>
              <a:gd name="T72" fmla="*/ 2998 w 4564"/>
              <a:gd name="T73" fmla="*/ 177 h 2489"/>
              <a:gd name="T74" fmla="*/ 3320 w 4564"/>
              <a:gd name="T75" fmla="*/ 88 h 2489"/>
              <a:gd name="T76" fmla="*/ 4373 w 4564"/>
              <a:gd name="T77" fmla="*/ 323 h 2489"/>
              <a:gd name="T78" fmla="*/ 2148 w 4564"/>
              <a:gd name="T79" fmla="*/ 718 h 2489"/>
              <a:gd name="T80" fmla="*/ 2219 w 4564"/>
              <a:gd name="T81" fmla="*/ 621 h 2489"/>
              <a:gd name="T82" fmla="*/ 4404 w 4564"/>
              <a:gd name="T83" fmla="*/ 449 h 2489"/>
              <a:gd name="T84" fmla="*/ 3726 w 4564"/>
              <a:gd name="T85" fmla="*/ 284 h 2489"/>
              <a:gd name="T86" fmla="*/ 3150 w 4564"/>
              <a:gd name="T87" fmla="*/ 320 h 2489"/>
              <a:gd name="T88" fmla="*/ 3011 w 4564"/>
              <a:gd name="T89" fmla="*/ 350 h 2489"/>
              <a:gd name="T90" fmla="*/ 2659 w 4564"/>
              <a:gd name="T91" fmla="*/ 354 h 2489"/>
              <a:gd name="T92" fmla="*/ 2443 w 4564"/>
              <a:gd name="T93" fmla="*/ 636 h 2489"/>
              <a:gd name="T94" fmla="*/ 2526 w 4564"/>
              <a:gd name="T95" fmla="*/ 598 h 2489"/>
              <a:gd name="T96" fmla="*/ 2238 w 4564"/>
              <a:gd name="T97" fmla="*/ 760 h 2489"/>
              <a:gd name="T98" fmla="*/ 2256 w 4564"/>
              <a:gd name="T99" fmla="*/ 926 h 2489"/>
              <a:gd name="T100" fmla="*/ 2497 w 4564"/>
              <a:gd name="T101" fmla="*/ 933 h 2489"/>
              <a:gd name="T102" fmla="*/ 2634 w 4564"/>
              <a:gd name="T103" fmla="*/ 849 h 2489"/>
              <a:gd name="T104" fmla="*/ 2628 w 4564"/>
              <a:gd name="T105" fmla="*/ 1002 h 2489"/>
              <a:gd name="T106" fmla="*/ 2395 w 4564"/>
              <a:gd name="T107" fmla="*/ 985 h 2489"/>
              <a:gd name="T108" fmla="*/ 2095 w 4564"/>
              <a:gd name="T109" fmla="*/ 1459 h 2489"/>
              <a:gd name="T110" fmla="*/ 2428 w 4564"/>
              <a:gd name="T111" fmla="*/ 1703 h 2489"/>
              <a:gd name="T112" fmla="*/ 2782 w 4564"/>
              <a:gd name="T113" fmla="*/ 1719 h 2489"/>
              <a:gd name="T114" fmla="*/ 2693 w 4564"/>
              <a:gd name="T115" fmla="*/ 1114 h 2489"/>
              <a:gd name="T116" fmla="*/ 2960 w 4564"/>
              <a:gd name="T117" fmla="*/ 1195 h 2489"/>
              <a:gd name="T118" fmla="*/ 3404 w 4564"/>
              <a:gd name="T119" fmla="*/ 1244 h 2489"/>
              <a:gd name="T120" fmla="*/ 3589 w 4564"/>
              <a:gd name="T121" fmla="*/ 1375 h 2489"/>
              <a:gd name="T122" fmla="*/ 3866 w 4564"/>
              <a:gd name="T123" fmla="*/ 959 h 2489"/>
              <a:gd name="T124" fmla="*/ 4194 w 4564"/>
              <a:gd name="T125" fmla="*/ 528 h 2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64" h="2489">
                <a:moveTo>
                  <a:pt x="1537" y="1620"/>
                </a:moveTo>
                <a:lnTo>
                  <a:pt x="1463" y="1620"/>
                </a:lnTo>
                <a:lnTo>
                  <a:pt x="1436" y="1592"/>
                </a:lnTo>
                <a:lnTo>
                  <a:pt x="1436" y="1592"/>
                </a:lnTo>
                <a:lnTo>
                  <a:pt x="1403" y="1592"/>
                </a:lnTo>
                <a:lnTo>
                  <a:pt x="1394" y="1601"/>
                </a:lnTo>
                <a:lnTo>
                  <a:pt x="1387" y="1601"/>
                </a:lnTo>
                <a:lnTo>
                  <a:pt x="1397" y="1591"/>
                </a:lnTo>
                <a:lnTo>
                  <a:pt x="1397" y="1585"/>
                </a:lnTo>
                <a:lnTo>
                  <a:pt x="1397" y="1585"/>
                </a:lnTo>
                <a:lnTo>
                  <a:pt x="1375" y="1585"/>
                </a:lnTo>
                <a:lnTo>
                  <a:pt x="1358" y="1603"/>
                </a:lnTo>
                <a:lnTo>
                  <a:pt x="1349" y="1603"/>
                </a:lnTo>
                <a:lnTo>
                  <a:pt x="1372" y="1579"/>
                </a:lnTo>
                <a:lnTo>
                  <a:pt x="1372" y="1541"/>
                </a:lnTo>
                <a:lnTo>
                  <a:pt x="1361" y="1528"/>
                </a:lnTo>
                <a:lnTo>
                  <a:pt x="1338" y="1506"/>
                </a:lnTo>
                <a:lnTo>
                  <a:pt x="1331" y="1499"/>
                </a:lnTo>
                <a:lnTo>
                  <a:pt x="1315" y="1483"/>
                </a:lnTo>
                <a:lnTo>
                  <a:pt x="1299" y="1483"/>
                </a:lnTo>
                <a:lnTo>
                  <a:pt x="1289" y="1495"/>
                </a:lnTo>
                <a:lnTo>
                  <a:pt x="1280" y="1495"/>
                </a:lnTo>
                <a:lnTo>
                  <a:pt x="1280" y="1482"/>
                </a:lnTo>
                <a:lnTo>
                  <a:pt x="1231" y="1431"/>
                </a:lnTo>
                <a:lnTo>
                  <a:pt x="1231" y="1431"/>
                </a:lnTo>
                <a:lnTo>
                  <a:pt x="1231" y="1431"/>
                </a:lnTo>
                <a:lnTo>
                  <a:pt x="1231" y="1431"/>
                </a:lnTo>
                <a:lnTo>
                  <a:pt x="1231" y="1431"/>
                </a:lnTo>
                <a:lnTo>
                  <a:pt x="1214" y="1414"/>
                </a:lnTo>
                <a:lnTo>
                  <a:pt x="1224" y="1424"/>
                </a:lnTo>
                <a:lnTo>
                  <a:pt x="1214" y="1414"/>
                </a:lnTo>
                <a:lnTo>
                  <a:pt x="1187" y="1414"/>
                </a:lnTo>
                <a:lnTo>
                  <a:pt x="1179" y="1421"/>
                </a:lnTo>
                <a:lnTo>
                  <a:pt x="1148" y="1421"/>
                </a:lnTo>
                <a:lnTo>
                  <a:pt x="1120" y="1394"/>
                </a:lnTo>
                <a:lnTo>
                  <a:pt x="1082" y="1394"/>
                </a:lnTo>
                <a:lnTo>
                  <a:pt x="1082" y="1394"/>
                </a:lnTo>
                <a:lnTo>
                  <a:pt x="1082" y="1394"/>
                </a:lnTo>
                <a:lnTo>
                  <a:pt x="1073" y="1394"/>
                </a:lnTo>
                <a:lnTo>
                  <a:pt x="1064" y="1402"/>
                </a:lnTo>
                <a:lnTo>
                  <a:pt x="1051" y="1402"/>
                </a:lnTo>
                <a:lnTo>
                  <a:pt x="1010" y="1444"/>
                </a:lnTo>
                <a:lnTo>
                  <a:pt x="1005" y="1444"/>
                </a:lnTo>
                <a:lnTo>
                  <a:pt x="998" y="1444"/>
                </a:lnTo>
                <a:lnTo>
                  <a:pt x="991" y="1437"/>
                </a:lnTo>
                <a:lnTo>
                  <a:pt x="991" y="1437"/>
                </a:lnTo>
                <a:lnTo>
                  <a:pt x="943" y="1437"/>
                </a:lnTo>
                <a:lnTo>
                  <a:pt x="943" y="1424"/>
                </a:lnTo>
                <a:lnTo>
                  <a:pt x="932" y="1412"/>
                </a:lnTo>
                <a:lnTo>
                  <a:pt x="932" y="1345"/>
                </a:lnTo>
                <a:lnTo>
                  <a:pt x="930" y="1342"/>
                </a:lnTo>
                <a:lnTo>
                  <a:pt x="923" y="1335"/>
                </a:lnTo>
                <a:lnTo>
                  <a:pt x="880" y="1335"/>
                </a:lnTo>
                <a:lnTo>
                  <a:pt x="880" y="1335"/>
                </a:lnTo>
                <a:lnTo>
                  <a:pt x="880" y="1306"/>
                </a:lnTo>
                <a:lnTo>
                  <a:pt x="880" y="1296"/>
                </a:lnTo>
                <a:lnTo>
                  <a:pt x="889" y="1287"/>
                </a:lnTo>
                <a:lnTo>
                  <a:pt x="889" y="1287"/>
                </a:lnTo>
                <a:lnTo>
                  <a:pt x="889" y="1253"/>
                </a:lnTo>
                <a:lnTo>
                  <a:pt x="889" y="1253"/>
                </a:lnTo>
                <a:lnTo>
                  <a:pt x="858" y="1253"/>
                </a:lnTo>
                <a:lnTo>
                  <a:pt x="858" y="1253"/>
                </a:lnTo>
                <a:lnTo>
                  <a:pt x="856" y="1256"/>
                </a:lnTo>
                <a:lnTo>
                  <a:pt x="848" y="1263"/>
                </a:lnTo>
                <a:lnTo>
                  <a:pt x="848" y="1271"/>
                </a:lnTo>
                <a:lnTo>
                  <a:pt x="838" y="1281"/>
                </a:lnTo>
                <a:lnTo>
                  <a:pt x="833" y="1286"/>
                </a:lnTo>
                <a:lnTo>
                  <a:pt x="772" y="1286"/>
                </a:lnTo>
                <a:lnTo>
                  <a:pt x="766" y="1280"/>
                </a:lnTo>
                <a:lnTo>
                  <a:pt x="766" y="1254"/>
                </a:lnTo>
                <a:lnTo>
                  <a:pt x="758" y="1245"/>
                </a:lnTo>
                <a:lnTo>
                  <a:pt x="758" y="1178"/>
                </a:lnTo>
                <a:lnTo>
                  <a:pt x="758" y="1178"/>
                </a:lnTo>
                <a:lnTo>
                  <a:pt x="758" y="1176"/>
                </a:lnTo>
                <a:lnTo>
                  <a:pt x="758" y="1156"/>
                </a:lnTo>
                <a:lnTo>
                  <a:pt x="768" y="1156"/>
                </a:lnTo>
                <a:lnTo>
                  <a:pt x="768" y="1156"/>
                </a:lnTo>
                <a:lnTo>
                  <a:pt x="812" y="1112"/>
                </a:lnTo>
                <a:lnTo>
                  <a:pt x="820" y="1112"/>
                </a:lnTo>
                <a:lnTo>
                  <a:pt x="830" y="1120"/>
                </a:lnTo>
                <a:lnTo>
                  <a:pt x="834" y="1120"/>
                </a:lnTo>
                <a:lnTo>
                  <a:pt x="834" y="1120"/>
                </a:lnTo>
                <a:lnTo>
                  <a:pt x="834" y="1110"/>
                </a:lnTo>
                <a:lnTo>
                  <a:pt x="843" y="1110"/>
                </a:lnTo>
                <a:lnTo>
                  <a:pt x="843" y="1123"/>
                </a:lnTo>
                <a:lnTo>
                  <a:pt x="869" y="1123"/>
                </a:lnTo>
                <a:lnTo>
                  <a:pt x="874" y="1117"/>
                </a:lnTo>
                <a:lnTo>
                  <a:pt x="874" y="1117"/>
                </a:lnTo>
                <a:lnTo>
                  <a:pt x="874" y="1109"/>
                </a:lnTo>
                <a:lnTo>
                  <a:pt x="936" y="1109"/>
                </a:lnTo>
                <a:lnTo>
                  <a:pt x="959" y="1132"/>
                </a:lnTo>
                <a:lnTo>
                  <a:pt x="959" y="1169"/>
                </a:lnTo>
                <a:lnTo>
                  <a:pt x="971" y="1181"/>
                </a:lnTo>
                <a:lnTo>
                  <a:pt x="971" y="1188"/>
                </a:lnTo>
                <a:lnTo>
                  <a:pt x="988" y="1205"/>
                </a:lnTo>
                <a:lnTo>
                  <a:pt x="994" y="1205"/>
                </a:lnTo>
                <a:lnTo>
                  <a:pt x="998" y="1199"/>
                </a:lnTo>
                <a:lnTo>
                  <a:pt x="1001" y="1198"/>
                </a:lnTo>
                <a:lnTo>
                  <a:pt x="1001" y="1184"/>
                </a:lnTo>
                <a:lnTo>
                  <a:pt x="989" y="1172"/>
                </a:lnTo>
                <a:lnTo>
                  <a:pt x="989" y="1130"/>
                </a:lnTo>
                <a:lnTo>
                  <a:pt x="981" y="1122"/>
                </a:lnTo>
                <a:lnTo>
                  <a:pt x="981" y="1081"/>
                </a:lnTo>
                <a:lnTo>
                  <a:pt x="1028" y="1035"/>
                </a:lnTo>
                <a:lnTo>
                  <a:pt x="1050" y="1035"/>
                </a:lnTo>
                <a:lnTo>
                  <a:pt x="1061" y="1022"/>
                </a:lnTo>
                <a:lnTo>
                  <a:pt x="1061" y="993"/>
                </a:lnTo>
                <a:lnTo>
                  <a:pt x="1070" y="983"/>
                </a:lnTo>
                <a:lnTo>
                  <a:pt x="1141" y="914"/>
                </a:lnTo>
                <a:lnTo>
                  <a:pt x="1141" y="881"/>
                </a:lnTo>
                <a:lnTo>
                  <a:pt x="1146" y="875"/>
                </a:lnTo>
                <a:lnTo>
                  <a:pt x="1154" y="868"/>
                </a:lnTo>
                <a:lnTo>
                  <a:pt x="1171" y="868"/>
                </a:lnTo>
                <a:lnTo>
                  <a:pt x="1171" y="868"/>
                </a:lnTo>
                <a:lnTo>
                  <a:pt x="1179" y="860"/>
                </a:lnTo>
                <a:lnTo>
                  <a:pt x="1191" y="848"/>
                </a:lnTo>
                <a:lnTo>
                  <a:pt x="1215" y="824"/>
                </a:lnTo>
                <a:lnTo>
                  <a:pt x="1230" y="824"/>
                </a:lnTo>
                <a:lnTo>
                  <a:pt x="1230" y="835"/>
                </a:lnTo>
                <a:lnTo>
                  <a:pt x="1208" y="855"/>
                </a:lnTo>
                <a:lnTo>
                  <a:pt x="1198" y="865"/>
                </a:lnTo>
                <a:lnTo>
                  <a:pt x="1207" y="874"/>
                </a:lnTo>
                <a:lnTo>
                  <a:pt x="1251" y="829"/>
                </a:lnTo>
                <a:lnTo>
                  <a:pt x="1251" y="819"/>
                </a:lnTo>
                <a:lnTo>
                  <a:pt x="1228" y="798"/>
                </a:lnTo>
                <a:lnTo>
                  <a:pt x="1228" y="783"/>
                </a:lnTo>
                <a:lnTo>
                  <a:pt x="1220" y="773"/>
                </a:lnTo>
                <a:lnTo>
                  <a:pt x="1204" y="789"/>
                </a:lnTo>
                <a:lnTo>
                  <a:pt x="1177" y="789"/>
                </a:lnTo>
                <a:lnTo>
                  <a:pt x="1177" y="779"/>
                </a:lnTo>
                <a:lnTo>
                  <a:pt x="1203" y="753"/>
                </a:lnTo>
                <a:lnTo>
                  <a:pt x="1298" y="753"/>
                </a:lnTo>
                <a:lnTo>
                  <a:pt x="1306" y="746"/>
                </a:lnTo>
                <a:lnTo>
                  <a:pt x="1312" y="740"/>
                </a:lnTo>
                <a:lnTo>
                  <a:pt x="1341" y="740"/>
                </a:lnTo>
                <a:lnTo>
                  <a:pt x="1348" y="733"/>
                </a:lnTo>
                <a:lnTo>
                  <a:pt x="1348" y="695"/>
                </a:lnTo>
                <a:lnTo>
                  <a:pt x="1348" y="695"/>
                </a:lnTo>
                <a:lnTo>
                  <a:pt x="1325" y="695"/>
                </a:lnTo>
                <a:lnTo>
                  <a:pt x="1302" y="674"/>
                </a:lnTo>
                <a:lnTo>
                  <a:pt x="1290" y="662"/>
                </a:lnTo>
                <a:lnTo>
                  <a:pt x="1290" y="618"/>
                </a:lnTo>
                <a:lnTo>
                  <a:pt x="1267" y="595"/>
                </a:lnTo>
                <a:lnTo>
                  <a:pt x="1267" y="570"/>
                </a:lnTo>
                <a:lnTo>
                  <a:pt x="1257" y="570"/>
                </a:lnTo>
                <a:lnTo>
                  <a:pt x="1233" y="593"/>
                </a:lnTo>
                <a:lnTo>
                  <a:pt x="1201" y="593"/>
                </a:lnTo>
                <a:lnTo>
                  <a:pt x="1201" y="551"/>
                </a:lnTo>
                <a:lnTo>
                  <a:pt x="1187" y="551"/>
                </a:lnTo>
                <a:lnTo>
                  <a:pt x="1159" y="524"/>
                </a:lnTo>
                <a:lnTo>
                  <a:pt x="1159" y="524"/>
                </a:lnTo>
                <a:lnTo>
                  <a:pt x="1128" y="524"/>
                </a:lnTo>
                <a:lnTo>
                  <a:pt x="1112" y="508"/>
                </a:lnTo>
                <a:lnTo>
                  <a:pt x="1103" y="508"/>
                </a:lnTo>
                <a:lnTo>
                  <a:pt x="1103" y="576"/>
                </a:lnTo>
                <a:lnTo>
                  <a:pt x="1086" y="595"/>
                </a:lnTo>
                <a:lnTo>
                  <a:pt x="1086" y="657"/>
                </a:lnTo>
                <a:lnTo>
                  <a:pt x="1080" y="662"/>
                </a:lnTo>
                <a:lnTo>
                  <a:pt x="1072" y="671"/>
                </a:lnTo>
                <a:lnTo>
                  <a:pt x="1072" y="729"/>
                </a:lnTo>
                <a:lnTo>
                  <a:pt x="1060" y="740"/>
                </a:lnTo>
                <a:lnTo>
                  <a:pt x="1027" y="740"/>
                </a:lnTo>
                <a:lnTo>
                  <a:pt x="1018" y="730"/>
                </a:lnTo>
                <a:lnTo>
                  <a:pt x="1018" y="677"/>
                </a:lnTo>
                <a:lnTo>
                  <a:pt x="1011" y="670"/>
                </a:lnTo>
                <a:lnTo>
                  <a:pt x="998" y="670"/>
                </a:lnTo>
                <a:lnTo>
                  <a:pt x="955" y="626"/>
                </a:lnTo>
                <a:lnTo>
                  <a:pt x="955" y="626"/>
                </a:lnTo>
                <a:lnTo>
                  <a:pt x="913" y="626"/>
                </a:lnTo>
                <a:lnTo>
                  <a:pt x="907" y="621"/>
                </a:lnTo>
                <a:lnTo>
                  <a:pt x="905" y="618"/>
                </a:lnTo>
                <a:lnTo>
                  <a:pt x="905" y="599"/>
                </a:lnTo>
                <a:lnTo>
                  <a:pt x="889" y="599"/>
                </a:lnTo>
                <a:lnTo>
                  <a:pt x="889" y="564"/>
                </a:lnTo>
                <a:lnTo>
                  <a:pt x="968" y="485"/>
                </a:lnTo>
                <a:lnTo>
                  <a:pt x="992" y="485"/>
                </a:lnTo>
                <a:lnTo>
                  <a:pt x="992" y="485"/>
                </a:lnTo>
                <a:lnTo>
                  <a:pt x="992" y="461"/>
                </a:lnTo>
                <a:lnTo>
                  <a:pt x="992" y="461"/>
                </a:lnTo>
                <a:lnTo>
                  <a:pt x="975" y="461"/>
                </a:lnTo>
                <a:lnTo>
                  <a:pt x="975" y="449"/>
                </a:lnTo>
                <a:lnTo>
                  <a:pt x="1012" y="449"/>
                </a:lnTo>
                <a:lnTo>
                  <a:pt x="1023" y="439"/>
                </a:lnTo>
                <a:lnTo>
                  <a:pt x="1025" y="435"/>
                </a:lnTo>
                <a:lnTo>
                  <a:pt x="1053" y="435"/>
                </a:lnTo>
                <a:lnTo>
                  <a:pt x="1076" y="412"/>
                </a:lnTo>
                <a:lnTo>
                  <a:pt x="1076" y="370"/>
                </a:lnTo>
                <a:lnTo>
                  <a:pt x="1067" y="360"/>
                </a:lnTo>
                <a:lnTo>
                  <a:pt x="1046" y="360"/>
                </a:lnTo>
                <a:lnTo>
                  <a:pt x="1020" y="386"/>
                </a:lnTo>
                <a:lnTo>
                  <a:pt x="1010" y="386"/>
                </a:lnTo>
                <a:lnTo>
                  <a:pt x="1007" y="383"/>
                </a:lnTo>
                <a:lnTo>
                  <a:pt x="1002" y="379"/>
                </a:lnTo>
                <a:lnTo>
                  <a:pt x="987" y="379"/>
                </a:lnTo>
                <a:lnTo>
                  <a:pt x="965" y="359"/>
                </a:lnTo>
                <a:lnTo>
                  <a:pt x="965" y="327"/>
                </a:lnTo>
                <a:lnTo>
                  <a:pt x="965" y="327"/>
                </a:lnTo>
                <a:lnTo>
                  <a:pt x="953" y="314"/>
                </a:lnTo>
                <a:lnTo>
                  <a:pt x="943" y="314"/>
                </a:lnTo>
                <a:lnTo>
                  <a:pt x="930" y="327"/>
                </a:lnTo>
                <a:lnTo>
                  <a:pt x="917" y="340"/>
                </a:lnTo>
                <a:lnTo>
                  <a:pt x="917" y="359"/>
                </a:lnTo>
                <a:lnTo>
                  <a:pt x="917" y="359"/>
                </a:lnTo>
                <a:lnTo>
                  <a:pt x="935" y="374"/>
                </a:lnTo>
                <a:lnTo>
                  <a:pt x="935" y="390"/>
                </a:lnTo>
                <a:lnTo>
                  <a:pt x="920" y="405"/>
                </a:lnTo>
                <a:lnTo>
                  <a:pt x="795" y="405"/>
                </a:lnTo>
                <a:lnTo>
                  <a:pt x="795" y="405"/>
                </a:lnTo>
                <a:lnTo>
                  <a:pt x="785" y="415"/>
                </a:lnTo>
                <a:lnTo>
                  <a:pt x="761" y="415"/>
                </a:lnTo>
                <a:lnTo>
                  <a:pt x="738" y="392"/>
                </a:lnTo>
                <a:lnTo>
                  <a:pt x="726" y="380"/>
                </a:lnTo>
                <a:lnTo>
                  <a:pt x="664" y="380"/>
                </a:lnTo>
                <a:lnTo>
                  <a:pt x="660" y="376"/>
                </a:lnTo>
                <a:lnTo>
                  <a:pt x="648" y="366"/>
                </a:lnTo>
                <a:lnTo>
                  <a:pt x="578" y="366"/>
                </a:lnTo>
                <a:lnTo>
                  <a:pt x="575" y="363"/>
                </a:lnTo>
                <a:lnTo>
                  <a:pt x="562" y="350"/>
                </a:lnTo>
                <a:lnTo>
                  <a:pt x="562" y="350"/>
                </a:lnTo>
                <a:lnTo>
                  <a:pt x="501" y="350"/>
                </a:lnTo>
                <a:lnTo>
                  <a:pt x="501" y="350"/>
                </a:lnTo>
                <a:lnTo>
                  <a:pt x="490" y="361"/>
                </a:lnTo>
                <a:lnTo>
                  <a:pt x="476" y="376"/>
                </a:lnTo>
                <a:lnTo>
                  <a:pt x="476" y="386"/>
                </a:lnTo>
                <a:lnTo>
                  <a:pt x="450" y="386"/>
                </a:lnTo>
                <a:lnTo>
                  <a:pt x="431" y="367"/>
                </a:lnTo>
                <a:lnTo>
                  <a:pt x="386" y="367"/>
                </a:lnTo>
                <a:lnTo>
                  <a:pt x="386" y="367"/>
                </a:lnTo>
                <a:lnTo>
                  <a:pt x="382" y="367"/>
                </a:lnTo>
                <a:lnTo>
                  <a:pt x="363" y="348"/>
                </a:lnTo>
                <a:lnTo>
                  <a:pt x="268" y="348"/>
                </a:lnTo>
                <a:lnTo>
                  <a:pt x="257" y="335"/>
                </a:lnTo>
                <a:lnTo>
                  <a:pt x="190" y="335"/>
                </a:lnTo>
                <a:lnTo>
                  <a:pt x="182" y="346"/>
                </a:lnTo>
                <a:lnTo>
                  <a:pt x="173" y="354"/>
                </a:lnTo>
                <a:lnTo>
                  <a:pt x="144" y="354"/>
                </a:lnTo>
                <a:lnTo>
                  <a:pt x="118" y="379"/>
                </a:lnTo>
                <a:lnTo>
                  <a:pt x="94" y="403"/>
                </a:lnTo>
                <a:lnTo>
                  <a:pt x="94" y="403"/>
                </a:lnTo>
                <a:lnTo>
                  <a:pt x="94" y="415"/>
                </a:lnTo>
                <a:lnTo>
                  <a:pt x="127" y="415"/>
                </a:lnTo>
                <a:lnTo>
                  <a:pt x="142" y="429"/>
                </a:lnTo>
                <a:lnTo>
                  <a:pt x="142" y="438"/>
                </a:lnTo>
                <a:lnTo>
                  <a:pt x="57" y="438"/>
                </a:lnTo>
                <a:lnTo>
                  <a:pt x="49" y="445"/>
                </a:lnTo>
                <a:lnTo>
                  <a:pt x="45" y="449"/>
                </a:lnTo>
                <a:lnTo>
                  <a:pt x="45" y="466"/>
                </a:lnTo>
                <a:lnTo>
                  <a:pt x="62" y="484"/>
                </a:lnTo>
                <a:lnTo>
                  <a:pt x="110" y="484"/>
                </a:lnTo>
                <a:lnTo>
                  <a:pt x="110" y="497"/>
                </a:lnTo>
                <a:lnTo>
                  <a:pt x="100" y="507"/>
                </a:lnTo>
                <a:lnTo>
                  <a:pt x="54" y="507"/>
                </a:lnTo>
                <a:lnTo>
                  <a:pt x="31" y="530"/>
                </a:lnTo>
                <a:lnTo>
                  <a:pt x="31" y="563"/>
                </a:lnTo>
                <a:lnTo>
                  <a:pt x="35" y="567"/>
                </a:lnTo>
                <a:lnTo>
                  <a:pt x="68" y="600"/>
                </a:lnTo>
                <a:lnTo>
                  <a:pt x="101" y="600"/>
                </a:lnTo>
                <a:lnTo>
                  <a:pt x="101" y="621"/>
                </a:lnTo>
                <a:lnTo>
                  <a:pt x="85" y="636"/>
                </a:lnTo>
                <a:lnTo>
                  <a:pt x="54" y="668"/>
                </a:lnTo>
                <a:lnTo>
                  <a:pt x="0" y="668"/>
                </a:lnTo>
                <a:lnTo>
                  <a:pt x="0" y="668"/>
                </a:lnTo>
                <a:lnTo>
                  <a:pt x="0" y="682"/>
                </a:lnTo>
                <a:lnTo>
                  <a:pt x="75" y="682"/>
                </a:lnTo>
                <a:lnTo>
                  <a:pt x="166" y="590"/>
                </a:lnTo>
                <a:lnTo>
                  <a:pt x="209" y="547"/>
                </a:lnTo>
                <a:lnTo>
                  <a:pt x="221" y="559"/>
                </a:lnTo>
                <a:lnTo>
                  <a:pt x="195" y="585"/>
                </a:lnTo>
                <a:lnTo>
                  <a:pt x="195" y="585"/>
                </a:lnTo>
                <a:lnTo>
                  <a:pt x="195" y="585"/>
                </a:lnTo>
                <a:lnTo>
                  <a:pt x="209" y="599"/>
                </a:lnTo>
                <a:lnTo>
                  <a:pt x="247" y="560"/>
                </a:lnTo>
                <a:lnTo>
                  <a:pt x="280" y="560"/>
                </a:lnTo>
                <a:lnTo>
                  <a:pt x="290" y="572"/>
                </a:lnTo>
                <a:lnTo>
                  <a:pt x="296" y="577"/>
                </a:lnTo>
                <a:lnTo>
                  <a:pt x="334" y="577"/>
                </a:lnTo>
                <a:lnTo>
                  <a:pt x="398" y="641"/>
                </a:lnTo>
                <a:lnTo>
                  <a:pt x="419" y="662"/>
                </a:lnTo>
                <a:lnTo>
                  <a:pt x="401" y="644"/>
                </a:lnTo>
                <a:lnTo>
                  <a:pt x="419" y="662"/>
                </a:lnTo>
                <a:lnTo>
                  <a:pt x="425" y="668"/>
                </a:lnTo>
                <a:lnTo>
                  <a:pt x="425" y="706"/>
                </a:lnTo>
                <a:lnTo>
                  <a:pt x="444" y="706"/>
                </a:lnTo>
                <a:lnTo>
                  <a:pt x="444" y="740"/>
                </a:lnTo>
                <a:lnTo>
                  <a:pt x="493" y="790"/>
                </a:lnTo>
                <a:lnTo>
                  <a:pt x="493" y="799"/>
                </a:lnTo>
                <a:lnTo>
                  <a:pt x="478" y="799"/>
                </a:lnTo>
                <a:lnTo>
                  <a:pt x="474" y="803"/>
                </a:lnTo>
                <a:lnTo>
                  <a:pt x="463" y="815"/>
                </a:lnTo>
                <a:lnTo>
                  <a:pt x="463" y="854"/>
                </a:lnTo>
                <a:lnTo>
                  <a:pt x="445" y="871"/>
                </a:lnTo>
                <a:lnTo>
                  <a:pt x="445" y="975"/>
                </a:lnTo>
                <a:lnTo>
                  <a:pt x="481" y="1011"/>
                </a:lnTo>
                <a:lnTo>
                  <a:pt x="481" y="1040"/>
                </a:lnTo>
                <a:lnTo>
                  <a:pt x="481" y="1040"/>
                </a:lnTo>
                <a:lnTo>
                  <a:pt x="488" y="1047"/>
                </a:lnTo>
                <a:lnTo>
                  <a:pt x="510" y="1068"/>
                </a:lnTo>
                <a:lnTo>
                  <a:pt x="510" y="1106"/>
                </a:lnTo>
                <a:lnTo>
                  <a:pt x="566" y="1162"/>
                </a:lnTo>
                <a:lnTo>
                  <a:pt x="566" y="1204"/>
                </a:lnTo>
                <a:lnTo>
                  <a:pt x="583" y="1221"/>
                </a:lnTo>
                <a:lnTo>
                  <a:pt x="589" y="1227"/>
                </a:lnTo>
                <a:lnTo>
                  <a:pt x="601" y="1227"/>
                </a:lnTo>
                <a:lnTo>
                  <a:pt x="601" y="1208"/>
                </a:lnTo>
                <a:lnTo>
                  <a:pt x="578" y="1185"/>
                </a:lnTo>
                <a:lnTo>
                  <a:pt x="578" y="1146"/>
                </a:lnTo>
                <a:lnTo>
                  <a:pt x="549" y="1117"/>
                </a:lnTo>
                <a:lnTo>
                  <a:pt x="549" y="1099"/>
                </a:lnTo>
                <a:lnTo>
                  <a:pt x="563" y="1112"/>
                </a:lnTo>
                <a:lnTo>
                  <a:pt x="588" y="1136"/>
                </a:lnTo>
                <a:lnTo>
                  <a:pt x="588" y="1162"/>
                </a:lnTo>
                <a:lnTo>
                  <a:pt x="648" y="1222"/>
                </a:lnTo>
                <a:lnTo>
                  <a:pt x="648" y="1271"/>
                </a:lnTo>
                <a:lnTo>
                  <a:pt x="697" y="1320"/>
                </a:lnTo>
                <a:lnTo>
                  <a:pt x="781" y="1320"/>
                </a:lnTo>
                <a:lnTo>
                  <a:pt x="808" y="1349"/>
                </a:lnTo>
                <a:lnTo>
                  <a:pt x="822" y="1364"/>
                </a:lnTo>
                <a:lnTo>
                  <a:pt x="834" y="1374"/>
                </a:lnTo>
                <a:lnTo>
                  <a:pt x="850" y="1374"/>
                </a:lnTo>
                <a:lnTo>
                  <a:pt x="850" y="1374"/>
                </a:lnTo>
                <a:lnTo>
                  <a:pt x="866" y="1374"/>
                </a:lnTo>
                <a:lnTo>
                  <a:pt x="877" y="1385"/>
                </a:lnTo>
                <a:lnTo>
                  <a:pt x="877" y="1385"/>
                </a:lnTo>
                <a:lnTo>
                  <a:pt x="902" y="1410"/>
                </a:lnTo>
                <a:lnTo>
                  <a:pt x="902" y="1412"/>
                </a:lnTo>
                <a:lnTo>
                  <a:pt x="902" y="1435"/>
                </a:lnTo>
                <a:lnTo>
                  <a:pt x="906" y="1440"/>
                </a:lnTo>
                <a:lnTo>
                  <a:pt x="930" y="1466"/>
                </a:lnTo>
                <a:lnTo>
                  <a:pt x="994" y="1466"/>
                </a:lnTo>
                <a:lnTo>
                  <a:pt x="1002" y="1473"/>
                </a:lnTo>
                <a:lnTo>
                  <a:pt x="1005" y="1476"/>
                </a:lnTo>
                <a:lnTo>
                  <a:pt x="1005" y="1536"/>
                </a:lnTo>
                <a:lnTo>
                  <a:pt x="962" y="1579"/>
                </a:lnTo>
                <a:lnTo>
                  <a:pt x="962" y="1649"/>
                </a:lnTo>
                <a:lnTo>
                  <a:pt x="962" y="1682"/>
                </a:lnTo>
                <a:lnTo>
                  <a:pt x="1004" y="1723"/>
                </a:lnTo>
                <a:lnTo>
                  <a:pt x="1004" y="1765"/>
                </a:lnTo>
                <a:lnTo>
                  <a:pt x="1103" y="1865"/>
                </a:lnTo>
                <a:lnTo>
                  <a:pt x="1103" y="1865"/>
                </a:lnTo>
                <a:lnTo>
                  <a:pt x="1105" y="1866"/>
                </a:lnTo>
                <a:lnTo>
                  <a:pt x="1105" y="2158"/>
                </a:lnTo>
                <a:lnTo>
                  <a:pt x="1090" y="2173"/>
                </a:lnTo>
                <a:lnTo>
                  <a:pt x="1090" y="2272"/>
                </a:lnTo>
                <a:lnTo>
                  <a:pt x="1103" y="2285"/>
                </a:lnTo>
                <a:lnTo>
                  <a:pt x="1103" y="2403"/>
                </a:lnTo>
                <a:lnTo>
                  <a:pt x="1167" y="2468"/>
                </a:lnTo>
                <a:lnTo>
                  <a:pt x="1172" y="2468"/>
                </a:lnTo>
                <a:lnTo>
                  <a:pt x="1172" y="2458"/>
                </a:lnTo>
                <a:lnTo>
                  <a:pt x="1185" y="2445"/>
                </a:lnTo>
                <a:lnTo>
                  <a:pt x="1185" y="2399"/>
                </a:lnTo>
                <a:lnTo>
                  <a:pt x="1197" y="2399"/>
                </a:lnTo>
                <a:lnTo>
                  <a:pt x="1197" y="2399"/>
                </a:lnTo>
                <a:lnTo>
                  <a:pt x="1197" y="2367"/>
                </a:lnTo>
                <a:lnTo>
                  <a:pt x="1208" y="2357"/>
                </a:lnTo>
                <a:lnTo>
                  <a:pt x="1208" y="2338"/>
                </a:lnTo>
                <a:lnTo>
                  <a:pt x="1195" y="2325"/>
                </a:lnTo>
                <a:lnTo>
                  <a:pt x="1195" y="2308"/>
                </a:lnTo>
                <a:lnTo>
                  <a:pt x="1234" y="2268"/>
                </a:lnTo>
                <a:lnTo>
                  <a:pt x="1234" y="2246"/>
                </a:lnTo>
                <a:lnTo>
                  <a:pt x="1221" y="2233"/>
                </a:lnTo>
                <a:lnTo>
                  <a:pt x="1226" y="2227"/>
                </a:lnTo>
                <a:lnTo>
                  <a:pt x="1237" y="2239"/>
                </a:lnTo>
                <a:lnTo>
                  <a:pt x="1237" y="2239"/>
                </a:lnTo>
                <a:lnTo>
                  <a:pt x="1246" y="2239"/>
                </a:lnTo>
                <a:lnTo>
                  <a:pt x="1246" y="2239"/>
                </a:lnTo>
                <a:lnTo>
                  <a:pt x="1246" y="2199"/>
                </a:lnTo>
                <a:lnTo>
                  <a:pt x="1287" y="2199"/>
                </a:lnTo>
                <a:lnTo>
                  <a:pt x="1306" y="2180"/>
                </a:lnTo>
                <a:lnTo>
                  <a:pt x="1306" y="2134"/>
                </a:lnTo>
                <a:lnTo>
                  <a:pt x="1292" y="2134"/>
                </a:lnTo>
                <a:lnTo>
                  <a:pt x="1292" y="2124"/>
                </a:lnTo>
                <a:lnTo>
                  <a:pt x="1292" y="2124"/>
                </a:lnTo>
                <a:lnTo>
                  <a:pt x="1342" y="2124"/>
                </a:lnTo>
                <a:lnTo>
                  <a:pt x="1374" y="2092"/>
                </a:lnTo>
                <a:lnTo>
                  <a:pt x="1374" y="2060"/>
                </a:lnTo>
                <a:lnTo>
                  <a:pt x="1393" y="2043"/>
                </a:lnTo>
                <a:lnTo>
                  <a:pt x="1410" y="2026"/>
                </a:lnTo>
                <a:lnTo>
                  <a:pt x="1410" y="1970"/>
                </a:lnTo>
                <a:lnTo>
                  <a:pt x="1429" y="1951"/>
                </a:lnTo>
                <a:lnTo>
                  <a:pt x="1446" y="1934"/>
                </a:lnTo>
                <a:lnTo>
                  <a:pt x="1502" y="1934"/>
                </a:lnTo>
                <a:lnTo>
                  <a:pt x="1502" y="1934"/>
                </a:lnTo>
                <a:lnTo>
                  <a:pt x="1502" y="1902"/>
                </a:lnTo>
                <a:lnTo>
                  <a:pt x="1513" y="1890"/>
                </a:lnTo>
                <a:lnTo>
                  <a:pt x="1525" y="1879"/>
                </a:lnTo>
                <a:lnTo>
                  <a:pt x="1525" y="1781"/>
                </a:lnTo>
                <a:lnTo>
                  <a:pt x="1574" y="1734"/>
                </a:lnTo>
                <a:lnTo>
                  <a:pt x="1574" y="1656"/>
                </a:lnTo>
                <a:lnTo>
                  <a:pt x="1537" y="1620"/>
                </a:lnTo>
                <a:close/>
                <a:moveTo>
                  <a:pt x="1329" y="753"/>
                </a:moveTo>
                <a:lnTo>
                  <a:pt x="1293" y="789"/>
                </a:lnTo>
                <a:lnTo>
                  <a:pt x="1293" y="809"/>
                </a:lnTo>
                <a:lnTo>
                  <a:pt x="1331" y="809"/>
                </a:lnTo>
                <a:lnTo>
                  <a:pt x="1331" y="824"/>
                </a:lnTo>
                <a:lnTo>
                  <a:pt x="1358" y="824"/>
                </a:lnTo>
                <a:lnTo>
                  <a:pt x="1377" y="803"/>
                </a:lnTo>
                <a:lnTo>
                  <a:pt x="1377" y="776"/>
                </a:lnTo>
                <a:lnTo>
                  <a:pt x="1352" y="776"/>
                </a:lnTo>
                <a:lnTo>
                  <a:pt x="1352" y="753"/>
                </a:lnTo>
                <a:lnTo>
                  <a:pt x="1329" y="753"/>
                </a:lnTo>
                <a:close/>
                <a:moveTo>
                  <a:pt x="1057" y="1263"/>
                </a:moveTo>
                <a:lnTo>
                  <a:pt x="1038" y="1263"/>
                </a:lnTo>
                <a:lnTo>
                  <a:pt x="1008" y="1231"/>
                </a:lnTo>
                <a:lnTo>
                  <a:pt x="933" y="1231"/>
                </a:lnTo>
                <a:lnTo>
                  <a:pt x="933" y="1244"/>
                </a:lnTo>
                <a:lnTo>
                  <a:pt x="991" y="1244"/>
                </a:lnTo>
                <a:lnTo>
                  <a:pt x="1010" y="1263"/>
                </a:lnTo>
                <a:lnTo>
                  <a:pt x="1010" y="1277"/>
                </a:lnTo>
                <a:lnTo>
                  <a:pt x="1057" y="1277"/>
                </a:lnTo>
                <a:lnTo>
                  <a:pt x="1057" y="1263"/>
                </a:lnTo>
                <a:close/>
                <a:moveTo>
                  <a:pt x="1038" y="1289"/>
                </a:moveTo>
                <a:lnTo>
                  <a:pt x="1010" y="1289"/>
                </a:lnTo>
                <a:lnTo>
                  <a:pt x="1010" y="1302"/>
                </a:lnTo>
                <a:lnTo>
                  <a:pt x="1038" y="1302"/>
                </a:lnTo>
                <a:lnTo>
                  <a:pt x="1038" y="1289"/>
                </a:lnTo>
                <a:close/>
                <a:moveTo>
                  <a:pt x="1129" y="1302"/>
                </a:moveTo>
                <a:lnTo>
                  <a:pt x="1138" y="1293"/>
                </a:lnTo>
                <a:lnTo>
                  <a:pt x="1138" y="1284"/>
                </a:lnTo>
                <a:lnTo>
                  <a:pt x="1119" y="1264"/>
                </a:lnTo>
                <a:lnTo>
                  <a:pt x="1082" y="1264"/>
                </a:lnTo>
                <a:lnTo>
                  <a:pt x="1082" y="1289"/>
                </a:lnTo>
                <a:lnTo>
                  <a:pt x="1057" y="1289"/>
                </a:lnTo>
                <a:lnTo>
                  <a:pt x="1057" y="1302"/>
                </a:lnTo>
                <a:lnTo>
                  <a:pt x="1086" y="1302"/>
                </a:lnTo>
                <a:lnTo>
                  <a:pt x="1129" y="1302"/>
                </a:lnTo>
                <a:close/>
                <a:moveTo>
                  <a:pt x="1156" y="1302"/>
                </a:moveTo>
                <a:lnTo>
                  <a:pt x="1172" y="1302"/>
                </a:lnTo>
                <a:lnTo>
                  <a:pt x="1179" y="1294"/>
                </a:lnTo>
                <a:lnTo>
                  <a:pt x="1179" y="1289"/>
                </a:lnTo>
                <a:lnTo>
                  <a:pt x="1156" y="1289"/>
                </a:lnTo>
                <a:lnTo>
                  <a:pt x="1156" y="1302"/>
                </a:lnTo>
                <a:close/>
                <a:moveTo>
                  <a:pt x="848" y="255"/>
                </a:moveTo>
                <a:lnTo>
                  <a:pt x="825" y="255"/>
                </a:lnTo>
                <a:lnTo>
                  <a:pt x="825" y="268"/>
                </a:lnTo>
                <a:lnTo>
                  <a:pt x="841" y="268"/>
                </a:lnTo>
                <a:lnTo>
                  <a:pt x="848" y="261"/>
                </a:lnTo>
                <a:lnTo>
                  <a:pt x="848" y="255"/>
                </a:lnTo>
                <a:close/>
                <a:moveTo>
                  <a:pt x="1156" y="397"/>
                </a:moveTo>
                <a:lnTo>
                  <a:pt x="1123" y="397"/>
                </a:lnTo>
                <a:lnTo>
                  <a:pt x="1123" y="416"/>
                </a:lnTo>
                <a:lnTo>
                  <a:pt x="1145" y="416"/>
                </a:lnTo>
                <a:lnTo>
                  <a:pt x="1156" y="405"/>
                </a:lnTo>
                <a:lnTo>
                  <a:pt x="1156" y="397"/>
                </a:lnTo>
                <a:close/>
                <a:moveTo>
                  <a:pt x="714" y="207"/>
                </a:moveTo>
                <a:lnTo>
                  <a:pt x="709" y="207"/>
                </a:lnTo>
                <a:lnTo>
                  <a:pt x="709" y="230"/>
                </a:lnTo>
                <a:lnTo>
                  <a:pt x="722" y="230"/>
                </a:lnTo>
                <a:lnTo>
                  <a:pt x="722" y="215"/>
                </a:lnTo>
                <a:lnTo>
                  <a:pt x="714" y="207"/>
                </a:lnTo>
                <a:close/>
                <a:moveTo>
                  <a:pt x="1120" y="367"/>
                </a:moveTo>
                <a:lnTo>
                  <a:pt x="1112" y="360"/>
                </a:lnTo>
                <a:lnTo>
                  <a:pt x="1108" y="360"/>
                </a:lnTo>
                <a:lnTo>
                  <a:pt x="1108" y="383"/>
                </a:lnTo>
                <a:lnTo>
                  <a:pt x="1120" y="383"/>
                </a:lnTo>
                <a:lnTo>
                  <a:pt x="1120" y="367"/>
                </a:lnTo>
                <a:close/>
                <a:moveTo>
                  <a:pt x="1213" y="2459"/>
                </a:moveTo>
                <a:lnTo>
                  <a:pt x="1201" y="2459"/>
                </a:lnTo>
                <a:lnTo>
                  <a:pt x="1201" y="2459"/>
                </a:lnTo>
                <a:lnTo>
                  <a:pt x="1192" y="2459"/>
                </a:lnTo>
                <a:lnTo>
                  <a:pt x="1175" y="2476"/>
                </a:lnTo>
                <a:lnTo>
                  <a:pt x="1182" y="2484"/>
                </a:lnTo>
                <a:lnTo>
                  <a:pt x="1190" y="2489"/>
                </a:lnTo>
                <a:lnTo>
                  <a:pt x="1207" y="2489"/>
                </a:lnTo>
                <a:lnTo>
                  <a:pt x="1213" y="2484"/>
                </a:lnTo>
                <a:lnTo>
                  <a:pt x="1237" y="2484"/>
                </a:lnTo>
                <a:lnTo>
                  <a:pt x="1237" y="2484"/>
                </a:lnTo>
                <a:lnTo>
                  <a:pt x="1226" y="2472"/>
                </a:lnTo>
                <a:lnTo>
                  <a:pt x="1213" y="2459"/>
                </a:lnTo>
                <a:close/>
                <a:moveTo>
                  <a:pt x="1277" y="2417"/>
                </a:moveTo>
                <a:lnTo>
                  <a:pt x="1277" y="2440"/>
                </a:lnTo>
                <a:lnTo>
                  <a:pt x="1286" y="2440"/>
                </a:lnTo>
                <a:lnTo>
                  <a:pt x="1292" y="2433"/>
                </a:lnTo>
                <a:lnTo>
                  <a:pt x="1323" y="2433"/>
                </a:lnTo>
                <a:lnTo>
                  <a:pt x="1323" y="2425"/>
                </a:lnTo>
                <a:lnTo>
                  <a:pt x="1315" y="2417"/>
                </a:lnTo>
                <a:lnTo>
                  <a:pt x="1277" y="2417"/>
                </a:lnTo>
                <a:close/>
                <a:moveTo>
                  <a:pt x="1008" y="461"/>
                </a:moveTo>
                <a:lnTo>
                  <a:pt x="1008" y="485"/>
                </a:lnTo>
                <a:lnTo>
                  <a:pt x="1025" y="501"/>
                </a:lnTo>
                <a:lnTo>
                  <a:pt x="1044" y="482"/>
                </a:lnTo>
                <a:lnTo>
                  <a:pt x="1061" y="482"/>
                </a:lnTo>
                <a:lnTo>
                  <a:pt x="1061" y="472"/>
                </a:lnTo>
                <a:lnTo>
                  <a:pt x="1050" y="461"/>
                </a:lnTo>
                <a:lnTo>
                  <a:pt x="1008" y="461"/>
                </a:lnTo>
                <a:close/>
                <a:moveTo>
                  <a:pt x="1226" y="314"/>
                </a:moveTo>
                <a:lnTo>
                  <a:pt x="1182" y="314"/>
                </a:lnTo>
                <a:lnTo>
                  <a:pt x="1152" y="284"/>
                </a:lnTo>
                <a:lnTo>
                  <a:pt x="1109" y="284"/>
                </a:lnTo>
                <a:lnTo>
                  <a:pt x="1109" y="259"/>
                </a:lnTo>
                <a:lnTo>
                  <a:pt x="1077" y="259"/>
                </a:lnTo>
                <a:lnTo>
                  <a:pt x="1061" y="275"/>
                </a:lnTo>
                <a:lnTo>
                  <a:pt x="1061" y="289"/>
                </a:lnTo>
                <a:lnTo>
                  <a:pt x="1051" y="289"/>
                </a:lnTo>
                <a:lnTo>
                  <a:pt x="1051" y="271"/>
                </a:lnTo>
                <a:lnTo>
                  <a:pt x="1020" y="271"/>
                </a:lnTo>
                <a:lnTo>
                  <a:pt x="1005" y="285"/>
                </a:lnTo>
                <a:lnTo>
                  <a:pt x="1005" y="321"/>
                </a:lnTo>
                <a:lnTo>
                  <a:pt x="1031" y="346"/>
                </a:lnTo>
                <a:lnTo>
                  <a:pt x="1132" y="346"/>
                </a:lnTo>
                <a:lnTo>
                  <a:pt x="1148" y="361"/>
                </a:lnTo>
                <a:lnTo>
                  <a:pt x="1148" y="377"/>
                </a:lnTo>
                <a:lnTo>
                  <a:pt x="1165" y="377"/>
                </a:lnTo>
                <a:lnTo>
                  <a:pt x="1179" y="392"/>
                </a:lnTo>
                <a:lnTo>
                  <a:pt x="1179" y="419"/>
                </a:lnTo>
                <a:lnTo>
                  <a:pt x="1159" y="439"/>
                </a:lnTo>
                <a:lnTo>
                  <a:pt x="1120" y="439"/>
                </a:lnTo>
                <a:lnTo>
                  <a:pt x="1109" y="449"/>
                </a:lnTo>
                <a:lnTo>
                  <a:pt x="1109" y="469"/>
                </a:lnTo>
                <a:lnTo>
                  <a:pt x="1123" y="484"/>
                </a:lnTo>
                <a:lnTo>
                  <a:pt x="1175" y="484"/>
                </a:lnTo>
                <a:lnTo>
                  <a:pt x="1211" y="520"/>
                </a:lnTo>
                <a:lnTo>
                  <a:pt x="1237" y="520"/>
                </a:lnTo>
                <a:lnTo>
                  <a:pt x="1237" y="507"/>
                </a:lnTo>
                <a:lnTo>
                  <a:pt x="1262" y="507"/>
                </a:lnTo>
                <a:lnTo>
                  <a:pt x="1262" y="459"/>
                </a:lnTo>
                <a:lnTo>
                  <a:pt x="1240" y="459"/>
                </a:lnTo>
                <a:lnTo>
                  <a:pt x="1240" y="432"/>
                </a:lnTo>
                <a:lnTo>
                  <a:pt x="1259" y="432"/>
                </a:lnTo>
                <a:lnTo>
                  <a:pt x="1286" y="459"/>
                </a:lnTo>
                <a:lnTo>
                  <a:pt x="1295" y="459"/>
                </a:lnTo>
                <a:lnTo>
                  <a:pt x="1312" y="443"/>
                </a:lnTo>
                <a:lnTo>
                  <a:pt x="1312" y="420"/>
                </a:lnTo>
                <a:lnTo>
                  <a:pt x="1289" y="399"/>
                </a:lnTo>
                <a:lnTo>
                  <a:pt x="1264" y="399"/>
                </a:lnTo>
                <a:lnTo>
                  <a:pt x="1246" y="380"/>
                </a:lnTo>
                <a:lnTo>
                  <a:pt x="1246" y="334"/>
                </a:lnTo>
                <a:lnTo>
                  <a:pt x="1226" y="314"/>
                </a:lnTo>
                <a:close/>
                <a:moveTo>
                  <a:pt x="1120" y="242"/>
                </a:moveTo>
                <a:lnTo>
                  <a:pt x="1120" y="215"/>
                </a:lnTo>
                <a:lnTo>
                  <a:pt x="1041" y="215"/>
                </a:lnTo>
                <a:lnTo>
                  <a:pt x="1025" y="199"/>
                </a:lnTo>
                <a:lnTo>
                  <a:pt x="1025" y="183"/>
                </a:lnTo>
                <a:lnTo>
                  <a:pt x="984" y="183"/>
                </a:lnTo>
                <a:lnTo>
                  <a:pt x="984" y="194"/>
                </a:lnTo>
                <a:lnTo>
                  <a:pt x="1031" y="242"/>
                </a:lnTo>
                <a:lnTo>
                  <a:pt x="1120" y="242"/>
                </a:lnTo>
                <a:close/>
                <a:moveTo>
                  <a:pt x="945" y="276"/>
                </a:moveTo>
                <a:lnTo>
                  <a:pt x="945" y="298"/>
                </a:lnTo>
                <a:lnTo>
                  <a:pt x="961" y="298"/>
                </a:lnTo>
                <a:lnTo>
                  <a:pt x="961" y="289"/>
                </a:lnTo>
                <a:lnTo>
                  <a:pt x="979" y="289"/>
                </a:lnTo>
                <a:lnTo>
                  <a:pt x="998" y="269"/>
                </a:lnTo>
                <a:lnTo>
                  <a:pt x="998" y="252"/>
                </a:lnTo>
                <a:lnTo>
                  <a:pt x="971" y="252"/>
                </a:lnTo>
                <a:lnTo>
                  <a:pt x="945" y="276"/>
                </a:lnTo>
                <a:close/>
                <a:moveTo>
                  <a:pt x="920" y="299"/>
                </a:moveTo>
                <a:lnTo>
                  <a:pt x="920" y="258"/>
                </a:lnTo>
                <a:lnTo>
                  <a:pt x="886" y="258"/>
                </a:lnTo>
                <a:lnTo>
                  <a:pt x="886" y="276"/>
                </a:lnTo>
                <a:lnTo>
                  <a:pt x="870" y="276"/>
                </a:lnTo>
                <a:lnTo>
                  <a:pt x="870" y="291"/>
                </a:lnTo>
                <a:lnTo>
                  <a:pt x="893" y="314"/>
                </a:lnTo>
                <a:lnTo>
                  <a:pt x="906" y="314"/>
                </a:lnTo>
                <a:lnTo>
                  <a:pt x="920" y="299"/>
                </a:lnTo>
                <a:close/>
                <a:moveTo>
                  <a:pt x="687" y="335"/>
                </a:moveTo>
                <a:lnTo>
                  <a:pt x="687" y="347"/>
                </a:lnTo>
                <a:lnTo>
                  <a:pt x="714" y="373"/>
                </a:lnTo>
                <a:lnTo>
                  <a:pt x="833" y="373"/>
                </a:lnTo>
                <a:lnTo>
                  <a:pt x="844" y="360"/>
                </a:lnTo>
                <a:lnTo>
                  <a:pt x="844" y="335"/>
                </a:lnTo>
                <a:lnTo>
                  <a:pt x="828" y="320"/>
                </a:lnTo>
                <a:lnTo>
                  <a:pt x="828" y="284"/>
                </a:lnTo>
                <a:lnTo>
                  <a:pt x="805" y="284"/>
                </a:lnTo>
                <a:lnTo>
                  <a:pt x="805" y="292"/>
                </a:lnTo>
                <a:lnTo>
                  <a:pt x="794" y="292"/>
                </a:lnTo>
                <a:lnTo>
                  <a:pt x="794" y="282"/>
                </a:lnTo>
                <a:lnTo>
                  <a:pt x="704" y="282"/>
                </a:lnTo>
                <a:lnTo>
                  <a:pt x="676" y="312"/>
                </a:lnTo>
                <a:lnTo>
                  <a:pt x="676" y="325"/>
                </a:lnTo>
                <a:lnTo>
                  <a:pt x="706" y="325"/>
                </a:lnTo>
                <a:lnTo>
                  <a:pt x="706" y="335"/>
                </a:lnTo>
                <a:lnTo>
                  <a:pt x="687" y="335"/>
                </a:lnTo>
                <a:close/>
                <a:moveTo>
                  <a:pt x="631" y="323"/>
                </a:moveTo>
                <a:lnTo>
                  <a:pt x="643" y="311"/>
                </a:lnTo>
                <a:lnTo>
                  <a:pt x="660" y="311"/>
                </a:lnTo>
                <a:lnTo>
                  <a:pt x="696" y="275"/>
                </a:lnTo>
                <a:lnTo>
                  <a:pt x="696" y="251"/>
                </a:lnTo>
                <a:lnTo>
                  <a:pt x="680" y="251"/>
                </a:lnTo>
                <a:lnTo>
                  <a:pt x="671" y="242"/>
                </a:lnTo>
                <a:lnTo>
                  <a:pt x="641" y="242"/>
                </a:lnTo>
                <a:lnTo>
                  <a:pt x="592" y="289"/>
                </a:lnTo>
                <a:lnTo>
                  <a:pt x="592" y="310"/>
                </a:lnTo>
                <a:lnTo>
                  <a:pt x="605" y="323"/>
                </a:lnTo>
                <a:lnTo>
                  <a:pt x="631" y="323"/>
                </a:lnTo>
                <a:close/>
                <a:moveTo>
                  <a:pt x="710" y="191"/>
                </a:moveTo>
                <a:lnTo>
                  <a:pt x="733" y="191"/>
                </a:lnTo>
                <a:lnTo>
                  <a:pt x="733" y="173"/>
                </a:lnTo>
                <a:lnTo>
                  <a:pt x="707" y="173"/>
                </a:lnTo>
                <a:lnTo>
                  <a:pt x="690" y="190"/>
                </a:lnTo>
                <a:lnTo>
                  <a:pt x="660" y="190"/>
                </a:lnTo>
                <a:lnTo>
                  <a:pt x="660" y="209"/>
                </a:lnTo>
                <a:lnTo>
                  <a:pt x="693" y="209"/>
                </a:lnTo>
                <a:lnTo>
                  <a:pt x="710" y="191"/>
                </a:lnTo>
                <a:close/>
                <a:moveTo>
                  <a:pt x="792" y="232"/>
                </a:moveTo>
                <a:lnTo>
                  <a:pt x="847" y="232"/>
                </a:lnTo>
                <a:lnTo>
                  <a:pt x="847" y="217"/>
                </a:lnTo>
                <a:lnTo>
                  <a:pt x="830" y="200"/>
                </a:lnTo>
                <a:lnTo>
                  <a:pt x="814" y="200"/>
                </a:lnTo>
                <a:lnTo>
                  <a:pt x="814" y="190"/>
                </a:lnTo>
                <a:lnTo>
                  <a:pt x="789" y="190"/>
                </a:lnTo>
                <a:lnTo>
                  <a:pt x="762" y="217"/>
                </a:lnTo>
                <a:lnTo>
                  <a:pt x="735" y="217"/>
                </a:lnTo>
                <a:lnTo>
                  <a:pt x="735" y="246"/>
                </a:lnTo>
                <a:lnTo>
                  <a:pt x="779" y="246"/>
                </a:lnTo>
                <a:lnTo>
                  <a:pt x="792" y="232"/>
                </a:lnTo>
                <a:close/>
                <a:moveTo>
                  <a:pt x="779" y="177"/>
                </a:moveTo>
                <a:lnTo>
                  <a:pt x="814" y="177"/>
                </a:lnTo>
                <a:lnTo>
                  <a:pt x="814" y="166"/>
                </a:lnTo>
                <a:lnTo>
                  <a:pt x="792" y="166"/>
                </a:lnTo>
                <a:lnTo>
                  <a:pt x="779" y="177"/>
                </a:lnTo>
                <a:close/>
                <a:moveTo>
                  <a:pt x="814" y="130"/>
                </a:moveTo>
                <a:lnTo>
                  <a:pt x="808" y="125"/>
                </a:lnTo>
                <a:lnTo>
                  <a:pt x="792" y="125"/>
                </a:lnTo>
                <a:lnTo>
                  <a:pt x="771" y="147"/>
                </a:lnTo>
                <a:lnTo>
                  <a:pt x="797" y="147"/>
                </a:lnTo>
                <a:lnTo>
                  <a:pt x="814" y="130"/>
                </a:lnTo>
                <a:close/>
                <a:moveTo>
                  <a:pt x="900" y="157"/>
                </a:moveTo>
                <a:lnTo>
                  <a:pt x="925" y="157"/>
                </a:lnTo>
                <a:lnTo>
                  <a:pt x="925" y="145"/>
                </a:lnTo>
                <a:lnTo>
                  <a:pt x="903" y="124"/>
                </a:lnTo>
                <a:lnTo>
                  <a:pt x="869" y="124"/>
                </a:lnTo>
                <a:lnTo>
                  <a:pt x="869" y="145"/>
                </a:lnTo>
                <a:lnTo>
                  <a:pt x="889" y="145"/>
                </a:lnTo>
                <a:lnTo>
                  <a:pt x="900" y="157"/>
                </a:lnTo>
                <a:close/>
                <a:moveTo>
                  <a:pt x="920" y="226"/>
                </a:moveTo>
                <a:lnTo>
                  <a:pt x="930" y="216"/>
                </a:lnTo>
                <a:lnTo>
                  <a:pt x="930" y="200"/>
                </a:lnTo>
                <a:lnTo>
                  <a:pt x="897" y="200"/>
                </a:lnTo>
                <a:lnTo>
                  <a:pt x="880" y="183"/>
                </a:lnTo>
                <a:lnTo>
                  <a:pt x="866" y="199"/>
                </a:lnTo>
                <a:lnTo>
                  <a:pt x="893" y="226"/>
                </a:lnTo>
                <a:lnTo>
                  <a:pt x="920" y="226"/>
                </a:lnTo>
                <a:close/>
                <a:moveTo>
                  <a:pt x="876" y="354"/>
                </a:moveTo>
                <a:lnTo>
                  <a:pt x="876" y="364"/>
                </a:lnTo>
                <a:lnTo>
                  <a:pt x="905" y="364"/>
                </a:lnTo>
                <a:lnTo>
                  <a:pt x="905" y="348"/>
                </a:lnTo>
                <a:lnTo>
                  <a:pt x="883" y="348"/>
                </a:lnTo>
                <a:lnTo>
                  <a:pt x="876" y="354"/>
                </a:lnTo>
                <a:close/>
                <a:moveTo>
                  <a:pt x="946" y="219"/>
                </a:moveTo>
                <a:lnTo>
                  <a:pt x="946" y="233"/>
                </a:lnTo>
                <a:lnTo>
                  <a:pt x="972" y="233"/>
                </a:lnTo>
                <a:lnTo>
                  <a:pt x="978" y="229"/>
                </a:lnTo>
                <a:lnTo>
                  <a:pt x="968" y="219"/>
                </a:lnTo>
                <a:lnTo>
                  <a:pt x="946" y="219"/>
                </a:lnTo>
                <a:close/>
                <a:moveTo>
                  <a:pt x="951" y="153"/>
                </a:moveTo>
                <a:lnTo>
                  <a:pt x="961" y="163"/>
                </a:lnTo>
                <a:lnTo>
                  <a:pt x="972" y="163"/>
                </a:lnTo>
                <a:lnTo>
                  <a:pt x="972" y="135"/>
                </a:lnTo>
                <a:lnTo>
                  <a:pt x="951" y="135"/>
                </a:lnTo>
                <a:lnTo>
                  <a:pt x="951" y="153"/>
                </a:lnTo>
                <a:close/>
                <a:moveTo>
                  <a:pt x="962" y="101"/>
                </a:moveTo>
                <a:lnTo>
                  <a:pt x="943" y="101"/>
                </a:lnTo>
                <a:lnTo>
                  <a:pt x="943" y="112"/>
                </a:lnTo>
                <a:lnTo>
                  <a:pt x="962" y="112"/>
                </a:lnTo>
                <a:lnTo>
                  <a:pt x="962" y="101"/>
                </a:lnTo>
                <a:close/>
                <a:moveTo>
                  <a:pt x="1010" y="143"/>
                </a:moveTo>
                <a:lnTo>
                  <a:pt x="1051" y="143"/>
                </a:lnTo>
                <a:lnTo>
                  <a:pt x="1064" y="130"/>
                </a:lnTo>
                <a:lnTo>
                  <a:pt x="1064" y="101"/>
                </a:lnTo>
                <a:lnTo>
                  <a:pt x="1024" y="62"/>
                </a:lnTo>
                <a:lnTo>
                  <a:pt x="991" y="94"/>
                </a:lnTo>
                <a:lnTo>
                  <a:pt x="991" y="114"/>
                </a:lnTo>
                <a:lnTo>
                  <a:pt x="1010" y="114"/>
                </a:lnTo>
                <a:lnTo>
                  <a:pt x="1010" y="143"/>
                </a:lnTo>
                <a:close/>
                <a:moveTo>
                  <a:pt x="1149" y="84"/>
                </a:moveTo>
                <a:lnTo>
                  <a:pt x="1149" y="91"/>
                </a:lnTo>
                <a:lnTo>
                  <a:pt x="1136" y="104"/>
                </a:lnTo>
                <a:lnTo>
                  <a:pt x="1092" y="104"/>
                </a:lnTo>
                <a:lnTo>
                  <a:pt x="1092" y="125"/>
                </a:lnTo>
                <a:lnTo>
                  <a:pt x="1100" y="134"/>
                </a:lnTo>
                <a:lnTo>
                  <a:pt x="1063" y="171"/>
                </a:lnTo>
                <a:lnTo>
                  <a:pt x="1038" y="171"/>
                </a:lnTo>
                <a:lnTo>
                  <a:pt x="1038" y="179"/>
                </a:lnTo>
                <a:lnTo>
                  <a:pt x="1056" y="196"/>
                </a:lnTo>
                <a:lnTo>
                  <a:pt x="1148" y="196"/>
                </a:lnTo>
                <a:lnTo>
                  <a:pt x="1168" y="177"/>
                </a:lnTo>
                <a:lnTo>
                  <a:pt x="1155" y="164"/>
                </a:lnTo>
                <a:lnTo>
                  <a:pt x="1155" y="154"/>
                </a:lnTo>
                <a:lnTo>
                  <a:pt x="1172" y="154"/>
                </a:lnTo>
                <a:lnTo>
                  <a:pt x="1215" y="109"/>
                </a:lnTo>
                <a:lnTo>
                  <a:pt x="1264" y="109"/>
                </a:lnTo>
                <a:lnTo>
                  <a:pt x="1302" y="72"/>
                </a:lnTo>
                <a:lnTo>
                  <a:pt x="1292" y="62"/>
                </a:lnTo>
                <a:lnTo>
                  <a:pt x="1305" y="49"/>
                </a:lnTo>
                <a:lnTo>
                  <a:pt x="1354" y="49"/>
                </a:lnTo>
                <a:lnTo>
                  <a:pt x="1362" y="42"/>
                </a:lnTo>
                <a:lnTo>
                  <a:pt x="1362" y="30"/>
                </a:lnTo>
                <a:lnTo>
                  <a:pt x="1349" y="17"/>
                </a:lnTo>
                <a:lnTo>
                  <a:pt x="1254" y="17"/>
                </a:lnTo>
                <a:lnTo>
                  <a:pt x="1246" y="27"/>
                </a:lnTo>
                <a:lnTo>
                  <a:pt x="1158" y="27"/>
                </a:lnTo>
                <a:lnTo>
                  <a:pt x="1145" y="40"/>
                </a:lnTo>
                <a:lnTo>
                  <a:pt x="1072" y="40"/>
                </a:lnTo>
                <a:lnTo>
                  <a:pt x="1072" y="65"/>
                </a:lnTo>
                <a:lnTo>
                  <a:pt x="1089" y="84"/>
                </a:lnTo>
                <a:lnTo>
                  <a:pt x="1149" y="84"/>
                </a:lnTo>
                <a:close/>
                <a:moveTo>
                  <a:pt x="1751" y="335"/>
                </a:moveTo>
                <a:lnTo>
                  <a:pt x="1724" y="335"/>
                </a:lnTo>
                <a:lnTo>
                  <a:pt x="1724" y="323"/>
                </a:lnTo>
                <a:lnTo>
                  <a:pt x="1770" y="323"/>
                </a:lnTo>
                <a:lnTo>
                  <a:pt x="1793" y="301"/>
                </a:lnTo>
                <a:lnTo>
                  <a:pt x="1778" y="287"/>
                </a:lnTo>
                <a:lnTo>
                  <a:pt x="1757" y="287"/>
                </a:lnTo>
                <a:lnTo>
                  <a:pt x="1757" y="276"/>
                </a:lnTo>
                <a:lnTo>
                  <a:pt x="1778" y="276"/>
                </a:lnTo>
                <a:lnTo>
                  <a:pt x="1826" y="227"/>
                </a:lnTo>
                <a:lnTo>
                  <a:pt x="1810" y="212"/>
                </a:lnTo>
                <a:lnTo>
                  <a:pt x="1810" y="196"/>
                </a:lnTo>
                <a:lnTo>
                  <a:pt x="1826" y="181"/>
                </a:lnTo>
                <a:lnTo>
                  <a:pt x="1826" y="155"/>
                </a:lnTo>
                <a:lnTo>
                  <a:pt x="1797" y="155"/>
                </a:lnTo>
                <a:lnTo>
                  <a:pt x="1797" y="137"/>
                </a:lnTo>
                <a:lnTo>
                  <a:pt x="1823" y="112"/>
                </a:lnTo>
                <a:lnTo>
                  <a:pt x="1813" y="101"/>
                </a:lnTo>
                <a:lnTo>
                  <a:pt x="1813" y="89"/>
                </a:lnTo>
                <a:lnTo>
                  <a:pt x="1869" y="89"/>
                </a:lnTo>
                <a:lnTo>
                  <a:pt x="1892" y="68"/>
                </a:lnTo>
                <a:lnTo>
                  <a:pt x="1892" y="56"/>
                </a:lnTo>
                <a:lnTo>
                  <a:pt x="1745" y="56"/>
                </a:lnTo>
                <a:lnTo>
                  <a:pt x="1745" y="40"/>
                </a:lnTo>
                <a:lnTo>
                  <a:pt x="1724" y="40"/>
                </a:lnTo>
                <a:lnTo>
                  <a:pt x="1724" y="29"/>
                </a:lnTo>
                <a:lnTo>
                  <a:pt x="1778" y="29"/>
                </a:lnTo>
                <a:lnTo>
                  <a:pt x="1778" y="20"/>
                </a:lnTo>
                <a:lnTo>
                  <a:pt x="1767" y="10"/>
                </a:lnTo>
                <a:lnTo>
                  <a:pt x="1719" y="10"/>
                </a:lnTo>
                <a:lnTo>
                  <a:pt x="1711" y="0"/>
                </a:lnTo>
                <a:lnTo>
                  <a:pt x="1613" y="0"/>
                </a:lnTo>
                <a:lnTo>
                  <a:pt x="1593" y="19"/>
                </a:lnTo>
                <a:lnTo>
                  <a:pt x="1558" y="19"/>
                </a:lnTo>
                <a:lnTo>
                  <a:pt x="1539" y="39"/>
                </a:lnTo>
                <a:lnTo>
                  <a:pt x="1493" y="39"/>
                </a:lnTo>
                <a:lnTo>
                  <a:pt x="1493" y="53"/>
                </a:lnTo>
                <a:lnTo>
                  <a:pt x="1469" y="53"/>
                </a:lnTo>
                <a:lnTo>
                  <a:pt x="1469" y="40"/>
                </a:lnTo>
                <a:lnTo>
                  <a:pt x="1401" y="40"/>
                </a:lnTo>
                <a:lnTo>
                  <a:pt x="1361" y="79"/>
                </a:lnTo>
                <a:lnTo>
                  <a:pt x="1315" y="79"/>
                </a:lnTo>
                <a:lnTo>
                  <a:pt x="1315" y="94"/>
                </a:lnTo>
                <a:lnTo>
                  <a:pt x="1259" y="150"/>
                </a:lnTo>
                <a:lnTo>
                  <a:pt x="1243" y="150"/>
                </a:lnTo>
                <a:lnTo>
                  <a:pt x="1243" y="164"/>
                </a:lnTo>
                <a:lnTo>
                  <a:pt x="1292" y="164"/>
                </a:lnTo>
                <a:lnTo>
                  <a:pt x="1292" y="176"/>
                </a:lnTo>
                <a:lnTo>
                  <a:pt x="1269" y="176"/>
                </a:lnTo>
                <a:lnTo>
                  <a:pt x="1269" y="184"/>
                </a:lnTo>
                <a:lnTo>
                  <a:pt x="1293" y="209"/>
                </a:lnTo>
                <a:lnTo>
                  <a:pt x="1364" y="209"/>
                </a:lnTo>
                <a:lnTo>
                  <a:pt x="1418" y="263"/>
                </a:lnTo>
                <a:lnTo>
                  <a:pt x="1418" y="328"/>
                </a:lnTo>
                <a:lnTo>
                  <a:pt x="1437" y="348"/>
                </a:lnTo>
                <a:lnTo>
                  <a:pt x="1437" y="369"/>
                </a:lnTo>
                <a:lnTo>
                  <a:pt x="1418" y="387"/>
                </a:lnTo>
                <a:lnTo>
                  <a:pt x="1418" y="505"/>
                </a:lnTo>
                <a:lnTo>
                  <a:pt x="1457" y="544"/>
                </a:lnTo>
                <a:lnTo>
                  <a:pt x="1476" y="544"/>
                </a:lnTo>
                <a:lnTo>
                  <a:pt x="1486" y="554"/>
                </a:lnTo>
                <a:lnTo>
                  <a:pt x="1499" y="554"/>
                </a:lnTo>
                <a:lnTo>
                  <a:pt x="1535" y="518"/>
                </a:lnTo>
                <a:lnTo>
                  <a:pt x="1535" y="500"/>
                </a:lnTo>
                <a:lnTo>
                  <a:pt x="1548" y="485"/>
                </a:lnTo>
                <a:lnTo>
                  <a:pt x="1548" y="442"/>
                </a:lnTo>
                <a:lnTo>
                  <a:pt x="1560" y="431"/>
                </a:lnTo>
                <a:lnTo>
                  <a:pt x="1614" y="431"/>
                </a:lnTo>
                <a:lnTo>
                  <a:pt x="1653" y="392"/>
                </a:lnTo>
                <a:lnTo>
                  <a:pt x="1716" y="392"/>
                </a:lnTo>
                <a:lnTo>
                  <a:pt x="1761" y="347"/>
                </a:lnTo>
                <a:lnTo>
                  <a:pt x="1751" y="335"/>
                </a:lnTo>
                <a:close/>
                <a:moveTo>
                  <a:pt x="1421" y="360"/>
                </a:moveTo>
                <a:lnTo>
                  <a:pt x="1421" y="351"/>
                </a:lnTo>
                <a:lnTo>
                  <a:pt x="1404" y="351"/>
                </a:lnTo>
                <a:lnTo>
                  <a:pt x="1395" y="360"/>
                </a:lnTo>
                <a:lnTo>
                  <a:pt x="1395" y="370"/>
                </a:lnTo>
                <a:lnTo>
                  <a:pt x="1411" y="370"/>
                </a:lnTo>
                <a:lnTo>
                  <a:pt x="1421" y="360"/>
                </a:lnTo>
                <a:close/>
                <a:moveTo>
                  <a:pt x="1811" y="495"/>
                </a:moveTo>
                <a:lnTo>
                  <a:pt x="1829" y="478"/>
                </a:lnTo>
                <a:lnTo>
                  <a:pt x="1839" y="478"/>
                </a:lnTo>
                <a:lnTo>
                  <a:pt x="1860" y="456"/>
                </a:lnTo>
                <a:lnTo>
                  <a:pt x="1860" y="426"/>
                </a:lnTo>
                <a:lnTo>
                  <a:pt x="1761" y="426"/>
                </a:lnTo>
                <a:lnTo>
                  <a:pt x="1742" y="445"/>
                </a:lnTo>
                <a:lnTo>
                  <a:pt x="1742" y="461"/>
                </a:lnTo>
                <a:lnTo>
                  <a:pt x="1770" y="461"/>
                </a:lnTo>
                <a:lnTo>
                  <a:pt x="1770" y="479"/>
                </a:lnTo>
                <a:lnTo>
                  <a:pt x="1786" y="479"/>
                </a:lnTo>
                <a:lnTo>
                  <a:pt x="1801" y="495"/>
                </a:lnTo>
                <a:lnTo>
                  <a:pt x="1811" y="495"/>
                </a:lnTo>
                <a:close/>
                <a:moveTo>
                  <a:pt x="3313" y="1444"/>
                </a:moveTo>
                <a:lnTo>
                  <a:pt x="3313" y="1470"/>
                </a:lnTo>
                <a:lnTo>
                  <a:pt x="3322" y="1480"/>
                </a:lnTo>
                <a:lnTo>
                  <a:pt x="3340" y="1480"/>
                </a:lnTo>
                <a:lnTo>
                  <a:pt x="3340" y="1444"/>
                </a:lnTo>
                <a:lnTo>
                  <a:pt x="3327" y="1430"/>
                </a:lnTo>
                <a:lnTo>
                  <a:pt x="3313" y="1444"/>
                </a:lnTo>
                <a:close/>
                <a:moveTo>
                  <a:pt x="2917" y="1752"/>
                </a:moveTo>
                <a:lnTo>
                  <a:pt x="2901" y="1752"/>
                </a:lnTo>
                <a:lnTo>
                  <a:pt x="2901" y="1780"/>
                </a:lnTo>
                <a:lnTo>
                  <a:pt x="2864" y="1817"/>
                </a:lnTo>
                <a:lnTo>
                  <a:pt x="2844" y="1817"/>
                </a:lnTo>
                <a:lnTo>
                  <a:pt x="2829" y="1830"/>
                </a:lnTo>
                <a:lnTo>
                  <a:pt x="2829" y="1873"/>
                </a:lnTo>
                <a:lnTo>
                  <a:pt x="2836" y="1879"/>
                </a:lnTo>
                <a:lnTo>
                  <a:pt x="2836" y="1899"/>
                </a:lnTo>
                <a:lnTo>
                  <a:pt x="2816" y="1918"/>
                </a:lnTo>
                <a:lnTo>
                  <a:pt x="2816" y="1934"/>
                </a:lnTo>
                <a:lnTo>
                  <a:pt x="2828" y="1944"/>
                </a:lnTo>
                <a:lnTo>
                  <a:pt x="2828" y="1962"/>
                </a:lnTo>
                <a:lnTo>
                  <a:pt x="2860" y="1962"/>
                </a:lnTo>
                <a:lnTo>
                  <a:pt x="2891" y="1931"/>
                </a:lnTo>
                <a:lnTo>
                  <a:pt x="2891" y="1873"/>
                </a:lnTo>
                <a:lnTo>
                  <a:pt x="2908" y="1856"/>
                </a:lnTo>
                <a:lnTo>
                  <a:pt x="2908" y="1826"/>
                </a:lnTo>
                <a:lnTo>
                  <a:pt x="2927" y="1808"/>
                </a:lnTo>
                <a:lnTo>
                  <a:pt x="2927" y="1781"/>
                </a:lnTo>
                <a:lnTo>
                  <a:pt x="2917" y="1771"/>
                </a:lnTo>
                <a:lnTo>
                  <a:pt x="2917" y="1752"/>
                </a:lnTo>
                <a:close/>
                <a:moveTo>
                  <a:pt x="3671" y="1614"/>
                </a:moveTo>
                <a:lnTo>
                  <a:pt x="3663" y="1604"/>
                </a:lnTo>
                <a:lnTo>
                  <a:pt x="3651" y="1604"/>
                </a:lnTo>
                <a:lnTo>
                  <a:pt x="3641" y="1594"/>
                </a:lnTo>
                <a:lnTo>
                  <a:pt x="3641" y="1562"/>
                </a:lnTo>
                <a:lnTo>
                  <a:pt x="3630" y="1552"/>
                </a:lnTo>
                <a:lnTo>
                  <a:pt x="3605" y="1552"/>
                </a:lnTo>
                <a:lnTo>
                  <a:pt x="3540" y="1487"/>
                </a:lnTo>
                <a:lnTo>
                  <a:pt x="3530" y="1487"/>
                </a:lnTo>
                <a:lnTo>
                  <a:pt x="3530" y="1505"/>
                </a:lnTo>
                <a:lnTo>
                  <a:pt x="3591" y="1565"/>
                </a:lnTo>
                <a:lnTo>
                  <a:pt x="3591" y="1592"/>
                </a:lnTo>
                <a:lnTo>
                  <a:pt x="3659" y="1660"/>
                </a:lnTo>
                <a:lnTo>
                  <a:pt x="3671" y="1647"/>
                </a:lnTo>
                <a:lnTo>
                  <a:pt x="3671" y="1614"/>
                </a:lnTo>
                <a:close/>
                <a:moveTo>
                  <a:pt x="3692" y="1611"/>
                </a:moveTo>
                <a:lnTo>
                  <a:pt x="3692" y="1601"/>
                </a:lnTo>
                <a:lnTo>
                  <a:pt x="3674" y="1584"/>
                </a:lnTo>
                <a:lnTo>
                  <a:pt x="3663" y="1594"/>
                </a:lnTo>
                <a:lnTo>
                  <a:pt x="3682" y="1611"/>
                </a:lnTo>
                <a:lnTo>
                  <a:pt x="3692" y="1611"/>
                </a:lnTo>
                <a:close/>
                <a:moveTo>
                  <a:pt x="3893" y="1424"/>
                </a:moveTo>
                <a:lnTo>
                  <a:pt x="3876" y="1443"/>
                </a:lnTo>
                <a:lnTo>
                  <a:pt x="3876" y="1453"/>
                </a:lnTo>
                <a:lnTo>
                  <a:pt x="3886" y="1453"/>
                </a:lnTo>
                <a:lnTo>
                  <a:pt x="3905" y="1435"/>
                </a:lnTo>
                <a:lnTo>
                  <a:pt x="3893" y="1424"/>
                </a:lnTo>
                <a:close/>
                <a:moveTo>
                  <a:pt x="3887" y="1359"/>
                </a:moveTo>
                <a:lnTo>
                  <a:pt x="3887" y="1374"/>
                </a:lnTo>
                <a:lnTo>
                  <a:pt x="3913" y="1374"/>
                </a:lnTo>
                <a:lnTo>
                  <a:pt x="3921" y="1366"/>
                </a:lnTo>
                <a:lnTo>
                  <a:pt x="3912" y="1359"/>
                </a:lnTo>
                <a:lnTo>
                  <a:pt x="3887" y="1359"/>
                </a:lnTo>
                <a:close/>
                <a:moveTo>
                  <a:pt x="3791" y="1687"/>
                </a:moveTo>
                <a:lnTo>
                  <a:pt x="3777" y="1673"/>
                </a:lnTo>
                <a:lnTo>
                  <a:pt x="3752" y="1673"/>
                </a:lnTo>
                <a:lnTo>
                  <a:pt x="3741" y="1662"/>
                </a:lnTo>
                <a:lnTo>
                  <a:pt x="3689" y="1662"/>
                </a:lnTo>
                <a:lnTo>
                  <a:pt x="3680" y="1651"/>
                </a:lnTo>
                <a:lnTo>
                  <a:pt x="3666" y="1666"/>
                </a:lnTo>
                <a:lnTo>
                  <a:pt x="3684" y="1685"/>
                </a:lnTo>
                <a:lnTo>
                  <a:pt x="3718" y="1685"/>
                </a:lnTo>
                <a:lnTo>
                  <a:pt x="3732" y="1699"/>
                </a:lnTo>
                <a:lnTo>
                  <a:pt x="3791" y="1699"/>
                </a:lnTo>
                <a:lnTo>
                  <a:pt x="3791" y="1687"/>
                </a:lnTo>
                <a:close/>
                <a:moveTo>
                  <a:pt x="3919" y="1562"/>
                </a:moveTo>
                <a:lnTo>
                  <a:pt x="3929" y="1552"/>
                </a:lnTo>
                <a:lnTo>
                  <a:pt x="3929" y="1539"/>
                </a:lnTo>
                <a:lnTo>
                  <a:pt x="3902" y="1539"/>
                </a:lnTo>
                <a:lnTo>
                  <a:pt x="3902" y="1548"/>
                </a:lnTo>
                <a:lnTo>
                  <a:pt x="3860" y="1548"/>
                </a:lnTo>
                <a:lnTo>
                  <a:pt x="3860" y="1581"/>
                </a:lnTo>
                <a:lnTo>
                  <a:pt x="3838" y="1603"/>
                </a:lnTo>
                <a:lnTo>
                  <a:pt x="3838" y="1628"/>
                </a:lnTo>
                <a:lnTo>
                  <a:pt x="3859" y="1647"/>
                </a:lnTo>
                <a:lnTo>
                  <a:pt x="3867" y="1647"/>
                </a:lnTo>
                <a:lnTo>
                  <a:pt x="3867" y="1628"/>
                </a:lnTo>
                <a:lnTo>
                  <a:pt x="3877" y="1628"/>
                </a:lnTo>
                <a:lnTo>
                  <a:pt x="3877" y="1650"/>
                </a:lnTo>
                <a:lnTo>
                  <a:pt x="3897" y="1650"/>
                </a:lnTo>
                <a:lnTo>
                  <a:pt x="3897" y="1621"/>
                </a:lnTo>
                <a:lnTo>
                  <a:pt x="3889" y="1611"/>
                </a:lnTo>
                <a:lnTo>
                  <a:pt x="3902" y="1600"/>
                </a:lnTo>
                <a:lnTo>
                  <a:pt x="3902" y="1581"/>
                </a:lnTo>
                <a:lnTo>
                  <a:pt x="3872" y="1581"/>
                </a:lnTo>
                <a:lnTo>
                  <a:pt x="3872" y="1562"/>
                </a:lnTo>
                <a:lnTo>
                  <a:pt x="3919" y="1562"/>
                </a:lnTo>
                <a:close/>
                <a:moveTo>
                  <a:pt x="3720" y="1286"/>
                </a:moveTo>
                <a:lnTo>
                  <a:pt x="3720" y="1270"/>
                </a:lnTo>
                <a:lnTo>
                  <a:pt x="3710" y="1260"/>
                </a:lnTo>
                <a:lnTo>
                  <a:pt x="3692" y="1277"/>
                </a:lnTo>
                <a:lnTo>
                  <a:pt x="3692" y="1297"/>
                </a:lnTo>
                <a:lnTo>
                  <a:pt x="3707" y="1297"/>
                </a:lnTo>
                <a:lnTo>
                  <a:pt x="3720" y="1286"/>
                </a:lnTo>
                <a:close/>
                <a:moveTo>
                  <a:pt x="3841" y="1191"/>
                </a:moveTo>
                <a:lnTo>
                  <a:pt x="3841" y="1218"/>
                </a:lnTo>
                <a:lnTo>
                  <a:pt x="3853" y="1230"/>
                </a:lnTo>
                <a:lnTo>
                  <a:pt x="3862" y="1220"/>
                </a:lnTo>
                <a:lnTo>
                  <a:pt x="3862" y="1196"/>
                </a:lnTo>
                <a:lnTo>
                  <a:pt x="3850" y="1184"/>
                </a:lnTo>
                <a:lnTo>
                  <a:pt x="3841" y="1191"/>
                </a:lnTo>
                <a:close/>
                <a:moveTo>
                  <a:pt x="3863" y="1279"/>
                </a:moveTo>
                <a:lnTo>
                  <a:pt x="3853" y="1289"/>
                </a:lnTo>
                <a:lnTo>
                  <a:pt x="3853" y="1317"/>
                </a:lnTo>
                <a:lnTo>
                  <a:pt x="3841" y="1317"/>
                </a:lnTo>
                <a:lnTo>
                  <a:pt x="3841" y="1342"/>
                </a:lnTo>
                <a:lnTo>
                  <a:pt x="3854" y="1342"/>
                </a:lnTo>
                <a:lnTo>
                  <a:pt x="3854" y="1352"/>
                </a:lnTo>
                <a:lnTo>
                  <a:pt x="3882" y="1352"/>
                </a:lnTo>
                <a:lnTo>
                  <a:pt x="3882" y="1287"/>
                </a:lnTo>
                <a:lnTo>
                  <a:pt x="3873" y="1279"/>
                </a:lnTo>
                <a:lnTo>
                  <a:pt x="3863" y="1279"/>
                </a:lnTo>
                <a:close/>
                <a:moveTo>
                  <a:pt x="3897" y="1451"/>
                </a:moveTo>
                <a:lnTo>
                  <a:pt x="3932" y="1484"/>
                </a:lnTo>
                <a:lnTo>
                  <a:pt x="3952" y="1464"/>
                </a:lnTo>
                <a:lnTo>
                  <a:pt x="3952" y="1435"/>
                </a:lnTo>
                <a:lnTo>
                  <a:pt x="3939" y="1423"/>
                </a:lnTo>
                <a:lnTo>
                  <a:pt x="3928" y="1423"/>
                </a:lnTo>
                <a:lnTo>
                  <a:pt x="3897" y="1451"/>
                </a:lnTo>
                <a:close/>
                <a:moveTo>
                  <a:pt x="3918" y="1399"/>
                </a:moveTo>
                <a:lnTo>
                  <a:pt x="3928" y="1399"/>
                </a:lnTo>
                <a:lnTo>
                  <a:pt x="3936" y="1392"/>
                </a:lnTo>
                <a:lnTo>
                  <a:pt x="3936" y="1387"/>
                </a:lnTo>
                <a:lnTo>
                  <a:pt x="3918" y="1387"/>
                </a:lnTo>
                <a:lnTo>
                  <a:pt x="3918" y="1399"/>
                </a:lnTo>
                <a:close/>
                <a:moveTo>
                  <a:pt x="3880" y="1407"/>
                </a:moveTo>
                <a:lnTo>
                  <a:pt x="3899" y="1407"/>
                </a:lnTo>
                <a:lnTo>
                  <a:pt x="3899" y="1391"/>
                </a:lnTo>
                <a:lnTo>
                  <a:pt x="3887" y="1391"/>
                </a:lnTo>
                <a:lnTo>
                  <a:pt x="3880" y="1398"/>
                </a:lnTo>
                <a:lnTo>
                  <a:pt x="3880" y="1407"/>
                </a:lnTo>
                <a:close/>
                <a:moveTo>
                  <a:pt x="3872" y="1389"/>
                </a:moveTo>
                <a:lnTo>
                  <a:pt x="3872" y="1375"/>
                </a:lnTo>
                <a:lnTo>
                  <a:pt x="3857" y="1361"/>
                </a:lnTo>
                <a:lnTo>
                  <a:pt x="3847" y="1371"/>
                </a:lnTo>
                <a:lnTo>
                  <a:pt x="3864" y="1389"/>
                </a:lnTo>
                <a:lnTo>
                  <a:pt x="3872" y="1389"/>
                </a:lnTo>
                <a:close/>
                <a:moveTo>
                  <a:pt x="3817" y="1441"/>
                </a:moveTo>
                <a:lnTo>
                  <a:pt x="3824" y="1441"/>
                </a:lnTo>
                <a:lnTo>
                  <a:pt x="3860" y="1407"/>
                </a:lnTo>
                <a:lnTo>
                  <a:pt x="3849" y="1397"/>
                </a:lnTo>
                <a:lnTo>
                  <a:pt x="3817" y="1427"/>
                </a:lnTo>
                <a:lnTo>
                  <a:pt x="3817" y="1441"/>
                </a:lnTo>
                <a:close/>
                <a:moveTo>
                  <a:pt x="3965" y="1549"/>
                </a:moveTo>
                <a:lnTo>
                  <a:pt x="3955" y="1549"/>
                </a:lnTo>
                <a:lnTo>
                  <a:pt x="3955" y="1565"/>
                </a:lnTo>
                <a:lnTo>
                  <a:pt x="3968" y="1578"/>
                </a:lnTo>
                <a:lnTo>
                  <a:pt x="3972" y="1578"/>
                </a:lnTo>
                <a:lnTo>
                  <a:pt x="3972" y="1523"/>
                </a:lnTo>
                <a:lnTo>
                  <a:pt x="3965" y="1523"/>
                </a:lnTo>
                <a:lnTo>
                  <a:pt x="3965" y="1549"/>
                </a:lnTo>
                <a:close/>
                <a:moveTo>
                  <a:pt x="3978" y="1623"/>
                </a:moveTo>
                <a:lnTo>
                  <a:pt x="3998" y="1623"/>
                </a:lnTo>
                <a:lnTo>
                  <a:pt x="4003" y="1618"/>
                </a:lnTo>
                <a:lnTo>
                  <a:pt x="3993" y="1608"/>
                </a:lnTo>
                <a:lnTo>
                  <a:pt x="3978" y="1608"/>
                </a:lnTo>
                <a:lnTo>
                  <a:pt x="3978" y="1623"/>
                </a:lnTo>
                <a:close/>
                <a:moveTo>
                  <a:pt x="3834" y="1703"/>
                </a:moveTo>
                <a:lnTo>
                  <a:pt x="3849" y="1703"/>
                </a:lnTo>
                <a:lnTo>
                  <a:pt x="3854" y="1710"/>
                </a:lnTo>
                <a:lnTo>
                  <a:pt x="3886" y="1710"/>
                </a:lnTo>
                <a:lnTo>
                  <a:pt x="3890" y="1706"/>
                </a:lnTo>
                <a:lnTo>
                  <a:pt x="3879" y="1695"/>
                </a:lnTo>
                <a:lnTo>
                  <a:pt x="3834" y="1695"/>
                </a:lnTo>
                <a:lnTo>
                  <a:pt x="3834" y="1703"/>
                </a:lnTo>
                <a:close/>
                <a:moveTo>
                  <a:pt x="4080" y="1584"/>
                </a:moveTo>
                <a:lnTo>
                  <a:pt x="4050" y="1584"/>
                </a:lnTo>
                <a:lnTo>
                  <a:pt x="4050" y="1601"/>
                </a:lnTo>
                <a:lnTo>
                  <a:pt x="4070" y="1601"/>
                </a:lnTo>
                <a:lnTo>
                  <a:pt x="4080" y="1591"/>
                </a:lnTo>
                <a:lnTo>
                  <a:pt x="4080" y="1584"/>
                </a:lnTo>
                <a:close/>
                <a:moveTo>
                  <a:pt x="4144" y="1594"/>
                </a:moveTo>
                <a:lnTo>
                  <a:pt x="4093" y="1594"/>
                </a:lnTo>
                <a:lnTo>
                  <a:pt x="4072" y="1614"/>
                </a:lnTo>
                <a:lnTo>
                  <a:pt x="4046" y="1614"/>
                </a:lnTo>
                <a:lnTo>
                  <a:pt x="4046" y="1636"/>
                </a:lnTo>
                <a:lnTo>
                  <a:pt x="4082" y="1636"/>
                </a:lnTo>
                <a:lnTo>
                  <a:pt x="4108" y="1662"/>
                </a:lnTo>
                <a:lnTo>
                  <a:pt x="4108" y="1679"/>
                </a:lnTo>
                <a:lnTo>
                  <a:pt x="4093" y="1679"/>
                </a:lnTo>
                <a:lnTo>
                  <a:pt x="4093" y="1692"/>
                </a:lnTo>
                <a:lnTo>
                  <a:pt x="4126" y="1692"/>
                </a:lnTo>
                <a:lnTo>
                  <a:pt x="4145" y="1710"/>
                </a:lnTo>
                <a:lnTo>
                  <a:pt x="4158" y="1710"/>
                </a:lnTo>
                <a:lnTo>
                  <a:pt x="4167" y="1702"/>
                </a:lnTo>
                <a:lnTo>
                  <a:pt x="4167" y="1683"/>
                </a:lnTo>
                <a:lnTo>
                  <a:pt x="4193" y="1683"/>
                </a:lnTo>
                <a:lnTo>
                  <a:pt x="4234" y="1725"/>
                </a:lnTo>
                <a:lnTo>
                  <a:pt x="4265" y="1725"/>
                </a:lnTo>
                <a:lnTo>
                  <a:pt x="4265" y="1712"/>
                </a:lnTo>
                <a:lnTo>
                  <a:pt x="4256" y="1705"/>
                </a:lnTo>
                <a:lnTo>
                  <a:pt x="4242" y="1705"/>
                </a:lnTo>
                <a:lnTo>
                  <a:pt x="4226" y="1689"/>
                </a:lnTo>
                <a:lnTo>
                  <a:pt x="4226" y="1659"/>
                </a:lnTo>
                <a:lnTo>
                  <a:pt x="4190" y="1623"/>
                </a:lnTo>
                <a:lnTo>
                  <a:pt x="4172" y="1623"/>
                </a:lnTo>
                <a:lnTo>
                  <a:pt x="4158" y="1607"/>
                </a:lnTo>
                <a:lnTo>
                  <a:pt x="4158" y="1607"/>
                </a:lnTo>
                <a:lnTo>
                  <a:pt x="4144" y="1594"/>
                </a:lnTo>
                <a:close/>
                <a:moveTo>
                  <a:pt x="4260" y="1646"/>
                </a:moveTo>
                <a:lnTo>
                  <a:pt x="4246" y="1646"/>
                </a:lnTo>
                <a:lnTo>
                  <a:pt x="4246" y="1662"/>
                </a:lnTo>
                <a:lnTo>
                  <a:pt x="4272" y="1662"/>
                </a:lnTo>
                <a:lnTo>
                  <a:pt x="4282" y="1651"/>
                </a:lnTo>
                <a:lnTo>
                  <a:pt x="4282" y="1636"/>
                </a:lnTo>
                <a:lnTo>
                  <a:pt x="4270" y="1636"/>
                </a:lnTo>
                <a:lnTo>
                  <a:pt x="4260" y="1646"/>
                </a:lnTo>
                <a:close/>
                <a:moveTo>
                  <a:pt x="4289" y="1613"/>
                </a:moveTo>
                <a:lnTo>
                  <a:pt x="4301" y="1624"/>
                </a:lnTo>
                <a:lnTo>
                  <a:pt x="4305" y="1624"/>
                </a:lnTo>
                <a:lnTo>
                  <a:pt x="4305" y="1611"/>
                </a:lnTo>
                <a:lnTo>
                  <a:pt x="4289" y="1595"/>
                </a:lnTo>
                <a:lnTo>
                  <a:pt x="4289" y="1613"/>
                </a:lnTo>
                <a:close/>
                <a:moveTo>
                  <a:pt x="4255" y="1915"/>
                </a:moveTo>
                <a:lnTo>
                  <a:pt x="4198" y="1859"/>
                </a:lnTo>
                <a:lnTo>
                  <a:pt x="4198" y="1810"/>
                </a:lnTo>
                <a:lnTo>
                  <a:pt x="4165" y="1778"/>
                </a:lnTo>
                <a:lnTo>
                  <a:pt x="4165" y="1759"/>
                </a:lnTo>
                <a:lnTo>
                  <a:pt x="4175" y="1749"/>
                </a:lnTo>
                <a:lnTo>
                  <a:pt x="4158" y="1732"/>
                </a:lnTo>
                <a:lnTo>
                  <a:pt x="4136" y="1754"/>
                </a:lnTo>
                <a:lnTo>
                  <a:pt x="4136" y="1816"/>
                </a:lnTo>
                <a:lnTo>
                  <a:pt x="4122" y="1831"/>
                </a:lnTo>
                <a:lnTo>
                  <a:pt x="4109" y="1831"/>
                </a:lnTo>
                <a:lnTo>
                  <a:pt x="4095" y="1817"/>
                </a:lnTo>
                <a:lnTo>
                  <a:pt x="4080" y="1817"/>
                </a:lnTo>
                <a:lnTo>
                  <a:pt x="4063" y="1798"/>
                </a:lnTo>
                <a:lnTo>
                  <a:pt x="4063" y="1775"/>
                </a:lnTo>
                <a:lnTo>
                  <a:pt x="4077" y="1775"/>
                </a:lnTo>
                <a:lnTo>
                  <a:pt x="4083" y="1770"/>
                </a:lnTo>
                <a:lnTo>
                  <a:pt x="4083" y="1752"/>
                </a:lnTo>
                <a:lnTo>
                  <a:pt x="4043" y="1752"/>
                </a:lnTo>
                <a:lnTo>
                  <a:pt x="4026" y="1735"/>
                </a:lnTo>
                <a:lnTo>
                  <a:pt x="4005" y="1735"/>
                </a:lnTo>
                <a:lnTo>
                  <a:pt x="4005" y="1758"/>
                </a:lnTo>
                <a:lnTo>
                  <a:pt x="3995" y="1758"/>
                </a:lnTo>
                <a:lnTo>
                  <a:pt x="3981" y="1772"/>
                </a:lnTo>
                <a:lnTo>
                  <a:pt x="3981" y="1797"/>
                </a:lnTo>
                <a:lnTo>
                  <a:pt x="3962" y="1797"/>
                </a:lnTo>
                <a:lnTo>
                  <a:pt x="3949" y="1785"/>
                </a:lnTo>
                <a:lnTo>
                  <a:pt x="3926" y="1785"/>
                </a:lnTo>
                <a:lnTo>
                  <a:pt x="3877" y="1834"/>
                </a:lnTo>
                <a:lnTo>
                  <a:pt x="3877" y="1849"/>
                </a:lnTo>
                <a:lnTo>
                  <a:pt x="3838" y="1888"/>
                </a:lnTo>
                <a:lnTo>
                  <a:pt x="3794" y="1888"/>
                </a:lnTo>
                <a:lnTo>
                  <a:pt x="3768" y="1914"/>
                </a:lnTo>
                <a:lnTo>
                  <a:pt x="3751" y="1914"/>
                </a:lnTo>
                <a:lnTo>
                  <a:pt x="3751" y="2050"/>
                </a:lnTo>
                <a:lnTo>
                  <a:pt x="3762" y="2060"/>
                </a:lnTo>
                <a:lnTo>
                  <a:pt x="3762" y="2079"/>
                </a:lnTo>
                <a:lnTo>
                  <a:pt x="3751" y="2091"/>
                </a:lnTo>
                <a:lnTo>
                  <a:pt x="3778" y="2118"/>
                </a:lnTo>
                <a:lnTo>
                  <a:pt x="3807" y="2118"/>
                </a:lnTo>
                <a:lnTo>
                  <a:pt x="3820" y="2106"/>
                </a:lnTo>
                <a:lnTo>
                  <a:pt x="3862" y="2106"/>
                </a:lnTo>
                <a:lnTo>
                  <a:pt x="3893" y="2075"/>
                </a:lnTo>
                <a:lnTo>
                  <a:pt x="3990" y="2075"/>
                </a:lnTo>
                <a:lnTo>
                  <a:pt x="4013" y="2099"/>
                </a:lnTo>
                <a:lnTo>
                  <a:pt x="4013" y="2117"/>
                </a:lnTo>
                <a:lnTo>
                  <a:pt x="4029" y="2117"/>
                </a:lnTo>
                <a:lnTo>
                  <a:pt x="4047" y="2098"/>
                </a:lnTo>
                <a:lnTo>
                  <a:pt x="4053" y="2105"/>
                </a:lnTo>
                <a:lnTo>
                  <a:pt x="4053" y="2121"/>
                </a:lnTo>
                <a:lnTo>
                  <a:pt x="4066" y="2134"/>
                </a:lnTo>
                <a:lnTo>
                  <a:pt x="4066" y="2160"/>
                </a:lnTo>
                <a:lnTo>
                  <a:pt x="4083" y="2177"/>
                </a:lnTo>
                <a:lnTo>
                  <a:pt x="4174" y="2177"/>
                </a:lnTo>
                <a:lnTo>
                  <a:pt x="4217" y="2134"/>
                </a:lnTo>
                <a:lnTo>
                  <a:pt x="4217" y="2115"/>
                </a:lnTo>
                <a:lnTo>
                  <a:pt x="4269" y="2063"/>
                </a:lnTo>
                <a:lnTo>
                  <a:pt x="4269" y="1954"/>
                </a:lnTo>
                <a:lnTo>
                  <a:pt x="4255" y="1939"/>
                </a:lnTo>
                <a:lnTo>
                  <a:pt x="4255" y="1915"/>
                </a:lnTo>
                <a:close/>
                <a:moveTo>
                  <a:pt x="4112" y="2258"/>
                </a:moveTo>
                <a:lnTo>
                  <a:pt x="4124" y="2269"/>
                </a:lnTo>
                <a:lnTo>
                  <a:pt x="4147" y="2269"/>
                </a:lnTo>
                <a:lnTo>
                  <a:pt x="4155" y="2262"/>
                </a:lnTo>
                <a:lnTo>
                  <a:pt x="4155" y="2245"/>
                </a:lnTo>
                <a:lnTo>
                  <a:pt x="4162" y="2237"/>
                </a:lnTo>
                <a:lnTo>
                  <a:pt x="4162" y="2223"/>
                </a:lnTo>
                <a:lnTo>
                  <a:pt x="4112" y="2223"/>
                </a:lnTo>
                <a:lnTo>
                  <a:pt x="4112" y="2258"/>
                </a:lnTo>
                <a:close/>
                <a:moveTo>
                  <a:pt x="4440" y="2259"/>
                </a:moveTo>
                <a:lnTo>
                  <a:pt x="4424" y="2259"/>
                </a:lnTo>
                <a:lnTo>
                  <a:pt x="4383" y="2301"/>
                </a:lnTo>
                <a:lnTo>
                  <a:pt x="4414" y="2331"/>
                </a:lnTo>
                <a:lnTo>
                  <a:pt x="4433" y="2312"/>
                </a:lnTo>
                <a:lnTo>
                  <a:pt x="4433" y="2297"/>
                </a:lnTo>
                <a:lnTo>
                  <a:pt x="4452" y="2278"/>
                </a:lnTo>
                <a:lnTo>
                  <a:pt x="4472" y="2278"/>
                </a:lnTo>
                <a:lnTo>
                  <a:pt x="4472" y="2263"/>
                </a:lnTo>
                <a:lnTo>
                  <a:pt x="4499" y="2237"/>
                </a:lnTo>
                <a:lnTo>
                  <a:pt x="4499" y="2210"/>
                </a:lnTo>
                <a:lnTo>
                  <a:pt x="4489" y="2210"/>
                </a:lnTo>
                <a:lnTo>
                  <a:pt x="4440" y="2259"/>
                </a:lnTo>
                <a:close/>
                <a:moveTo>
                  <a:pt x="4542" y="2164"/>
                </a:moveTo>
                <a:lnTo>
                  <a:pt x="4542" y="2147"/>
                </a:lnTo>
                <a:lnTo>
                  <a:pt x="4534" y="2147"/>
                </a:lnTo>
                <a:lnTo>
                  <a:pt x="4527" y="2138"/>
                </a:lnTo>
                <a:lnTo>
                  <a:pt x="4527" y="2114"/>
                </a:lnTo>
                <a:lnTo>
                  <a:pt x="4512" y="2114"/>
                </a:lnTo>
                <a:lnTo>
                  <a:pt x="4512" y="2134"/>
                </a:lnTo>
                <a:lnTo>
                  <a:pt x="4524" y="2145"/>
                </a:lnTo>
                <a:lnTo>
                  <a:pt x="4524" y="2173"/>
                </a:lnTo>
                <a:lnTo>
                  <a:pt x="4509" y="2187"/>
                </a:lnTo>
                <a:lnTo>
                  <a:pt x="4509" y="2232"/>
                </a:lnTo>
                <a:lnTo>
                  <a:pt x="4524" y="2232"/>
                </a:lnTo>
                <a:lnTo>
                  <a:pt x="4524" y="2219"/>
                </a:lnTo>
                <a:lnTo>
                  <a:pt x="4551" y="2191"/>
                </a:lnTo>
                <a:lnTo>
                  <a:pt x="4564" y="2191"/>
                </a:lnTo>
                <a:lnTo>
                  <a:pt x="4564" y="2164"/>
                </a:lnTo>
                <a:lnTo>
                  <a:pt x="4542" y="2164"/>
                </a:lnTo>
                <a:close/>
                <a:moveTo>
                  <a:pt x="4440" y="1892"/>
                </a:moveTo>
                <a:lnTo>
                  <a:pt x="4440" y="1898"/>
                </a:lnTo>
                <a:lnTo>
                  <a:pt x="4452" y="1898"/>
                </a:lnTo>
                <a:lnTo>
                  <a:pt x="4463" y="1909"/>
                </a:lnTo>
                <a:lnTo>
                  <a:pt x="4472" y="1901"/>
                </a:lnTo>
                <a:lnTo>
                  <a:pt x="4462" y="1892"/>
                </a:lnTo>
                <a:lnTo>
                  <a:pt x="4440" y="1892"/>
                </a:lnTo>
                <a:close/>
                <a:moveTo>
                  <a:pt x="3974" y="1034"/>
                </a:moveTo>
                <a:lnTo>
                  <a:pt x="3961" y="1034"/>
                </a:lnTo>
                <a:lnTo>
                  <a:pt x="3938" y="1057"/>
                </a:lnTo>
                <a:lnTo>
                  <a:pt x="3965" y="1086"/>
                </a:lnTo>
                <a:lnTo>
                  <a:pt x="3974" y="1077"/>
                </a:lnTo>
                <a:lnTo>
                  <a:pt x="3974" y="1034"/>
                </a:lnTo>
                <a:close/>
                <a:moveTo>
                  <a:pt x="4026" y="996"/>
                </a:moveTo>
                <a:lnTo>
                  <a:pt x="3997" y="996"/>
                </a:lnTo>
                <a:lnTo>
                  <a:pt x="3977" y="1018"/>
                </a:lnTo>
                <a:lnTo>
                  <a:pt x="4001" y="1042"/>
                </a:lnTo>
                <a:lnTo>
                  <a:pt x="4010" y="1035"/>
                </a:lnTo>
                <a:lnTo>
                  <a:pt x="4027" y="1035"/>
                </a:lnTo>
                <a:lnTo>
                  <a:pt x="4027" y="1021"/>
                </a:lnTo>
                <a:lnTo>
                  <a:pt x="4070" y="1021"/>
                </a:lnTo>
                <a:lnTo>
                  <a:pt x="4092" y="999"/>
                </a:lnTo>
                <a:lnTo>
                  <a:pt x="4092" y="947"/>
                </a:lnTo>
                <a:lnTo>
                  <a:pt x="4079" y="934"/>
                </a:lnTo>
                <a:lnTo>
                  <a:pt x="4079" y="911"/>
                </a:lnTo>
                <a:lnTo>
                  <a:pt x="4066" y="911"/>
                </a:lnTo>
                <a:lnTo>
                  <a:pt x="4057" y="920"/>
                </a:lnTo>
                <a:lnTo>
                  <a:pt x="4057" y="978"/>
                </a:lnTo>
                <a:lnTo>
                  <a:pt x="4026" y="978"/>
                </a:lnTo>
                <a:lnTo>
                  <a:pt x="4026" y="996"/>
                </a:lnTo>
                <a:close/>
                <a:moveTo>
                  <a:pt x="3994" y="1044"/>
                </a:moveTo>
                <a:lnTo>
                  <a:pt x="3985" y="1053"/>
                </a:lnTo>
                <a:lnTo>
                  <a:pt x="3985" y="1061"/>
                </a:lnTo>
                <a:lnTo>
                  <a:pt x="3993" y="1061"/>
                </a:lnTo>
                <a:lnTo>
                  <a:pt x="4001" y="1053"/>
                </a:lnTo>
                <a:lnTo>
                  <a:pt x="3994" y="1044"/>
                </a:lnTo>
                <a:close/>
                <a:moveTo>
                  <a:pt x="4059" y="826"/>
                </a:moveTo>
                <a:lnTo>
                  <a:pt x="4059" y="867"/>
                </a:lnTo>
                <a:lnTo>
                  <a:pt x="4043" y="881"/>
                </a:lnTo>
                <a:lnTo>
                  <a:pt x="4056" y="894"/>
                </a:lnTo>
                <a:lnTo>
                  <a:pt x="4095" y="894"/>
                </a:lnTo>
                <a:lnTo>
                  <a:pt x="4115" y="874"/>
                </a:lnTo>
                <a:lnTo>
                  <a:pt x="4115" y="860"/>
                </a:lnTo>
                <a:lnTo>
                  <a:pt x="4088" y="860"/>
                </a:lnTo>
                <a:lnTo>
                  <a:pt x="4076" y="848"/>
                </a:lnTo>
                <a:lnTo>
                  <a:pt x="4076" y="826"/>
                </a:lnTo>
                <a:lnTo>
                  <a:pt x="4059" y="826"/>
                </a:lnTo>
                <a:close/>
                <a:moveTo>
                  <a:pt x="4027" y="681"/>
                </a:moveTo>
                <a:lnTo>
                  <a:pt x="4027" y="733"/>
                </a:lnTo>
                <a:lnTo>
                  <a:pt x="4040" y="746"/>
                </a:lnTo>
                <a:lnTo>
                  <a:pt x="4040" y="772"/>
                </a:lnTo>
                <a:lnTo>
                  <a:pt x="4067" y="772"/>
                </a:lnTo>
                <a:lnTo>
                  <a:pt x="4067" y="750"/>
                </a:lnTo>
                <a:lnTo>
                  <a:pt x="4043" y="726"/>
                </a:lnTo>
                <a:lnTo>
                  <a:pt x="4043" y="681"/>
                </a:lnTo>
                <a:lnTo>
                  <a:pt x="4027" y="681"/>
                </a:lnTo>
                <a:close/>
                <a:moveTo>
                  <a:pt x="2164" y="616"/>
                </a:moveTo>
                <a:lnTo>
                  <a:pt x="2171" y="609"/>
                </a:lnTo>
                <a:lnTo>
                  <a:pt x="2171" y="596"/>
                </a:lnTo>
                <a:lnTo>
                  <a:pt x="2164" y="603"/>
                </a:lnTo>
                <a:lnTo>
                  <a:pt x="2164" y="616"/>
                </a:lnTo>
                <a:close/>
                <a:moveTo>
                  <a:pt x="2459" y="367"/>
                </a:moveTo>
                <a:lnTo>
                  <a:pt x="2459" y="351"/>
                </a:lnTo>
                <a:lnTo>
                  <a:pt x="2449" y="351"/>
                </a:lnTo>
                <a:lnTo>
                  <a:pt x="2449" y="360"/>
                </a:lnTo>
                <a:lnTo>
                  <a:pt x="2454" y="360"/>
                </a:lnTo>
                <a:lnTo>
                  <a:pt x="2454" y="373"/>
                </a:lnTo>
                <a:lnTo>
                  <a:pt x="2459" y="367"/>
                </a:lnTo>
                <a:close/>
                <a:moveTo>
                  <a:pt x="2402" y="128"/>
                </a:moveTo>
                <a:lnTo>
                  <a:pt x="2415" y="128"/>
                </a:lnTo>
                <a:lnTo>
                  <a:pt x="2415" y="157"/>
                </a:lnTo>
                <a:lnTo>
                  <a:pt x="2448" y="189"/>
                </a:lnTo>
                <a:lnTo>
                  <a:pt x="2452" y="189"/>
                </a:lnTo>
                <a:lnTo>
                  <a:pt x="2452" y="160"/>
                </a:lnTo>
                <a:lnTo>
                  <a:pt x="2465" y="147"/>
                </a:lnTo>
                <a:lnTo>
                  <a:pt x="2481" y="147"/>
                </a:lnTo>
                <a:lnTo>
                  <a:pt x="2481" y="167"/>
                </a:lnTo>
                <a:lnTo>
                  <a:pt x="2511" y="167"/>
                </a:lnTo>
                <a:lnTo>
                  <a:pt x="2521" y="157"/>
                </a:lnTo>
                <a:lnTo>
                  <a:pt x="2494" y="128"/>
                </a:lnTo>
                <a:lnTo>
                  <a:pt x="2478" y="128"/>
                </a:lnTo>
                <a:lnTo>
                  <a:pt x="2448" y="98"/>
                </a:lnTo>
                <a:lnTo>
                  <a:pt x="2431" y="98"/>
                </a:lnTo>
                <a:lnTo>
                  <a:pt x="2431" y="114"/>
                </a:lnTo>
                <a:lnTo>
                  <a:pt x="2397" y="114"/>
                </a:lnTo>
                <a:lnTo>
                  <a:pt x="2397" y="107"/>
                </a:lnTo>
                <a:lnTo>
                  <a:pt x="2373" y="107"/>
                </a:lnTo>
                <a:lnTo>
                  <a:pt x="2373" y="137"/>
                </a:lnTo>
                <a:lnTo>
                  <a:pt x="2393" y="137"/>
                </a:lnTo>
                <a:lnTo>
                  <a:pt x="2402" y="128"/>
                </a:lnTo>
                <a:close/>
                <a:moveTo>
                  <a:pt x="2510" y="122"/>
                </a:moveTo>
                <a:lnTo>
                  <a:pt x="2526" y="122"/>
                </a:lnTo>
                <a:lnTo>
                  <a:pt x="2559" y="91"/>
                </a:lnTo>
                <a:lnTo>
                  <a:pt x="2517" y="91"/>
                </a:lnTo>
                <a:lnTo>
                  <a:pt x="2508" y="82"/>
                </a:lnTo>
                <a:lnTo>
                  <a:pt x="2474" y="82"/>
                </a:lnTo>
                <a:lnTo>
                  <a:pt x="2474" y="108"/>
                </a:lnTo>
                <a:lnTo>
                  <a:pt x="2495" y="108"/>
                </a:lnTo>
                <a:lnTo>
                  <a:pt x="2510" y="122"/>
                </a:lnTo>
                <a:close/>
                <a:moveTo>
                  <a:pt x="2861" y="323"/>
                </a:moveTo>
                <a:lnTo>
                  <a:pt x="2872" y="334"/>
                </a:lnTo>
                <a:lnTo>
                  <a:pt x="2914" y="334"/>
                </a:lnTo>
                <a:lnTo>
                  <a:pt x="2914" y="327"/>
                </a:lnTo>
                <a:lnTo>
                  <a:pt x="2893" y="305"/>
                </a:lnTo>
                <a:lnTo>
                  <a:pt x="2893" y="268"/>
                </a:lnTo>
                <a:lnTo>
                  <a:pt x="2936" y="225"/>
                </a:lnTo>
                <a:lnTo>
                  <a:pt x="2970" y="225"/>
                </a:lnTo>
                <a:lnTo>
                  <a:pt x="2996" y="199"/>
                </a:lnTo>
                <a:lnTo>
                  <a:pt x="3022" y="199"/>
                </a:lnTo>
                <a:lnTo>
                  <a:pt x="3028" y="193"/>
                </a:lnTo>
                <a:lnTo>
                  <a:pt x="3028" y="177"/>
                </a:lnTo>
                <a:lnTo>
                  <a:pt x="2998" y="177"/>
                </a:lnTo>
                <a:lnTo>
                  <a:pt x="2973" y="202"/>
                </a:lnTo>
                <a:lnTo>
                  <a:pt x="2914" y="202"/>
                </a:lnTo>
                <a:lnTo>
                  <a:pt x="2851" y="265"/>
                </a:lnTo>
                <a:lnTo>
                  <a:pt x="2851" y="308"/>
                </a:lnTo>
                <a:lnTo>
                  <a:pt x="2861" y="308"/>
                </a:lnTo>
                <a:lnTo>
                  <a:pt x="2861" y="323"/>
                </a:lnTo>
                <a:close/>
                <a:moveTo>
                  <a:pt x="2920" y="335"/>
                </a:moveTo>
                <a:lnTo>
                  <a:pt x="2920" y="346"/>
                </a:lnTo>
                <a:lnTo>
                  <a:pt x="2946" y="346"/>
                </a:lnTo>
                <a:lnTo>
                  <a:pt x="2940" y="340"/>
                </a:lnTo>
                <a:lnTo>
                  <a:pt x="2940" y="335"/>
                </a:lnTo>
                <a:lnTo>
                  <a:pt x="2920" y="335"/>
                </a:lnTo>
                <a:close/>
                <a:moveTo>
                  <a:pt x="2834" y="366"/>
                </a:moveTo>
                <a:lnTo>
                  <a:pt x="2822" y="356"/>
                </a:lnTo>
                <a:lnTo>
                  <a:pt x="2813" y="364"/>
                </a:lnTo>
                <a:lnTo>
                  <a:pt x="2813" y="374"/>
                </a:lnTo>
                <a:lnTo>
                  <a:pt x="2824" y="374"/>
                </a:lnTo>
                <a:lnTo>
                  <a:pt x="2834" y="366"/>
                </a:lnTo>
                <a:close/>
                <a:moveTo>
                  <a:pt x="3312" y="81"/>
                </a:moveTo>
                <a:lnTo>
                  <a:pt x="3312" y="59"/>
                </a:lnTo>
                <a:lnTo>
                  <a:pt x="3290" y="59"/>
                </a:lnTo>
                <a:lnTo>
                  <a:pt x="3276" y="73"/>
                </a:lnTo>
                <a:lnTo>
                  <a:pt x="3264" y="73"/>
                </a:lnTo>
                <a:lnTo>
                  <a:pt x="3255" y="82"/>
                </a:lnTo>
                <a:lnTo>
                  <a:pt x="3283" y="109"/>
                </a:lnTo>
                <a:lnTo>
                  <a:pt x="3312" y="81"/>
                </a:lnTo>
                <a:close/>
                <a:moveTo>
                  <a:pt x="3309" y="130"/>
                </a:moveTo>
                <a:lnTo>
                  <a:pt x="3358" y="130"/>
                </a:lnTo>
                <a:lnTo>
                  <a:pt x="3358" y="117"/>
                </a:lnTo>
                <a:lnTo>
                  <a:pt x="3350" y="117"/>
                </a:lnTo>
                <a:lnTo>
                  <a:pt x="3350" y="108"/>
                </a:lnTo>
                <a:lnTo>
                  <a:pt x="3330" y="88"/>
                </a:lnTo>
                <a:lnTo>
                  <a:pt x="3320" y="88"/>
                </a:lnTo>
                <a:lnTo>
                  <a:pt x="3293" y="114"/>
                </a:lnTo>
                <a:lnTo>
                  <a:pt x="3309" y="130"/>
                </a:lnTo>
                <a:close/>
                <a:moveTo>
                  <a:pt x="3407" y="148"/>
                </a:moveTo>
                <a:lnTo>
                  <a:pt x="3418" y="138"/>
                </a:lnTo>
                <a:lnTo>
                  <a:pt x="3418" y="127"/>
                </a:lnTo>
                <a:lnTo>
                  <a:pt x="3404" y="127"/>
                </a:lnTo>
                <a:lnTo>
                  <a:pt x="3392" y="117"/>
                </a:lnTo>
                <a:lnTo>
                  <a:pt x="3366" y="117"/>
                </a:lnTo>
                <a:lnTo>
                  <a:pt x="3366" y="135"/>
                </a:lnTo>
                <a:lnTo>
                  <a:pt x="3381" y="148"/>
                </a:lnTo>
                <a:lnTo>
                  <a:pt x="3407" y="148"/>
                </a:lnTo>
                <a:close/>
                <a:moveTo>
                  <a:pt x="3882" y="233"/>
                </a:moveTo>
                <a:lnTo>
                  <a:pt x="3890" y="225"/>
                </a:lnTo>
                <a:lnTo>
                  <a:pt x="3890" y="219"/>
                </a:lnTo>
                <a:lnTo>
                  <a:pt x="3874" y="219"/>
                </a:lnTo>
                <a:lnTo>
                  <a:pt x="3874" y="209"/>
                </a:lnTo>
                <a:lnTo>
                  <a:pt x="3862" y="196"/>
                </a:lnTo>
                <a:lnTo>
                  <a:pt x="3801" y="196"/>
                </a:lnTo>
                <a:lnTo>
                  <a:pt x="3801" y="217"/>
                </a:lnTo>
                <a:lnTo>
                  <a:pt x="3817" y="233"/>
                </a:lnTo>
                <a:lnTo>
                  <a:pt x="3882" y="233"/>
                </a:lnTo>
                <a:close/>
                <a:moveTo>
                  <a:pt x="3962" y="226"/>
                </a:moveTo>
                <a:lnTo>
                  <a:pt x="3962" y="216"/>
                </a:lnTo>
                <a:lnTo>
                  <a:pt x="3919" y="216"/>
                </a:lnTo>
                <a:lnTo>
                  <a:pt x="3919" y="222"/>
                </a:lnTo>
                <a:lnTo>
                  <a:pt x="3925" y="226"/>
                </a:lnTo>
                <a:lnTo>
                  <a:pt x="3962" y="226"/>
                </a:lnTo>
                <a:close/>
                <a:moveTo>
                  <a:pt x="4373" y="317"/>
                </a:moveTo>
                <a:lnTo>
                  <a:pt x="4360" y="304"/>
                </a:lnTo>
                <a:lnTo>
                  <a:pt x="4350" y="304"/>
                </a:lnTo>
                <a:lnTo>
                  <a:pt x="4337" y="317"/>
                </a:lnTo>
                <a:lnTo>
                  <a:pt x="4337" y="323"/>
                </a:lnTo>
                <a:lnTo>
                  <a:pt x="4373" y="323"/>
                </a:lnTo>
                <a:lnTo>
                  <a:pt x="4373" y="317"/>
                </a:lnTo>
                <a:close/>
                <a:moveTo>
                  <a:pt x="3713" y="1591"/>
                </a:moveTo>
                <a:lnTo>
                  <a:pt x="3749" y="1627"/>
                </a:lnTo>
                <a:lnTo>
                  <a:pt x="3802" y="1627"/>
                </a:lnTo>
                <a:lnTo>
                  <a:pt x="3814" y="1615"/>
                </a:lnTo>
                <a:lnTo>
                  <a:pt x="3814" y="1590"/>
                </a:lnTo>
                <a:lnTo>
                  <a:pt x="3843" y="1561"/>
                </a:lnTo>
                <a:lnTo>
                  <a:pt x="3843" y="1546"/>
                </a:lnTo>
                <a:lnTo>
                  <a:pt x="3834" y="1536"/>
                </a:lnTo>
                <a:lnTo>
                  <a:pt x="3834" y="1506"/>
                </a:lnTo>
                <a:lnTo>
                  <a:pt x="3834" y="1505"/>
                </a:lnTo>
                <a:lnTo>
                  <a:pt x="3849" y="1492"/>
                </a:lnTo>
                <a:lnTo>
                  <a:pt x="3849" y="1476"/>
                </a:lnTo>
                <a:lnTo>
                  <a:pt x="3813" y="1476"/>
                </a:lnTo>
                <a:lnTo>
                  <a:pt x="3765" y="1525"/>
                </a:lnTo>
                <a:lnTo>
                  <a:pt x="3738" y="1525"/>
                </a:lnTo>
                <a:lnTo>
                  <a:pt x="3738" y="1546"/>
                </a:lnTo>
                <a:lnTo>
                  <a:pt x="3738" y="1546"/>
                </a:lnTo>
                <a:lnTo>
                  <a:pt x="3706" y="1546"/>
                </a:lnTo>
                <a:lnTo>
                  <a:pt x="3706" y="1568"/>
                </a:lnTo>
                <a:lnTo>
                  <a:pt x="3713" y="1574"/>
                </a:lnTo>
                <a:lnTo>
                  <a:pt x="3713" y="1591"/>
                </a:lnTo>
                <a:close/>
                <a:moveTo>
                  <a:pt x="2583" y="986"/>
                </a:moveTo>
                <a:lnTo>
                  <a:pt x="2557" y="986"/>
                </a:lnTo>
                <a:lnTo>
                  <a:pt x="2566" y="993"/>
                </a:lnTo>
                <a:lnTo>
                  <a:pt x="2583" y="993"/>
                </a:lnTo>
                <a:lnTo>
                  <a:pt x="2583" y="986"/>
                </a:lnTo>
                <a:close/>
                <a:moveTo>
                  <a:pt x="2668" y="1012"/>
                </a:moveTo>
                <a:lnTo>
                  <a:pt x="2668" y="1019"/>
                </a:lnTo>
                <a:lnTo>
                  <a:pt x="2684" y="1019"/>
                </a:lnTo>
                <a:lnTo>
                  <a:pt x="2690" y="1012"/>
                </a:lnTo>
                <a:lnTo>
                  <a:pt x="2668" y="1012"/>
                </a:lnTo>
                <a:close/>
                <a:moveTo>
                  <a:pt x="2148" y="718"/>
                </a:moveTo>
                <a:lnTo>
                  <a:pt x="2174" y="718"/>
                </a:lnTo>
                <a:lnTo>
                  <a:pt x="2174" y="682"/>
                </a:lnTo>
                <a:lnTo>
                  <a:pt x="2180" y="677"/>
                </a:lnTo>
                <a:lnTo>
                  <a:pt x="2180" y="664"/>
                </a:lnTo>
                <a:lnTo>
                  <a:pt x="2177" y="661"/>
                </a:lnTo>
                <a:lnTo>
                  <a:pt x="2157" y="661"/>
                </a:lnTo>
                <a:lnTo>
                  <a:pt x="2147" y="661"/>
                </a:lnTo>
                <a:lnTo>
                  <a:pt x="2147" y="675"/>
                </a:lnTo>
                <a:lnTo>
                  <a:pt x="2125" y="675"/>
                </a:lnTo>
                <a:lnTo>
                  <a:pt x="2125" y="729"/>
                </a:lnTo>
                <a:lnTo>
                  <a:pt x="2138" y="729"/>
                </a:lnTo>
                <a:lnTo>
                  <a:pt x="2148" y="718"/>
                </a:lnTo>
                <a:close/>
                <a:moveTo>
                  <a:pt x="2209" y="664"/>
                </a:moveTo>
                <a:lnTo>
                  <a:pt x="2216" y="671"/>
                </a:lnTo>
                <a:lnTo>
                  <a:pt x="2216" y="691"/>
                </a:lnTo>
                <a:lnTo>
                  <a:pt x="2197" y="691"/>
                </a:lnTo>
                <a:lnTo>
                  <a:pt x="2197" y="721"/>
                </a:lnTo>
                <a:lnTo>
                  <a:pt x="2215" y="721"/>
                </a:lnTo>
                <a:lnTo>
                  <a:pt x="2215" y="729"/>
                </a:lnTo>
                <a:lnTo>
                  <a:pt x="2202" y="729"/>
                </a:lnTo>
                <a:lnTo>
                  <a:pt x="2183" y="747"/>
                </a:lnTo>
                <a:lnTo>
                  <a:pt x="2192" y="756"/>
                </a:lnTo>
                <a:lnTo>
                  <a:pt x="2207" y="742"/>
                </a:lnTo>
                <a:lnTo>
                  <a:pt x="2253" y="742"/>
                </a:lnTo>
                <a:lnTo>
                  <a:pt x="2271" y="723"/>
                </a:lnTo>
                <a:lnTo>
                  <a:pt x="2271" y="703"/>
                </a:lnTo>
                <a:lnTo>
                  <a:pt x="2262" y="703"/>
                </a:lnTo>
                <a:lnTo>
                  <a:pt x="2252" y="691"/>
                </a:lnTo>
                <a:lnTo>
                  <a:pt x="2252" y="672"/>
                </a:lnTo>
                <a:lnTo>
                  <a:pt x="2232" y="652"/>
                </a:lnTo>
                <a:lnTo>
                  <a:pt x="2232" y="639"/>
                </a:lnTo>
                <a:lnTo>
                  <a:pt x="2219" y="625"/>
                </a:lnTo>
                <a:lnTo>
                  <a:pt x="2219" y="621"/>
                </a:lnTo>
                <a:lnTo>
                  <a:pt x="2225" y="621"/>
                </a:lnTo>
                <a:lnTo>
                  <a:pt x="2225" y="606"/>
                </a:lnTo>
                <a:lnTo>
                  <a:pt x="2207" y="606"/>
                </a:lnTo>
                <a:lnTo>
                  <a:pt x="2207" y="593"/>
                </a:lnTo>
                <a:lnTo>
                  <a:pt x="2194" y="593"/>
                </a:lnTo>
                <a:lnTo>
                  <a:pt x="2180" y="608"/>
                </a:lnTo>
                <a:lnTo>
                  <a:pt x="2180" y="648"/>
                </a:lnTo>
                <a:lnTo>
                  <a:pt x="2196" y="664"/>
                </a:lnTo>
                <a:lnTo>
                  <a:pt x="2209" y="664"/>
                </a:lnTo>
                <a:close/>
                <a:moveTo>
                  <a:pt x="2376" y="885"/>
                </a:moveTo>
                <a:lnTo>
                  <a:pt x="2367" y="894"/>
                </a:lnTo>
                <a:lnTo>
                  <a:pt x="2367" y="911"/>
                </a:lnTo>
                <a:lnTo>
                  <a:pt x="2376" y="911"/>
                </a:lnTo>
                <a:lnTo>
                  <a:pt x="2376" y="885"/>
                </a:lnTo>
                <a:close/>
                <a:moveTo>
                  <a:pt x="2363" y="946"/>
                </a:moveTo>
                <a:lnTo>
                  <a:pt x="2369" y="952"/>
                </a:lnTo>
                <a:lnTo>
                  <a:pt x="2376" y="952"/>
                </a:lnTo>
                <a:lnTo>
                  <a:pt x="2376" y="921"/>
                </a:lnTo>
                <a:lnTo>
                  <a:pt x="2363" y="921"/>
                </a:lnTo>
                <a:lnTo>
                  <a:pt x="2363" y="946"/>
                </a:lnTo>
                <a:close/>
                <a:moveTo>
                  <a:pt x="2455" y="985"/>
                </a:moveTo>
                <a:lnTo>
                  <a:pt x="2455" y="970"/>
                </a:lnTo>
                <a:lnTo>
                  <a:pt x="2451" y="966"/>
                </a:lnTo>
                <a:lnTo>
                  <a:pt x="2423" y="966"/>
                </a:lnTo>
                <a:lnTo>
                  <a:pt x="2423" y="975"/>
                </a:lnTo>
                <a:lnTo>
                  <a:pt x="2435" y="975"/>
                </a:lnTo>
                <a:lnTo>
                  <a:pt x="2443" y="985"/>
                </a:lnTo>
                <a:lnTo>
                  <a:pt x="2455" y="985"/>
                </a:lnTo>
                <a:close/>
                <a:moveTo>
                  <a:pt x="4407" y="502"/>
                </a:moveTo>
                <a:lnTo>
                  <a:pt x="4420" y="517"/>
                </a:lnTo>
                <a:lnTo>
                  <a:pt x="4426" y="510"/>
                </a:lnTo>
                <a:lnTo>
                  <a:pt x="4386" y="469"/>
                </a:lnTo>
                <a:lnTo>
                  <a:pt x="4404" y="449"/>
                </a:lnTo>
                <a:lnTo>
                  <a:pt x="4404" y="433"/>
                </a:lnTo>
                <a:lnTo>
                  <a:pt x="4427" y="433"/>
                </a:lnTo>
                <a:lnTo>
                  <a:pt x="4427" y="449"/>
                </a:lnTo>
                <a:lnTo>
                  <a:pt x="4470" y="449"/>
                </a:lnTo>
                <a:lnTo>
                  <a:pt x="4498" y="477"/>
                </a:lnTo>
                <a:lnTo>
                  <a:pt x="4512" y="464"/>
                </a:lnTo>
                <a:lnTo>
                  <a:pt x="4493" y="443"/>
                </a:lnTo>
                <a:lnTo>
                  <a:pt x="4502" y="435"/>
                </a:lnTo>
                <a:lnTo>
                  <a:pt x="4521" y="435"/>
                </a:lnTo>
                <a:lnTo>
                  <a:pt x="4521" y="416"/>
                </a:lnTo>
                <a:lnTo>
                  <a:pt x="4521" y="416"/>
                </a:lnTo>
                <a:lnTo>
                  <a:pt x="4453" y="416"/>
                </a:lnTo>
                <a:lnTo>
                  <a:pt x="4420" y="383"/>
                </a:lnTo>
                <a:lnTo>
                  <a:pt x="4398" y="383"/>
                </a:lnTo>
                <a:lnTo>
                  <a:pt x="4374" y="359"/>
                </a:lnTo>
                <a:lnTo>
                  <a:pt x="4374" y="359"/>
                </a:lnTo>
                <a:lnTo>
                  <a:pt x="4334" y="359"/>
                </a:lnTo>
                <a:lnTo>
                  <a:pt x="4314" y="337"/>
                </a:lnTo>
                <a:lnTo>
                  <a:pt x="4250" y="337"/>
                </a:lnTo>
                <a:lnTo>
                  <a:pt x="4242" y="347"/>
                </a:lnTo>
                <a:lnTo>
                  <a:pt x="4236" y="351"/>
                </a:lnTo>
                <a:lnTo>
                  <a:pt x="4148" y="351"/>
                </a:lnTo>
                <a:lnTo>
                  <a:pt x="4113" y="317"/>
                </a:lnTo>
                <a:lnTo>
                  <a:pt x="4007" y="317"/>
                </a:lnTo>
                <a:lnTo>
                  <a:pt x="3981" y="291"/>
                </a:lnTo>
                <a:lnTo>
                  <a:pt x="3931" y="291"/>
                </a:lnTo>
                <a:lnTo>
                  <a:pt x="3908" y="269"/>
                </a:lnTo>
                <a:lnTo>
                  <a:pt x="3883" y="269"/>
                </a:lnTo>
                <a:lnTo>
                  <a:pt x="3866" y="285"/>
                </a:lnTo>
                <a:lnTo>
                  <a:pt x="3866" y="310"/>
                </a:lnTo>
                <a:lnTo>
                  <a:pt x="3735" y="310"/>
                </a:lnTo>
                <a:lnTo>
                  <a:pt x="3718" y="292"/>
                </a:lnTo>
                <a:lnTo>
                  <a:pt x="3726" y="284"/>
                </a:lnTo>
                <a:lnTo>
                  <a:pt x="3741" y="284"/>
                </a:lnTo>
                <a:lnTo>
                  <a:pt x="3741" y="268"/>
                </a:lnTo>
                <a:lnTo>
                  <a:pt x="3729" y="256"/>
                </a:lnTo>
                <a:lnTo>
                  <a:pt x="3687" y="256"/>
                </a:lnTo>
                <a:lnTo>
                  <a:pt x="3673" y="272"/>
                </a:lnTo>
                <a:lnTo>
                  <a:pt x="3659" y="285"/>
                </a:lnTo>
                <a:lnTo>
                  <a:pt x="3627" y="255"/>
                </a:lnTo>
                <a:lnTo>
                  <a:pt x="3522" y="255"/>
                </a:lnTo>
                <a:lnTo>
                  <a:pt x="3503" y="274"/>
                </a:lnTo>
                <a:lnTo>
                  <a:pt x="3493" y="263"/>
                </a:lnTo>
                <a:lnTo>
                  <a:pt x="3538" y="220"/>
                </a:lnTo>
                <a:lnTo>
                  <a:pt x="3538" y="200"/>
                </a:lnTo>
                <a:lnTo>
                  <a:pt x="3529" y="191"/>
                </a:lnTo>
                <a:lnTo>
                  <a:pt x="3522" y="184"/>
                </a:lnTo>
                <a:lnTo>
                  <a:pt x="3522" y="184"/>
                </a:lnTo>
                <a:lnTo>
                  <a:pt x="3460" y="184"/>
                </a:lnTo>
                <a:lnTo>
                  <a:pt x="3434" y="160"/>
                </a:lnTo>
                <a:lnTo>
                  <a:pt x="3398" y="160"/>
                </a:lnTo>
                <a:lnTo>
                  <a:pt x="3389" y="170"/>
                </a:lnTo>
                <a:lnTo>
                  <a:pt x="3389" y="196"/>
                </a:lnTo>
                <a:lnTo>
                  <a:pt x="3350" y="196"/>
                </a:lnTo>
                <a:lnTo>
                  <a:pt x="3337" y="209"/>
                </a:lnTo>
                <a:lnTo>
                  <a:pt x="3251" y="209"/>
                </a:lnTo>
                <a:lnTo>
                  <a:pt x="3232" y="227"/>
                </a:lnTo>
                <a:lnTo>
                  <a:pt x="3232" y="256"/>
                </a:lnTo>
                <a:lnTo>
                  <a:pt x="3176" y="256"/>
                </a:lnTo>
                <a:lnTo>
                  <a:pt x="3176" y="256"/>
                </a:lnTo>
                <a:lnTo>
                  <a:pt x="3176" y="278"/>
                </a:lnTo>
                <a:lnTo>
                  <a:pt x="3212" y="314"/>
                </a:lnTo>
                <a:lnTo>
                  <a:pt x="3204" y="323"/>
                </a:lnTo>
                <a:lnTo>
                  <a:pt x="3170" y="291"/>
                </a:lnTo>
                <a:lnTo>
                  <a:pt x="3150" y="291"/>
                </a:lnTo>
                <a:lnTo>
                  <a:pt x="3150" y="320"/>
                </a:lnTo>
                <a:lnTo>
                  <a:pt x="3136" y="320"/>
                </a:lnTo>
                <a:lnTo>
                  <a:pt x="3119" y="302"/>
                </a:lnTo>
                <a:lnTo>
                  <a:pt x="3119" y="276"/>
                </a:lnTo>
                <a:lnTo>
                  <a:pt x="3104" y="276"/>
                </a:lnTo>
                <a:lnTo>
                  <a:pt x="3104" y="276"/>
                </a:lnTo>
                <a:lnTo>
                  <a:pt x="3104" y="318"/>
                </a:lnTo>
                <a:lnTo>
                  <a:pt x="3104" y="318"/>
                </a:lnTo>
                <a:lnTo>
                  <a:pt x="3116" y="318"/>
                </a:lnTo>
                <a:lnTo>
                  <a:pt x="3116" y="359"/>
                </a:lnTo>
                <a:lnTo>
                  <a:pt x="3116" y="359"/>
                </a:lnTo>
                <a:lnTo>
                  <a:pt x="3143" y="359"/>
                </a:lnTo>
                <a:lnTo>
                  <a:pt x="3172" y="386"/>
                </a:lnTo>
                <a:lnTo>
                  <a:pt x="3166" y="393"/>
                </a:lnTo>
                <a:lnTo>
                  <a:pt x="3149" y="376"/>
                </a:lnTo>
                <a:lnTo>
                  <a:pt x="3127" y="376"/>
                </a:lnTo>
                <a:lnTo>
                  <a:pt x="3127" y="376"/>
                </a:lnTo>
                <a:lnTo>
                  <a:pt x="3127" y="392"/>
                </a:lnTo>
                <a:lnTo>
                  <a:pt x="3097" y="422"/>
                </a:lnTo>
                <a:lnTo>
                  <a:pt x="3087" y="413"/>
                </a:lnTo>
                <a:lnTo>
                  <a:pt x="3101" y="399"/>
                </a:lnTo>
                <a:lnTo>
                  <a:pt x="3101" y="379"/>
                </a:lnTo>
                <a:lnTo>
                  <a:pt x="3087" y="364"/>
                </a:lnTo>
                <a:lnTo>
                  <a:pt x="3087" y="272"/>
                </a:lnTo>
                <a:lnTo>
                  <a:pt x="3087" y="272"/>
                </a:lnTo>
                <a:lnTo>
                  <a:pt x="3071" y="256"/>
                </a:lnTo>
                <a:lnTo>
                  <a:pt x="3054" y="256"/>
                </a:lnTo>
                <a:lnTo>
                  <a:pt x="3039" y="271"/>
                </a:lnTo>
                <a:lnTo>
                  <a:pt x="3039" y="315"/>
                </a:lnTo>
                <a:lnTo>
                  <a:pt x="3016" y="315"/>
                </a:lnTo>
                <a:lnTo>
                  <a:pt x="3016" y="333"/>
                </a:lnTo>
                <a:lnTo>
                  <a:pt x="3051" y="367"/>
                </a:lnTo>
                <a:lnTo>
                  <a:pt x="3039" y="379"/>
                </a:lnTo>
                <a:lnTo>
                  <a:pt x="3011" y="350"/>
                </a:lnTo>
                <a:lnTo>
                  <a:pt x="2955" y="350"/>
                </a:lnTo>
                <a:lnTo>
                  <a:pt x="2955" y="367"/>
                </a:lnTo>
                <a:lnTo>
                  <a:pt x="2937" y="367"/>
                </a:lnTo>
                <a:lnTo>
                  <a:pt x="2924" y="380"/>
                </a:lnTo>
                <a:lnTo>
                  <a:pt x="2845" y="380"/>
                </a:lnTo>
                <a:lnTo>
                  <a:pt x="2812" y="413"/>
                </a:lnTo>
                <a:lnTo>
                  <a:pt x="2799" y="413"/>
                </a:lnTo>
                <a:lnTo>
                  <a:pt x="2799" y="392"/>
                </a:lnTo>
                <a:lnTo>
                  <a:pt x="2785" y="377"/>
                </a:lnTo>
                <a:lnTo>
                  <a:pt x="2785" y="377"/>
                </a:lnTo>
                <a:lnTo>
                  <a:pt x="2770" y="377"/>
                </a:lnTo>
                <a:lnTo>
                  <a:pt x="2770" y="377"/>
                </a:lnTo>
                <a:lnTo>
                  <a:pt x="2770" y="438"/>
                </a:lnTo>
                <a:lnTo>
                  <a:pt x="2750" y="419"/>
                </a:lnTo>
                <a:lnTo>
                  <a:pt x="2718" y="449"/>
                </a:lnTo>
                <a:lnTo>
                  <a:pt x="2727" y="458"/>
                </a:lnTo>
                <a:lnTo>
                  <a:pt x="2718" y="468"/>
                </a:lnTo>
                <a:lnTo>
                  <a:pt x="2714" y="464"/>
                </a:lnTo>
                <a:lnTo>
                  <a:pt x="2705" y="455"/>
                </a:lnTo>
                <a:lnTo>
                  <a:pt x="2705" y="455"/>
                </a:lnTo>
                <a:lnTo>
                  <a:pt x="2694" y="466"/>
                </a:lnTo>
                <a:lnTo>
                  <a:pt x="2703" y="475"/>
                </a:lnTo>
                <a:lnTo>
                  <a:pt x="2695" y="482"/>
                </a:lnTo>
                <a:lnTo>
                  <a:pt x="2661" y="448"/>
                </a:lnTo>
                <a:lnTo>
                  <a:pt x="2661" y="413"/>
                </a:lnTo>
                <a:lnTo>
                  <a:pt x="2684" y="413"/>
                </a:lnTo>
                <a:lnTo>
                  <a:pt x="2694" y="422"/>
                </a:lnTo>
                <a:lnTo>
                  <a:pt x="2717" y="422"/>
                </a:lnTo>
                <a:lnTo>
                  <a:pt x="2731" y="409"/>
                </a:lnTo>
                <a:lnTo>
                  <a:pt x="2700" y="379"/>
                </a:lnTo>
                <a:lnTo>
                  <a:pt x="2700" y="379"/>
                </a:lnTo>
                <a:lnTo>
                  <a:pt x="2684" y="379"/>
                </a:lnTo>
                <a:lnTo>
                  <a:pt x="2659" y="354"/>
                </a:lnTo>
                <a:lnTo>
                  <a:pt x="2635" y="354"/>
                </a:lnTo>
                <a:lnTo>
                  <a:pt x="2616" y="337"/>
                </a:lnTo>
                <a:lnTo>
                  <a:pt x="2600" y="321"/>
                </a:lnTo>
                <a:lnTo>
                  <a:pt x="2560" y="321"/>
                </a:lnTo>
                <a:lnTo>
                  <a:pt x="2547" y="334"/>
                </a:lnTo>
                <a:lnTo>
                  <a:pt x="2508" y="334"/>
                </a:lnTo>
                <a:lnTo>
                  <a:pt x="2508" y="334"/>
                </a:lnTo>
                <a:lnTo>
                  <a:pt x="2508" y="363"/>
                </a:lnTo>
                <a:lnTo>
                  <a:pt x="2491" y="380"/>
                </a:lnTo>
                <a:lnTo>
                  <a:pt x="2455" y="380"/>
                </a:lnTo>
                <a:lnTo>
                  <a:pt x="2390" y="445"/>
                </a:lnTo>
                <a:lnTo>
                  <a:pt x="2390" y="445"/>
                </a:lnTo>
                <a:lnTo>
                  <a:pt x="2390" y="471"/>
                </a:lnTo>
                <a:lnTo>
                  <a:pt x="2360" y="501"/>
                </a:lnTo>
                <a:lnTo>
                  <a:pt x="2336" y="501"/>
                </a:lnTo>
                <a:lnTo>
                  <a:pt x="2315" y="521"/>
                </a:lnTo>
                <a:lnTo>
                  <a:pt x="2315" y="559"/>
                </a:lnTo>
                <a:lnTo>
                  <a:pt x="2325" y="559"/>
                </a:lnTo>
                <a:lnTo>
                  <a:pt x="2325" y="599"/>
                </a:lnTo>
                <a:lnTo>
                  <a:pt x="2348" y="599"/>
                </a:lnTo>
                <a:lnTo>
                  <a:pt x="2356" y="592"/>
                </a:lnTo>
                <a:lnTo>
                  <a:pt x="2364" y="583"/>
                </a:lnTo>
                <a:lnTo>
                  <a:pt x="2383" y="583"/>
                </a:lnTo>
                <a:lnTo>
                  <a:pt x="2389" y="587"/>
                </a:lnTo>
                <a:lnTo>
                  <a:pt x="2395" y="595"/>
                </a:lnTo>
                <a:lnTo>
                  <a:pt x="2393" y="592"/>
                </a:lnTo>
                <a:lnTo>
                  <a:pt x="2407" y="606"/>
                </a:lnTo>
                <a:lnTo>
                  <a:pt x="2407" y="629"/>
                </a:lnTo>
                <a:lnTo>
                  <a:pt x="2416" y="629"/>
                </a:lnTo>
                <a:lnTo>
                  <a:pt x="2416" y="654"/>
                </a:lnTo>
                <a:lnTo>
                  <a:pt x="2416" y="654"/>
                </a:lnTo>
                <a:lnTo>
                  <a:pt x="2428" y="654"/>
                </a:lnTo>
                <a:lnTo>
                  <a:pt x="2443" y="636"/>
                </a:lnTo>
                <a:lnTo>
                  <a:pt x="2461" y="621"/>
                </a:lnTo>
                <a:lnTo>
                  <a:pt x="2461" y="600"/>
                </a:lnTo>
                <a:lnTo>
                  <a:pt x="2477" y="585"/>
                </a:lnTo>
                <a:lnTo>
                  <a:pt x="2477" y="585"/>
                </a:lnTo>
                <a:lnTo>
                  <a:pt x="2477" y="559"/>
                </a:lnTo>
                <a:lnTo>
                  <a:pt x="2477" y="559"/>
                </a:lnTo>
                <a:lnTo>
                  <a:pt x="2467" y="549"/>
                </a:lnTo>
                <a:lnTo>
                  <a:pt x="2467" y="500"/>
                </a:lnTo>
                <a:lnTo>
                  <a:pt x="2472" y="494"/>
                </a:lnTo>
                <a:lnTo>
                  <a:pt x="2492" y="494"/>
                </a:lnTo>
                <a:lnTo>
                  <a:pt x="2513" y="472"/>
                </a:lnTo>
                <a:lnTo>
                  <a:pt x="2513" y="472"/>
                </a:lnTo>
                <a:lnTo>
                  <a:pt x="2513" y="454"/>
                </a:lnTo>
                <a:lnTo>
                  <a:pt x="2524" y="442"/>
                </a:lnTo>
                <a:lnTo>
                  <a:pt x="2531" y="442"/>
                </a:lnTo>
                <a:lnTo>
                  <a:pt x="2550" y="442"/>
                </a:lnTo>
                <a:lnTo>
                  <a:pt x="2553" y="443"/>
                </a:lnTo>
                <a:lnTo>
                  <a:pt x="2554" y="446"/>
                </a:lnTo>
                <a:lnTo>
                  <a:pt x="2554" y="458"/>
                </a:lnTo>
                <a:lnTo>
                  <a:pt x="2544" y="458"/>
                </a:lnTo>
                <a:lnTo>
                  <a:pt x="2510" y="494"/>
                </a:lnTo>
                <a:lnTo>
                  <a:pt x="2510" y="494"/>
                </a:lnTo>
                <a:lnTo>
                  <a:pt x="2510" y="534"/>
                </a:lnTo>
                <a:lnTo>
                  <a:pt x="2534" y="559"/>
                </a:lnTo>
                <a:lnTo>
                  <a:pt x="2587" y="559"/>
                </a:lnTo>
                <a:lnTo>
                  <a:pt x="2587" y="567"/>
                </a:lnTo>
                <a:lnTo>
                  <a:pt x="2551" y="567"/>
                </a:lnTo>
                <a:lnTo>
                  <a:pt x="2538" y="580"/>
                </a:lnTo>
                <a:lnTo>
                  <a:pt x="2538" y="595"/>
                </a:lnTo>
                <a:lnTo>
                  <a:pt x="2549" y="595"/>
                </a:lnTo>
                <a:lnTo>
                  <a:pt x="2549" y="608"/>
                </a:lnTo>
                <a:lnTo>
                  <a:pt x="2536" y="608"/>
                </a:lnTo>
                <a:lnTo>
                  <a:pt x="2526" y="598"/>
                </a:lnTo>
                <a:lnTo>
                  <a:pt x="2518" y="605"/>
                </a:lnTo>
                <a:lnTo>
                  <a:pt x="2518" y="631"/>
                </a:lnTo>
                <a:lnTo>
                  <a:pt x="2518" y="645"/>
                </a:lnTo>
                <a:lnTo>
                  <a:pt x="2507" y="657"/>
                </a:lnTo>
                <a:lnTo>
                  <a:pt x="2501" y="662"/>
                </a:lnTo>
                <a:lnTo>
                  <a:pt x="2451" y="662"/>
                </a:lnTo>
                <a:lnTo>
                  <a:pt x="2429" y="684"/>
                </a:lnTo>
                <a:lnTo>
                  <a:pt x="2393" y="684"/>
                </a:lnTo>
                <a:lnTo>
                  <a:pt x="2387" y="678"/>
                </a:lnTo>
                <a:lnTo>
                  <a:pt x="2379" y="670"/>
                </a:lnTo>
                <a:lnTo>
                  <a:pt x="2379" y="665"/>
                </a:lnTo>
                <a:lnTo>
                  <a:pt x="2379" y="665"/>
                </a:lnTo>
                <a:lnTo>
                  <a:pt x="2379" y="646"/>
                </a:lnTo>
                <a:lnTo>
                  <a:pt x="2393" y="632"/>
                </a:lnTo>
                <a:lnTo>
                  <a:pt x="2379" y="618"/>
                </a:lnTo>
                <a:lnTo>
                  <a:pt x="2369" y="629"/>
                </a:lnTo>
                <a:lnTo>
                  <a:pt x="2348" y="629"/>
                </a:lnTo>
                <a:lnTo>
                  <a:pt x="2348" y="629"/>
                </a:lnTo>
                <a:lnTo>
                  <a:pt x="2348" y="651"/>
                </a:lnTo>
                <a:lnTo>
                  <a:pt x="2359" y="661"/>
                </a:lnTo>
                <a:lnTo>
                  <a:pt x="2359" y="665"/>
                </a:lnTo>
                <a:lnTo>
                  <a:pt x="2359" y="695"/>
                </a:lnTo>
                <a:lnTo>
                  <a:pt x="2346" y="695"/>
                </a:lnTo>
                <a:lnTo>
                  <a:pt x="2346" y="695"/>
                </a:lnTo>
                <a:lnTo>
                  <a:pt x="2324" y="695"/>
                </a:lnTo>
                <a:lnTo>
                  <a:pt x="2305" y="714"/>
                </a:lnTo>
                <a:lnTo>
                  <a:pt x="2305" y="733"/>
                </a:lnTo>
                <a:lnTo>
                  <a:pt x="2287" y="733"/>
                </a:lnTo>
                <a:lnTo>
                  <a:pt x="2252" y="766"/>
                </a:lnTo>
                <a:lnTo>
                  <a:pt x="2238" y="766"/>
                </a:lnTo>
                <a:lnTo>
                  <a:pt x="2238" y="760"/>
                </a:lnTo>
                <a:lnTo>
                  <a:pt x="2238" y="760"/>
                </a:lnTo>
                <a:lnTo>
                  <a:pt x="2238" y="760"/>
                </a:lnTo>
                <a:lnTo>
                  <a:pt x="2228" y="760"/>
                </a:lnTo>
                <a:lnTo>
                  <a:pt x="2228" y="760"/>
                </a:lnTo>
                <a:lnTo>
                  <a:pt x="2228" y="760"/>
                </a:lnTo>
                <a:lnTo>
                  <a:pt x="2228" y="775"/>
                </a:lnTo>
                <a:lnTo>
                  <a:pt x="2219" y="775"/>
                </a:lnTo>
                <a:lnTo>
                  <a:pt x="2217" y="775"/>
                </a:lnTo>
                <a:lnTo>
                  <a:pt x="2212" y="782"/>
                </a:lnTo>
                <a:lnTo>
                  <a:pt x="2197" y="782"/>
                </a:lnTo>
                <a:lnTo>
                  <a:pt x="2197" y="798"/>
                </a:lnTo>
                <a:lnTo>
                  <a:pt x="2217" y="798"/>
                </a:lnTo>
                <a:lnTo>
                  <a:pt x="2233" y="813"/>
                </a:lnTo>
                <a:lnTo>
                  <a:pt x="2233" y="865"/>
                </a:lnTo>
                <a:lnTo>
                  <a:pt x="2223" y="875"/>
                </a:lnTo>
                <a:lnTo>
                  <a:pt x="2143" y="875"/>
                </a:lnTo>
                <a:lnTo>
                  <a:pt x="2143" y="901"/>
                </a:lnTo>
                <a:lnTo>
                  <a:pt x="2143" y="901"/>
                </a:lnTo>
                <a:lnTo>
                  <a:pt x="2135" y="909"/>
                </a:lnTo>
                <a:lnTo>
                  <a:pt x="2135" y="982"/>
                </a:lnTo>
                <a:lnTo>
                  <a:pt x="2135" y="982"/>
                </a:lnTo>
                <a:lnTo>
                  <a:pt x="2164" y="982"/>
                </a:lnTo>
                <a:lnTo>
                  <a:pt x="2164" y="988"/>
                </a:lnTo>
                <a:lnTo>
                  <a:pt x="2179" y="1004"/>
                </a:lnTo>
                <a:lnTo>
                  <a:pt x="2179" y="1004"/>
                </a:lnTo>
                <a:lnTo>
                  <a:pt x="2189" y="1004"/>
                </a:lnTo>
                <a:lnTo>
                  <a:pt x="2193" y="999"/>
                </a:lnTo>
                <a:lnTo>
                  <a:pt x="2196" y="996"/>
                </a:lnTo>
                <a:lnTo>
                  <a:pt x="2230" y="996"/>
                </a:lnTo>
                <a:lnTo>
                  <a:pt x="2230" y="996"/>
                </a:lnTo>
                <a:lnTo>
                  <a:pt x="2242" y="983"/>
                </a:lnTo>
                <a:lnTo>
                  <a:pt x="2255" y="970"/>
                </a:lnTo>
                <a:lnTo>
                  <a:pt x="2255" y="953"/>
                </a:lnTo>
                <a:lnTo>
                  <a:pt x="2242" y="940"/>
                </a:lnTo>
                <a:lnTo>
                  <a:pt x="2256" y="926"/>
                </a:lnTo>
                <a:lnTo>
                  <a:pt x="2269" y="926"/>
                </a:lnTo>
                <a:lnTo>
                  <a:pt x="2269" y="926"/>
                </a:lnTo>
                <a:lnTo>
                  <a:pt x="2297" y="898"/>
                </a:lnTo>
                <a:lnTo>
                  <a:pt x="2297" y="874"/>
                </a:lnTo>
                <a:lnTo>
                  <a:pt x="2320" y="874"/>
                </a:lnTo>
                <a:lnTo>
                  <a:pt x="2323" y="877"/>
                </a:lnTo>
                <a:lnTo>
                  <a:pt x="2325" y="880"/>
                </a:lnTo>
                <a:lnTo>
                  <a:pt x="2336" y="880"/>
                </a:lnTo>
                <a:lnTo>
                  <a:pt x="2336" y="880"/>
                </a:lnTo>
                <a:lnTo>
                  <a:pt x="2346" y="871"/>
                </a:lnTo>
                <a:lnTo>
                  <a:pt x="2359" y="871"/>
                </a:lnTo>
                <a:lnTo>
                  <a:pt x="2359" y="871"/>
                </a:lnTo>
                <a:lnTo>
                  <a:pt x="2364" y="865"/>
                </a:lnTo>
                <a:lnTo>
                  <a:pt x="2379" y="865"/>
                </a:lnTo>
                <a:lnTo>
                  <a:pt x="2390" y="875"/>
                </a:lnTo>
                <a:lnTo>
                  <a:pt x="2390" y="890"/>
                </a:lnTo>
                <a:lnTo>
                  <a:pt x="2415" y="916"/>
                </a:lnTo>
                <a:lnTo>
                  <a:pt x="2433" y="916"/>
                </a:lnTo>
                <a:lnTo>
                  <a:pt x="2446" y="929"/>
                </a:lnTo>
                <a:lnTo>
                  <a:pt x="2454" y="934"/>
                </a:lnTo>
                <a:lnTo>
                  <a:pt x="2454" y="962"/>
                </a:lnTo>
                <a:lnTo>
                  <a:pt x="2459" y="968"/>
                </a:lnTo>
                <a:lnTo>
                  <a:pt x="2459" y="968"/>
                </a:lnTo>
                <a:lnTo>
                  <a:pt x="2472" y="955"/>
                </a:lnTo>
                <a:lnTo>
                  <a:pt x="2477" y="952"/>
                </a:lnTo>
                <a:lnTo>
                  <a:pt x="2477" y="952"/>
                </a:lnTo>
                <a:lnTo>
                  <a:pt x="2474" y="949"/>
                </a:lnTo>
                <a:lnTo>
                  <a:pt x="2469" y="943"/>
                </a:lnTo>
                <a:lnTo>
                  <a:pt x="2472" y="940"/>
                </a:lnTo>
                <a:lnTo>
                  <a:pt x="2479" y="933"/>
                </a:lnTo>
                <a:lnTo>
                  <a:pt x="2481" y="933"/>
                </a:lnTo>
                <a:lnTo>
                  <a:pt x="2488" y="942"/>
                </a:lnTo>
                <a:lnTo>
                  <a:pt x="2497" y="933"/>
                </a:lnTo>
                <a:lnTo>
                  <a:pt x="2481" y="917"/>
                </a:lnTo>
                <a:lnTo>
                  <a:pt x="2465" y="903"/>
                </a:lnTo>
                <a:lnTo>
                  <a:pt x="2454" y="903"/>
                </a:lnTo>
                <a:lnTo>
                  <a:pt x="2415" y="864"/>
                </a:lnTo>
                <a:lnTo>
                  <a:pt x="2415" y="839"/>
                </a:lnTo>
                <a:lnTo>
                  <a:pt x="2425" y="839"/>
                </a:lnTo>
                <a:lnTo>
                  <a:pt x="2429" y="839"/>
                </a:lnTo>
                <a:lnTo>
                  <a:pt x="2432" y="842"/>
                </a:lnTo>
                <a:lnTo>
                  <a:pt x="2471" y="880"/>
                </a:lnTo>
                <a:lnTo>
                  <a:pt x="2472" y="883"/>
                </a:lnTo>
                <a:lnTo>
                  <a:pt x="2492" y="901"/>
                </a:lnTo>
                <a:lnTo>
                  <a:pt x="2492" y="904"/>
                </a:lnTo>
                <a:lnTo>
                  <a:pt x="2492" y="921"/>
                </a:lnTo>
                <a:lnTo>
                  <a:pt x="2518" y="947"/>
                </a:lnTo>
                <a:lnTo>
                  <a:pt x="2526" y="955"/>
                </a:lnTo>
                <a:lnTo>
                  <a:pt x="2526" y="978"/>
                </a:lnTo>
                <a:lnTo>
                  <a:pt x="2526" y="978"/>
                </a:lnTo>
                <a:lnTo>
                  <a:pt x="2551" y="978"/>
                </a:lnTo>
                <a:lnTo>
                  <a:pt x="2560" y="970"/>
                </a:lnTo>
                <a:lnTo>
                  <a:pt x="2560" y="963"/>
                </a:lnTo>
                <a:lnTo>
                  <a:pt x="2541" y="945"/>
                </a:lnTo>
                <a:lnTo>
                  <a:pt x="2563" y="923"/>
                </a:lnTo>
                <a:lnTo>
                  <a:pt x="2592" y="923"/>
                </a:lnTo>
                <a:lnTo>
                  <a:pt x="2596" y="919"/>
                </a:lnTo>
                <a:lnTo>
                  <a:pt x="2600" y="914"/>
                </a:lnTo>
                <a:lnTo>
                  <a:pt x="2600" y="914"/>
                </a:lnTo>
                <a:lnTo>
                  <a:pt x="2600" y="906"/>
                </a:lnTo>
                <a:lnTo>
                  <a:pt x="2600" y="874"/>
                </a:lnTo>
                <a:lnTo>
                  <a:pt x="2600" y="874"/>
                </a:lnTo>
                <a:lnTo>
                  <a:pt x="2600" y="864"/>
                </a:lnTo>
                <a:lnTo>
                  <a:pt x="2615" y="849"/>
                </a:lnTo>
                <a:lnTo>
                  <a:pt x="2629" y="849"/>
                </a:lnTo>
                <a:lnTo>
                  <a:pt x="2634" y="849"/>
                </a:lnTo>
                <a:lnTo>
                  <a:pt x="2641" y="842"/>
                </a:lnTo>
                <a:lnTo>
                  <a:pt x="2641" y="819"/>
                </a:lnTo>
                <a:lnTo>
                  <a:pt x="2655" y="819"/>
                </a:lnTo>
                <a:lnTo>
                  <a:pt x="2669" y="834"/>
                </a:lnTo>
                <a:lnTo>
                  <a:pt x="2708" y="834"/>
                </a:lnTo>
                <a:lnTo>
                  <a:pt x="2708" y="834"/>
                </a:lnTo>
                <a:lnTo>
                  <a:pt x="2708" y="829"/>
                </a:lnTo>
                <a:lnTo>
                  <a:pt x="2700" y="829"/>
                </a:lnTo>
                <a:lnTo>
                  <a:pt x="2695" y="825"/>
                </a:lnTo>
                <a:lnTo>
                  <a:pt x="2717" y="805"/>
                </a:lnTo>
                <a:lnTo>
                  <a:pt x="2737" y="805"/>
                </a:lnTo>
                <a:lnTo>
                  <a:pt x="2737" y="805"/>
                </a:lnTo>
                <a:lnTo>
                  <a:pt x="2743" y="811"/>
                </a:lnTo>
                <a:lnTo>
                  <a:pt x="2718" y="834"/>
                </a:lnTo>
                <a:lnTo>
                  <a:pt x="2718" y="848"/>
                </a:lnTo>
                <a:lnTo>
                  <a:pt x="2737" y="848"/>
                </a:lnTo>
                <a:lnTo>
                  <a:pt x="2752" y="862"/>
                </a:lnTo>
                <a:lnTo>
                  <a:pt x="2752" y="862"/>
                </a:lnTo>
                <a:lnTo>
                  <a:pt x="2783" y="893"/>
                </a:lnTo>
                <a:lnTo>
                  <a:pt x="2783" y="904"/>
                </a:lnTo>
                <a:lnTo>
                  <a:pt x="2783" y="911"/>
                </a:lnTo>
                <a:lnTo>
                  <a:pt x="2718" y="911"/>
                </a:lnTo>
                <a:lnTo>
                  <a:pt x="2705" y="898"/>
                </a:lnTo>
                <a:lnTo>
                  <a:pt x="2678" y="898"/>
                </a:lnTo>
                <a:lnTo>
                  <a:pt x="2668" y="909"/>
                </a:lnTo>
                <a:lnTo>
                  <a:pt x="2621" y="909"/>
                </a:lnTo>
                <a:lnTo>
                  <a:pt x="2621" y="909"/>
                </a:lnTo>
                <a:lnTo>
                  <a:pt x="2619" y="910"/>
                </a:lnTo>
                <a:lnTo>
                  <a:pt x="2613" y="914"/>
                </a:lnTo>
                <a:lnTo>
                  <a:pt x="2613" y="926"/>
                </a:lnTo>
                <a:lnTo>
                  <a:pt x="2599" y="940"/>
                </a:lnTo>
                <a:lnTo>
                  <a:pt x="2599" y="973"/>
                </a:lnTo>
                <a:lnTo>
                  <a:pt x="2628" y="1002"/>
                </a:lnTo>
                <a:lnTo>
                  <a:pt x="2634" y="1002"/>
                </a:lnTo>
                <a:lnTo>
                  <a:pt x="2636" y="999"/>
                </a:lnTo>
                <a:lnTo>
                  <a:pt x="2645" y="991"/>
                </a:lnTo>
                <a:lnTo>
                  <a:pt x="2667" y="991"/>
                </a:lnTo>
                <a:lnTo>
                  <a:pt x="2672" y="996"/>
                </a:lnTo>
                <a:lnTo>
                  <a:pt x="2710" y="996"/>
                </a:lnTo>
                <a:lnTo>
                  <a:pt x="2710" y="1025"/>
                </a:lnTo>
                <a:lnTo>
                  <a:pt x="2710" y="1025"/>
                </a:lnTo>
                <a:lnTo>
                  <a:pt x="2710" y="1048"/>
                </a:lnTo>
                <a:lnTo>
                  <a:pt x="2710" y="1048"/>
                </a:lnTo>
                <a:lnTo>
                  <a:pt x="2710" y="1053"/>
                </a:lnTo>
                <a:lnTo>
                  <a:pt x="2710" y="1053"/>
                </a:lnTo>
                <a:lnTo>
                  <a:pt x="2710" y="1061"/>
                </a:lnTo>
                <a:lnTo>
                  <a:pt x="2707" y="1064"/>
                </a:lnTo>
                <a:lnTo>
                  <a:pt x="2690" y="1081"/>
                </a:lnTo>
                <a:lnTo>
                  <a:pt x="2579" y="1081"/>
                </a:lnTo>
                <a:lnTo>
                  <a:pt x="2579" y="1067"/>
                </a:lnTo>
                <a:lnTo>
                  <a:pt x="2556" y="1067"/>
                </a:lnTo>
                <a:lnTo>
                  <a:pt x="2540" y="1051"/>
                </a:lnTo>
                <a:lnTo>
                  <a:pt x="2526" y="1051"/>
                </a:lnTo>
                <a:lnTo>
                  <a:pt x="2526" y="1051"/>
                </a:lnTo>
                <a:lnTo>
                  <a:pt x="2510" y="1067"/>
                </a:lnTo>
                <a:lnTo>
                  <a:pt x="2510" y="1087"/>
                </a:lnTo>
                <a:lnTo>
                  <a:pt x="2478" y="1087"/>
                </a:lnTo>
                <a:lnTo>
                  <a:pt x="2452" y="1060"/>
                </a:lnTo>
                <a:lnTo>
                  <a:pt x="2452" y="1060"/>
                </a:lnTo>
                <a:lnTo>
                  <a:pt x="2406" y="1060"/>
                </a:lnTo>
                <a:lnTo>
                  <a:pt x="2387" y="1042"/>
                </a:lnTo>
                <a:lnTo>
                  <a:pt x="2387" y="1025"/>
                </a:lnTo>
                <a:lnTo>
                  <a:pt x="2402" y="1025"/>
                </a:lnTo>
                <a:lnTo>
                  <a:pt x="2402" y="992"/>
                </a:lnTo>
                <a:lnTo>
                  <a:pt x="2397" y="988"/>
                </a:lnTo>
                <a:lnTo>
                  <a:pt x="2395" y="985"/>
                </a:lnTo>
                <a:lnTo>
                  <a:pt x="2369" y="985"/>
                </a:lnTo>
                <a:lnTo>
                  <a:pt x="2366" y="986"/>
                </a:lnTo>
                <a:lnTo>
                  <a:pt x="2364" y="989"/>
                </a:lnTo>
                <a:lnTo>
                  <a:pt x="2361" y="992"/>
                </a:lnTo>
                <a:lnTo>
                  <a:pt x="2285" y="992"/>
                </a:lnTo>
                <a:lnTo>
                  <a:pt x="2265" y="992"/>
                </a:lnTo>
                <a:lnTo>
                  <a:pt x="2265" y="992"/>
                </a:lnTo>
                <a:lnTo>
                  <a:pt x="2246" y="1011"/>
                </a:lnTo>
                <a:lnTo>
                  <a:pt x="2232" y="1011"/>
                </a:lnTo>
                <a:lnTo>
                  <a:pt x="2232" y="1011"/>
                </a:lnTo>
                <a:lnTo>
                  <a:pt x="2177" y="1011"/>
                </a:lnTo>
                <a:lnTo>
                  <a:pt x="2177" y="1011"/>
                </a:lnTo>
                <a:lnTo>
                  <a:pt x="2153" y="1035"/>
                </a:lnTo>
                <a:lnTo>
                  <a:pt x="2121" y="1067"/>
                </a:lnTo>
                <a:lnTo>
                  <a:pt x="2121" y="1110"/>
                </a:lnTo>
                <a:lnTo>
                  <a:pt x="2112" y="1120"/>
                </a:lnTo>
                <a:lnTo>
                  <a:pt x="2098" y="1135"/>
                </a:lnTo>
                <a:lnTo>
                  <a:pt x="2061" y="1172"/>
                </a:lnTo>
                <a:lnTo>
                  <a:pt x="2061" y="1172"/>
                </a:lnTo>
                <a:lnTo>
                  <a:pt x="2061" y="1191"/>
                </a:lnTo>
                <a:lnTo>
                  <a:pt x="2036" y="1214"/>
                </a:lnTo>
                <a:lnTo>
                  <a:pt x="2036" y="1320"/>
                </a:lnTo>
                <a:lnTo>
                  <a:pt x="2036" y="1329"/>
                </a:lnTo>
                <a:lnTo>
                  <a:pt x="2022" y="1343"/>
                </a:lnTo>
                <a:lnTo>
                  <a:pt x="2022" y="1343"/>
                </a:lnTo>
                <a:lnTo>
                  <a:pt x="2022" y="1353"/>
                </a:lnTo>
                <a:lnTo>
                  <a:pt x="2022" y="1366"/>
                </a:lnTo>
                <a:lnTo>
                  <a:pt x="2022" y="1384"/>
                </a:lnTo>
                <a:lnTo>
                  <a:pt x="2022" y="1384"/>
                </a:lnTo>
                <a:lnTo>
                  <a:pt x="2046" y="1408"/>
                </a:lnTo>
                <a:lnTo>
                  <a:pt x="2069" y="1433"/>
                </a:lnTo>
                <a:lnTo>
                  <a:pt x="2082" y="1444"/>
                </a:lnTo>
                <a:lnTo>
                  <a:pt x="2095" y="1459"/>
                </a:lnTo>
                <a:lnTo>
                  <a:pt x="2095" y="1459"/>
                </a:lnTo>
                <a:lnTo>
                  <a:pt x="2108" y="1459"/>
                </a:lnTo>
                <a:lnTo>
                  <a:pt x="2108" y="1459"/>
                </a:lnTo>
                <a:lnTo>
                  <a:pt x="2108" y="1474"/>
                </a:lnTo>
                <a:lnTo>
                  <a:pt x="2108" y="1474"/>
                </a:lnTo>
                <a:lnTo>
                  <a:pt x="2125" y="1492"/>
                </a:lnTo>
                <a:lnTo>
                  <a:pt x="2143" y="1509"/>
                </a:lnTo>
                <a:lnTo>
                  <a:pt x="2163" y="1509"/>
                </a:lnTo>
                <a:lnTo>
                  <a:pt x="2179" y="1492"/>
                </a:lnTo>
                <a:lnTo>
                  <a:pt x="2219" y="1492"/>
                </a:lnTo>
                <a:lnTo>
                  <a:pt x="2251" y="1492"/>
                </a:lnTo>
                <a:lnTo>
                  <a:pt x="2261" y="1492"/>
                </a:lnTo>
                <a:lnTo>
                  <a:pt x="2261" y="1492"/>
                </a:lnTo>
                <a:lnTo>
                  <a:pt x="2265" y="1489"/>
                </a:lnTo>
                <a:lnTo>
                  <a:pt x="2284" y="1469"/>
                </a:lnTo>
                <a:lnTo>
                  <a:pt x="2289" y="1469"/>
                </a:lnTo>
                <a:lnTo>
                  <a:pt x="2289" y="1469"/>
                </a:lnTo>
                <a:lnTo>
                  <a:pt x="2315" y="1469"/>
                </a:lnTo>
                <a:lnTo>
                  <a:pt x="2324" y="1477"/>
                </a:lnTo>
                <a:lnTo>
                  <a:pt x="2324" y="1507"/>
                </a:lnTo>
                <a:lnTo>
                  <a:pt x="2359" y="1507"/>
                </a:lnTo>
                <a:lnTo>
                  <a:pt x="2370" y="1507"/>
                </a:lnTo>
                <a:lnTo>
                  <a:pt x="2377" y="1513"/>
                </a:lnTo>
                <a:lnTo>
                  <a:pt x="2383" y="1519"/>
                </a:lnTo>
                <a:lnTo>
                  <a:pt x="2383" y="1543"/>
                </a:lnTo>
                <a:lnTo>
                  <a:pt x="2383" y="1552"/>
                </a:lnTo>
                <a:lnTo>
                  <a:pt x="2383" y="1579"/>
                </a:lnTo>
                <a:lnTo>
                  <a:pt x="2373" y="1590"/>
                </a:lnTo>
                <a:lnTo>
                  <a:pt x="2373" y="1604"/>
                </a:lnTo>
                <a:lnTo>
                  <a:pt x="2416" y="1647"/>
                </a:lnTo>
                <a:lnTo>
                  <a:pt x="2416" y="1649"/>
                </a:lnTo>
                <a:lnTo>
                  <a:pt x="2416" y="1692"/>
                </a:lnTo>
                <a:lnTo>
                  <a:pt x="2428" y="1703"/>
                </a:lnTo>
                <a:lnTo>
                  <a:pt x="2428" y="1778"/>
                </a:lnTo>
                <a:lnTo>
                  <a:pt x="2415" y="1791"/>
                </a:lnTo>
                <a:lnTo>
                  <a:pt x="2403" y="1803"/>
                </a:lnTo>
                <a:lnTo>
                  <a:pt x="2403" y="1846"/>
                </a:lnTo>
                <a:lnTo>
                  <a:pt x="2403" y="1846"/>
                </a:lnTo>
                <a:lnTo>
                  <a:pt x="2403" y="1869"/>
                </a:lnTo>
                <a:lnTo>
                  <a:pt x="2441" y="1906"/>
                </a:lnTo>
                <a:lnTo>
                  <a:pt x="2441" y="1997"/>
                </a:lnTo>
                <a:lnTo>
                  <a:pt x="2474" y="2030"/>
                </a:lnTo>
                <a:lnTo>
                  <a:pt x="2474" y="2091"/>
                </a:lnTo>
                <a:lnTo>
                  <a:pt x="2508" y="2125"/>
                </a:lnTo>
                <a:lnTo>
                  <a:pt x="2530" y="2125"/>
                </a:lnTo>
                <a:lnTo>
                  <a:pt x="2549" y="2108"/>
                </a:lnTo>
                <a:lnTo>
                  <a:pt x="2602" y="2108"/>
                </a:lnTo>
                <a:lnTo>
                  <a:pt x="2664" y="2046"/>
                </a:lnTo>
                <a:lnTo>
                  <a:pt x="2664" y="2023"/>
                </a:lnTo>
                <a:lnTo>
                  <a:pt x="2678" y="2023"/>
                </a:lnTo>
                <a:lnTo>
                  <a:pt x="2691" y="2011"/>
                </a:lnTo>
                <a:lnTo>
                  <a:pt x="2691" y="1970"/>
                </a:lnTo>
                <a:lnTo>
                  <a:pt x="2695" y="1965"/>
                </a:lnTo>
                <a:lnTo>
                  <a:pt x="2700" y="1960"/>
                </a:lnTo>
                <a:lnTo>
                  <a:pt x="2716" y="1960"/>
                </a:lnTo>
                <a:lnTo>
                  <a:pt x="2716" y="1883"/>
                </a:lnTo>
                <a:lnTo>
                  <a:pt x="2765" y="1834"/>
                </a:lnTo>
                <a:lnTo>
                  <a:pt x="2779" y="1834"/>
                </a:lnTo>
                <a:lnTo>
                  <a:pt x="2779" y="1834"/>
                </a:lnTo>
                <a:lnTo>
                  <a:pt x="2793" y="1820"/>
                </a:lnTo>
                <a:lnTo>
                  <a:pt x="2795" y="1818"/>
                </a:lnTo>
                <a:lnTo>
                  <a:pt x="2795" y="1818"/>
                </a:lnTo>
                <a:lnTo>
                  <a:pt x="2795" y="1742"/>
                </a:lnTo>
                <a:lnTo>
                  <a:pt x="2795" y="1742"/>
                </a:lnTo>
                <a:lnTo>
                  <a:pt x="2795" y="1734"/>
                </a:lnTo>
                <a:lnTo>
                  <a:pt x="2782" y="1719"/>
                </a:lnTo>
                <a:lnTo>
                  <a:pt x="2782" y="1636"/>
                </a:lnTo>
                <a:lnTo>
                  <a:pt x="2782" y="1627"/>
                </a:lnTo>
                <a:lnTo>
                  <a:pt x="2792" y="1617"/>
                </a:lnTo>
                <a:lnTo>
                  <a:pt x="2792" y="1617"/>
                </a:lnTo>
                <a:lnTo>
                  <a:pt x="2913" y="1496"/>
                </a:lnTo>
                <a:lnTo>
                  <a:pt x="2913" y="1464"/>
                </a:lnTo>
                <a:lnTo>
                  <a:pt x="2932" y="1444"/>
                </a:lnTo>
                <a:lnTo>
                  <a:pt x="2932" y="1414"/>
                </a:lnTo>
                <a:lnTo>
                  <a:pt x="2940" y="1407"/>
                </a:lnTo>
                <a:lnTo>
                  <a:pt x="2921" y="1388"/>
                </a:lnTo>
                <a:lnTo>
                  <a:pt x="2908" y="1401"/>
                </a:lnTo>
                <a:lnTo>
                  <a:pt x="2883" y="1401"/>
                </a:lnTo>
                <a:lnTo>
                  <a:pt x="2871" y="1412"/>
                </a:lnTo>
                <a:lnTo>
                  <a:pt x="2852" y="1412"/>
                </a:lnTo>
                <a:lnTo>
                  <a:pt x="2839" y="1399"/>
                </a:lnTo>
                <a:lnTo>
                  <a:pt x="2838" y="1399"/>
                </a:lnTo>
                <a:lnTo>
                  <a:pt x="2825" y="1399"/>
                </a:lnTo>
                <a:lnTo>
                  <a:pt x="2816" y="1391"/>
                </a:lnTo>
                <a:lnTo>
                  <a:pt x="2816" y="1391"/>
                </a:lnTo>
                <a:lnTo>
                  <a:pt x="2812" y="1388"/>
                </a:lnTo>
                <a:lnTo>
                  <a:pt x="2809" y="1385"/>
                </a:lnTo>
                <a:lnTo>
                  <a:pt x="2809" y="1365"/>
                </a:lnTo>
                <a:lnTo>
                  <a:pt x="2773" y="1329"/>
                </a:lnTo>
                <a:lnTo>
                  <a:pt x="2773" y="1307"/>
                </a:lnTo>
                <a:lnTo>
                  <a:pt x="2740" y="1274"/>
                </a:lnTo>
                <a:lnTo>
                  <a:pt x="2740" y="1237"/>
                </a:lnTo>
                <a:lnTo>
                  <a:pt x="2724" y="1221"/>
                </a:lnTo>
                <a:lnTo>
                  <a:pt x="2718" y="1217"/>
                </a:lnTo>
                <a:lnTo>
                  <a:pt x="2718" y="1217"/>
                </a:lnTo>
                <a:lnTo>
                  <a:pt x="2718" y="1191"/>
                </a:lnTo>
                <a:lnTo>
                  <a:pt x="2684" y="1155"/>
                </a:lnTo>
                <a:lnTo>
                  <a:pt x="2684" y="1114"/>
                </a:lnTo>
                <a:lnTo>
                  <a:pt x="2693" y="1114"/>
                </a:lnTo>
                <a:lnTo>
                  <a:pt x="2693" y="1122"/>
                </a:lnTo>
                <a:lnTo>
                  <a:pt x="2705" y="1135"/>
                </a:lnTo>
                <a:lnTo>
                  <a:pt x="2724" y="1153"/>
                </a:lnTo>
                <a:lnTo>
                  <a:pt x="2752" y="1181"/>
                </a:lnTo>
                <a:lnTo>
                  <a:pt x="2752" y="1243"/>
                </a:lnTo>
                <a:lnTo>
                  <a:pt x="2818" y="1309"/>
                </a:lnTo>
                <a:lnTo>
                  <a:pt x="2818" y="1319"/>
                </a:lnTo>
                <a:lnTo>
                  <a:pt x="2818" y="1356"/>
                </a:lnTo>
                <a:lnTo>
                  <a:pt x="2828" y="1365"/>
                </a:lnTo>
                <a:lnTo>
                  <a:pt x="2838" y="1375"/>
                </a:lnTo>
                <a:lnTo>
                  <a:pt x="2838" y="1375"/>
                </a:lnTo>
                <a:lnTo>
                  <a:pt x="2838" y="1375"/>
                </a:lnTo>
                <a:lnTo>
                  <a:pt x="2847" y="1368"/>
                </a:lnTo>
                <a:lnTo>
                  <a:pt x="2865" y="1349"/>
                </a:lnTo>
                <a:lnTo>
                  <a:pt x="2903" y="1349"/>
                </a:lnTo>
                <a:lnTo>
                  <a:pt x="2914" y="1338"/>
                </a:lnTo>
                <a:lnTo>
                  <a:pt x="2942" y="1338"/>
                </a:lnTo>
                <a:lnTo>
                  <a:pt x="2962" y="1317"/>
                </a:lnTo>
                <a:lnTo>
                  <a:pt x="2962" y="1317"/>
                </a:lnTo>
                <a:lnTo>
                  <a:pt x="2999" y="1280"/>
                </a:lnTo>
                <a:lnTo>
                  <a:pt x="3037" y="1243"/>
                </a:lnTo>
                <a:lnTo>
                  <a:pt x="3037" y="1214"/>
                </a:lnTo>
                <a:lnTo>
                  <a:pt x="3037" y="1214"/>
                </a:lnTo>
                <a:lnTo>
                  <a:pt x="3027" y="1214"/>
                </a:lnTo>
                <a:lnTo>
                  <a:pt x="3027" y="1196"/>
                </a:lnTo>
                <a:lnTo>
                  <a:pt x="3027" y="1196"/>
                </a:lnTo>
                <a:lnTo>
                  <a:pt x="3005" y="1196"/>
                </a:lnTo>
                <a:lnTo>
                  <a:pt x="3001" y="1192"/>
                </a:lnTo>
                <a:lnTo>
                  <a:pt x="2995" y="1186"/>
                </a:lnTo>
                <a:lnTo>
                  <a:pt x="2989" y="1181"/>
                </a:lnTo>
                <a:lnTo>
                  <a:pt x="2973" y="1181"/>
                </a:lnTo>
                <a:lnTo>
                  <a:pt x="2973" y="1181"/>
                </a:lnTo>
                <a:lnTo>
                  <a:pt x="2960" y="1195"/>
                </a:lnTo>
                <a:lnTo>
                  <a:pt x="2929" y="1195"/>
                </a:lnTo>
                <a:lnTo>
                  <a:pt x="2929" y="1169"/>
                </a:lnTo>
                <a:lnTo>
                  <a:pt x="2923" y="1163"/>
                </a:lnTo>
                <a:lnTo>
                  <a:pt x="2929" y="1169"/>
                </a:lnTo>
                <a:lnTo>
                  <a:pt x="2921" y="1162"/>
                </a:lnTo>
                <a:lnTo>
                  <a:pt x="2919" y="1159"/>
                </a:lnTo>
                <a:lnTo>
                  <a:pt x="2871" y="1112"/>
                </a:lnTo>
                <a:lnTo>
                  <a:pt x="2871" y="1099"/>
                </a:lnTo>
                <a:lnTo>
                  <a:pt x="2871" y="1099"/>
                </a:lnTo>
                <a:lnTo>
                  <a:pt x="2881" y="1099"/>
                </a:lnTo>
                <a:lnTo>
                  <a:pt x="2904" y="1099"/>
                </a:lnTo>
                <a:lnTo>
                  <a:pt x="2904" y="1120"/>
                </a:lnTo>
                <a:lnTo>
                  <a:pt x="2940" y="1156"/>
                </a:lnTo>
                <a:lnTo>
                  <a:pt x="2996" y="1156"/>
                </a:lnTo>
                <a:lnTo>
                  <a:pt x="3016" y="1176"/>
                </a:lnTo>
                <a:lnTo>
                  <a:pt x="3018" y="1178"/>
                </a:lnTo>
                <a:lnTo>
                  <a:pt x="3018" y="1178"/>
                </a:lnTo>
                <a:lnTo>
                  <a:pt x="3081" y="1178"/>
                </a:lnTo>
                <a:lnTo>
                  <a:pt x="3122" y="1178"/>
                </a:lnTo>
                <a:lnTo>
                  <a:pt x="3183" y="1241"/>
                </a:lnTo>
                <a:lnTo>
                  <a:pt x="3183" y="1241"/>
                </a:lnTo>
                <a:lnTo>
                  <a:pt x="3198" y="1241"/>
                </a:lnTo>
                <a:lnTo>
                  <a:pt x="3198" y="1227"/>
                </a:lnTo>
                <a:lnTo>
                  <a:pt x="3214" y="1227"/>
                </a:lnTo>
                <a:lnTo>
                  <a:pt x="3214" y="1322"/>
                </a:lnTo>
                <a:lnTo>
                  <a:pt x="3240" y="1349"/>
                </a:lnTo>
                <a:lnTo>
                  <a:pt x="3240" y="1375"/>
                </a:lnTo>
                <a:lnTo>
                  <a:pt x="3264" y="1399"/>
                </a:lnTo>
                <a:lnTo>
                  <a:pt x="3264" y="1447"/>
                </a:lnTo>
                <a:lnTo>
                  <a:pt x="3287" y="1447"/>
                </a:lnTo>
                <a:lnTo>
                  <a:pt x="3319" y="1414"/>
                </a:lnTo>
                <a:lnTo>
                  <a:pt x="3319" y="1328"/>
                </a:lnTo>
                <a:lnTo>
                  <a:pt x="3404" y="1244"/>
                </a:lnTo>
                <a:lnTo>
                  <a:pt x="3404" y="1232"/>
                </a:lnTo>
                <a:lnTo>
                  <a:pt x="3418" y="1232"/>
                </a:lnTo>
                <a:lnTo>
                  <a:pt x="3434" y="1232"/>
                </a:lnTo>
                <a:lnTo>
                  <a:pt x="3441" y="1225"/>
                </a:lnTo>
                <a:lnTo>
                  <a:pt x="3450" y="1217"/>
                </a:lnTo>
                <a:lnTo>
                  <a:pt x="3450" y="1199"/>
                </a:lnTo>
                <a:lnTo>
                  <a:pt x="3460" y="1199"/>
                </a:lnTo>
                <a:lnTo>
                  <a:pt x="3460" y="1234"/>
                </a:lnTo>
                <a:lnTo>
                  <a:pt x="3460" y="1234"/>
                </a:lnTo>
                <a:lnTo>
                  <a:pt x="3468" y="1244"/>
                </a:lnTo>
                <a:lnTo>
                  <a:pt x="3477" y="1253"/>
                </a:lnTo>
                <a:lnTo>
                  <a:pt x="3483" y="1258"/>
                </a:lnTo>
                <a:lnTo>
                  <a:pt x="3500" y="1276"/>
                </a:lnTo>
                <a:lnTo>
                  <a:pt x="3500" y="1320"/>
                </a:lnTo>
                <a:lnTo>
                  <a:pt x="3519" y="1320"/>
                </a:lnTo>
                <a:lnTo>
                  <a:pt x="3536" y="1303"/>
                </a:lnTo>
                <a:lnTo>
                  <a:pt x="3551" y="1317"/>
                </a:lnTo>
                <a:lnTo>
                  <a:pt x="3551" y="1397"/>
                </a:lnTo>
                <a:lnTo>
                  <a:pt x="3582" y="1430"/>
                </a:lnTo>
                <a:lnTo>
                  <a:pt x="3582" y="1496"/>
                </a:lnTo>
                <a:lnTo>
                  <a:pt x="3624" y="1536"/>
                </a:lnTo>
                <a:lnTo>
                  <a:pt x="3624" y="1536"/>
                </a:lnTo>
                <a:lnTo>
                  <a:pt x="3648" y="1536"/>
                </a:lnTo>
                <a:lnTo>
                  <a:pt x="3648" y="1484"/>
                </a:lnTo>
                <a:lnTo>
                  <a:pt x="3624" y="1460"/>
                </a:lnTo>
                <a:lnTo>
                  <a:pt x="3624" y="1460"/>
                </a:lnTo>
                <a:lnTo>
                  <a:pt x="3612" y="1460"/>
                </a:lnTo>
                <a:lnTo>
                  <a:pt x="3612" y="1427"/>
                </a:lnTo>
                <a:lnTo>
                  <a:pt x="3598" y="1412"/>
                </a:lnTo>
                <a:lnTo>
                  <a:pt x="3598" y="1412"/>
                </a:lnTo>
                <a:lnTo>
                  <a:pt x="3597" y="1410"/>
                </a:lnTo>
                <a:lnTo>
                  <a:pt x="3589" y="1404"/>
                </a:lnTo>
                <a:lnTo>
                  <a:pt x="3589" y="1375"/>
                </a:lnTo>
                <a:lnTo>
                  <a:pt x="3607" y="1375"/>
                </a:lnTo>
                <a:lnTo>
                  <a:pt x="3618" y="1385"/>
                </a:lnTo>
                <a:lnTo>
                  <a:pt x="3618" y="1407"/>
                </a:lnTo>
                <a:lnTo>
                  <a:pt x="3618" y="1407"/>
                </a:lnTo>
                <a:lnTo>
                  <a:pt x="3640" y="1407"/>
                </a:lnTo>
                <a:lnTo>
                  <a:pt x="3651" y="1420"/>
                </a:lnTo>
                <a:lnTo>
                  <a:pt x="3651" y="1443"/>
                </a:lnTo>
                <a:lnTo>
                  <a:pt x="3702" y="1392"/>
                </a:lnTo>
                <a:lnTo>
                  <a:pt x="3702" y="1328"/>
                </a:lnTo>
                <a:lnTo>
                  <a:pt x="3663" y="1289"/>
                </a:lnTo>
                <a:lnTo>
                  <a:pt x="3663" y="1266"/>
                </a:lnTo>
                <a:lnTo>
                  <a:pt x="3687" y="1240"/>
                </a:lnTo>
                <a:lnTo>
                  <a:pt x="3692" y="1235"/>
                </a:lnTo>
                <a:lnTo>
                  <a:pt x="3748" y="1235"/>
                </a:lnTo>
                <a:lnTo>
                  <a:pt x="3759" y="1222"/>
                </a:lnTo>
                <a:lnTo>
                  <a:pt x="3784" y="1222"/>
                </a:lnTo>
                <a:lnTo>
                  <a:pt x="3849" y="1158"/>
                </a:lnTo>
                <a:lnTo>
                  <a:pt x="3849" y="1061"/>
                </a:lnTo>
                <a:lnTo>
                  <a:pt x="3811" y="1024"/>
                </a:lnTo>
                <a:lnTo>
                  <a:pt x="3811" y="1004"/>
                </a:lnTo>
                <a:lnTo>
                  <a:pt x="3833" y="983"/>
                </a:lnTo>
                <a:lnTo>
                  <a:pt x="3833" y="965"/>
                </a:lnTo>
                <a:lnTo>
                  <a:pt x="3814" y="965"/>
                </a:lnTo>
                <a:lnTo>
                  <a:pt x="3807" y="970"/>
                </a:lnTo>
                <a:lnTo>
                  <a:pt x="3777" y="970"/>
                </a:lnTo>
                <a:lnTo>
                  <a:pt x="3777" y="957"/>
                </a:lnTo>
                <a:lnTo>
                  <a:pt x="3801" y="933"/>
                </a:lnTo>
                <a:lnTo>
                  <a:pt x="3824" y="933"/>
                </a:lnTo>
                <a:lnTo>
                  <a:pt x="3824" y="949"/>
                </a:lnTo>
                <a:lnTo>
                  <a:pt x="3838" y="949"/>
                </a:lnTo>
                <a:lnTo>
                  <a:pt x="3851" y="937"/>
                </a:lnTo>
                <a:lnTo>
                  <a:pt x="3866" y="937"/>
                </a:lnTo>
                <a:lnTo>
                  <a:pt x="3866" y="959"/>
                </a:lnTo>
                <a:lnTo>
                  <a:pt x="3883" y="976"/>
                </a:lnTo>
                <a:lnTo>
                  <a:pt x="3893" y="986"/>
                </a:lnTo>
                <a:lnTo>
                  <a:pt x="3893" y="1002"/>
                </a:lnTo>
                <a:lnTo>
                  <a:pt x="3897" y="1002"/>
                </a:lnTo>
                <a:lnTo>
                  <a:pt x="3897" y="1024"/>
                </a:lnTo>
                <a:lnTo>
                  <a:pt x="3910" y="1037"/>
                </a:lnTo>
                <a:lnTo>
                  <a:pt x="3910" y="1037"/>
                </a:lnTo>
                <a:lnTo>
                  <a:pt x="3922" y="1037"/>
                </a:lnTo>
                <a:lnTo>
                  <a:pt x="3942" y="1017"/>
                </a:lnTo>
                <a:lnTo>
                  <a:pt x="3942" y="985"/>
                </a:lnTo>
                <a:lnTo>
                  <a:pt x="3909" y="952"/>
                </a:lnTo>
                <a:lnTo>
                  <a:pt x="3909" y="952"/>
                </a:lnTo>
                <a:lnTo>
                  <a:pt x="3900" y="943"/>
                </a:lnTo>
                <a:lnTo>
                  <a:pt x="3925" y="919"/>
                </a:lnTo>
                <a:lnTo>
                  <a:pt x="3925" y="894"/>
                </a:lnTo>
                <a:lnTo>
                  <a:pt x="3925" y="894"/>
                </a:lnTo>
                <a:lnTo>
                  <a:pt x="3939" y="878"/>
                </a:lnTo>
                <a:lnTo>
                  <a:pt x="3972" y="878"/>
                </a:lnTo>
                <a:lnTo>
                  <a:pt x="3997" y="854"/>
                </a:lnTo>
                <a:lnTo>
                  <a:pt x="3997" y="818"/>
                </a:lnTo>
                <a:lnTo>
                  <a:pt x="4020" y="796"/>
                </a:lnTo>
                <a:lnTo>
                  <a:pt x="4020" y="695"/>
                </a:lnTo>
                <a:lnTo>
                  <a:pt x="4001" y="677"/>
                </a:lnTo>
                <a:lnTo>
                  <a:pt x="4001" y="677"/>
                </a:lnTo>
                <a:lnTo>
                  <a:pt x="3951" y="677"/>
                </a:lnTo>
                <a:lnTo>
                  <a:pt x="3951" y="665"/>
                </a:lnTo>
                <a:lnTo>
                  <a:pt x="3936" y="651"/>
                </a:lnTo>
                <a:lnTo>
                  <a:pt x="4013" y="574"/>
                </a:lnTo>
                <a:lnTo>
                  <a:pt x="4145" y="574"/>
                </a:lnTo>
                <a:lnTo>
                  <a:pt x="4145" y="544"/>
                </a:lnTo>
                <a:lnTo>
                  <a:pt x="4148" y="541"/>
                </a:lnTo>
                <a:lnTo>
                  <a:pt x="4161" y="528"/>
                </a:lnTo>
                <a:lnTo>
                  <a:pt x="4194" y="528"/>
                </a:lnTo>
                <a:lnTo>
                  <a:pt x="4206" y="540"/>
                </a:lnTo>
                <a:lnTo>
                  <a:pt x="4206" y="540"/>
                </a:lnTo>
                <a:lnTo>
                  <a:pt x="4220" y="540"/>
                </a:lnTo>
                <a:lnTo>
                  <a:pt x="4237" y="523"/>
                </a:lnTo>
                <a:lnTo>
                  <a:pt x="4242" y="527"/>
                </a:lnTo>
                <a:lnTo>
                  <a:pt x="4246" y="531"/>
                </a:lnTo>
                <a:lnTo>
                  <a:pt x="4187" y="590"/>
                </a:lnTo>
                <a:lnTo>
                  <a:pt x="4187" y="661"/>
                </a:lnTo>
                <a:lnTo>
                  <a:pt x="4201" y="674"/>
                </a:lnTo>
                <a:lnTo>
                  <a:pt x="4201" y="704"/>
                </a:lnTo>
                <a:lnTo>
                  <a:pt x="4217" y="720"/>
                </a:lnTo>
                <a:lnTo>
                  <a:pt x="4227" y="720"/>
                </a:lnTo>
                <a:lnTo>
                  <a:pt x="4253" y="695"/>
                </a:lnTo>
                <a:lnTo>
                  <a:pt x="4253" y="665"/>
                </a:lnTo>
                <a:lnTo>
                  <a:pt x="4265" y="665"/>
                </a:lnTo>
                <a:lnTo>
                  <a:pt x="4265" y="665"/>
                </a:lnTo>
                <a:lnTo>
                  <a:pt x="4265" y="618"/>
                </a:lnTo>
                <a:lnTo>
                  <a:pt x="4249" y="600"/>
                </a:lnTo>
                <a:lnTo>
                  <a:pt x="4249" y="576"/>
                </a:lnTo>
                <a:lnTo>
                  <a:pt x="4269" y="556"/>
                </a:lnTo>
                <a:lnTo>
                  <a:pt x="4319" y="556"/>
                </a:lnTo>
                <a:lnTo>
                  <a:pt x="4319" y="556"/>
                </a:lnTo>
                <a:lnTo>
                  <a:pt x="4337" y="538"/>
                </a:lnTo>
                <a:lnTo>
                  <a:pt x="4352" y="523"/>
                </a:lnTo>
                <a:lnTo>
                  <a:pt x="4370" y="523"/>
                </a:lnTo>
                <a:lnTo>
                  <a:pt x="4388" y="502"/>
                </a:lnTo>
                <a:lnTo>
                  <a:pt x="4407" y="502"/>
                </a:lnTo>
                <a:close/>
                <a:moveTo>
                  <a:pt x="2919" y="1159"/>
                </a:moveTo>
                <a:lnTo>
                  <a:pt x="2919" y="1159"/>
                </a:lnTo>
                <a:lnTo>
                  <a:pt x="2919" y="1159"/>
                </a:lnTo>
                <a:lnTo>
                  <a:pt x="2919" y="1159"/>
                </a:lnTo>
                <a:close/>
              </a:path>
            </a:pathLst>
          </a:custGeom>
          <a:solidFill>
            <a:srgbClr val="E0E3F6"/>
          </a:solidFill>
          <a:ln w="3175">
            <a:solidFill>
              <a:srgbClr val="F1F4F7"/>
            </a:solidFill>
            <a:round/>
            <a:headEnd/>
            <a:tailEnd/>
          </a:ln>
        </p:spPr>
        <p:txBody>
          <a:bodyPr vert="horz" wrap="square" lIns="68580" tIns="34290" rIns="68580" bIns="34290" numCol="1" anchor="t" anchorCtr="0" compatLnSpc="1">
            <a:prstTxWarp prst="textNoShape">
              <a:avLst/>
            </a:prstTxWarp>
          </a:bodyPr>
          <a:lstStyle/>
          <a:p>
            <a:endParaRPr lang="en-GB" sz="1350"/>
          </a:p>
        </p:txBody>
      </p:sp>
      <p:sp>
        <p:nvSpPr>
          <p:cNvPr id="14" name="Arrow: Left-Right 13">
            <a:extLst>
              <a:ext uri="{FF2B5EF4-FFF2-40B4-BE49-F238E27FC236}">
                <a16:creationId xmlns:a16="http://schemas.microsoft.com/office/drawing/2014/main" id="{8CBAF3A5-0550-4880-D328-A3820D7693E5}"/>
              </a:ext>
            </a:extLst>
          </p:cNvPr>
          <p:cNvSpPr/>
          <p:nvPr/>
        </p:nvSpPr>
        <p:spPr>
          <a:xfrm>
            <a:off x="3617774" y="4133256"/>
            <a:ext cx="2145835" cy="180601"/>
          </a:xfrm>
          <a:prstGeom prst="leftRightArrow">
            <a:avLst/>
          </a:prstGeom>
          <a:gradFill flip="none" rotWithShape="1">
            <a:gsLst>
              <a:gs pos="0">
                <a:schemeClr val="accent2"/>
              </a:gs>
              <a:gs pos="25000">
                <a:schemeClr val="accent3"/>
              </a:gs>
              <a:gs pos="53000">
                <a:schemeClr val="accent4">
                  <a:lumMod val="20000"/>
                  <a:lumOff val="80000"/>
                </a:schemeClr>
              </a:gs>
              <a:gs pos="78000">
                <a:schemeClr val="accent4"/>
              </a:gs>
              <a:gs pos="100000">
                <a:schemeClr val="accent4">
                  <a:lumMod val="5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TextBox 14">
            <a:extLst>
              <a:ext uri="{FF2B5EF4-FFF2-40B4-BE49-F238E27FC236}">
                <a16:creationId xmlns:a16="http://schemas.microsoft.com/office/drawing/2014/main" id="{87E13404-BB5E-5C6C-9062-B4735B45C974}"/>
              </a:ext>
            </a:extLst>
          </p:cNvPr>
          <p:cNvSpPr txBox="1"/>
          <p:nvPr/>
        </p:nvSpPr>
        <p:spPr>
          <a:xfrm>
            <a:off x="3584242" y="4251908"/>
            <a:ext cx="873957" cy="261610"/>
          </a:xfrm>
          <a:prstGeom prst="rect">
            <a:avLst/>
          </a:prstGeom>
          <a:noFill/>
        </p:spPr>
        <p:txBody>
          <a:bodyPr wrap="none" rtlCol="0">
            <a:spAutoFit/>
          </a:bodyPr>
          <a:lstStyle/>
          <a:p>
            <a:r>
              <a:rPr lang="en-GB" sz="1100">
                <a:solidFill>
                  <a:schemeClr val="tx2"/>
                </a:solidFill>
              </a:rPr>
              <a:t>Proprietary</a:t>
            </a:r>
          </a:p>
        </p:txBody>
      </p:sp>
      <p:sp>
        <p:nvSpPr>
          <p:cNvPr id="16" name="TextBox 15">
            <a:extLst>
              <a:ext uri="{FF2B5EF4-FFF2-40B4-BE49-F238E27FC236}">
                <a16:creationId xmlns:a16="http://schemas.microsoft.com/office/drawing/2014/main" id="{FAB335C0-377A-7E5C-E64A-5ADAD88470AB}"/>
              </a:ext>
            </a:extLst>
          </p:cNvPr>
          <p:cNvSpPr txBox="1"/>
          <p:nvPr/>
        </p:nvSpPr>
        <p:spPr>
          <a:xfrm>
            <a:off x="5301703" y="4251908"/>
            <a:ext cx="412292" cy="261610"/>
          </a:xfrm>
          <a:prstGeom prst="rect">
            <a:avLst/>
          </a:prstGeom>
          <a:noFill/>
        </p:spPr>
        <p:txBody>
          <a:bodyPr wrap="none" rtlCol="0">
            <a:spAutoFit/>
          </a:bodyPr>
          <a:lstStyle/>
          <a:p>
            <a:r>
              <a:rPr lang="en-GB" sz="1100">
                <a:solidFill>
                  <a:schemeClr val="tx2"/>
                </a:solidFill>
              </a:rPr>
              <a:t>API</a:t>
            </a:r>
          </a:p>
        </p:txBody>
      </p:sp>
      <p:sp>
        <p:nvSpPr>
          <p:cNvPr id="17" name="TextBox 16">
            <a:extLst>
              <a:ext uri="{FF2B5EF4-FFF2-40B4-BE49-F238E27FC236}">
                <a16:creationId xmlns:a16="http://schemas.microsoft.com/office/drawing/2014/main" id="{7B3593B0-2E92-D426-2026-87F4AF7E4EFA}"/>
              </a:ext>
            </a:extLst>
          </p:cNvPr>
          <p:cNvSpPr txBox="1"/>
          <p:nvPr/>
        </p:nvSpPr>
        <p:spPr>
          <a:xfrm>
            <a:off x="3369858" y="3902921"/>
            <a:ext cx="2683556" cy="276999"/>
          </a:xfrm>
          <a:prstGeom prst="rect">
            <a:avLst/>
          </a:prstGeom>
          <a:noFill/>
        </p:spPr>
        <p:txBody>
          <a:bodyPr wrap="none" rtlCol="0">
            <a:spAutoFit/>
          </a:bodyPr>
          <a:lstStyle/>
          <a:p>
            <a:pPr algn="ctr"/>
            <a:r>
              <a:rPr lang="en-GB" sz="1200" b="1">
                <a:solidFill>
                  <a:schemeClr val="tx2"/>
                </a:solidFill>
              </a:rPr>
              <a:t>Dominant Connection Technology</a:t>
            </a:r>
          </a:p>
        </p:txBody>
      </p:sp>
      <p:sp>
        <p:nvSpPr>
          <p:cNvPr id="96" name="Oval 68">
            <a:extLst>
              <a:ext uri="{FF2B5EF4-FFF2-40B4-BE49-F238E27FC236}">
                <a16:creationId xmlns:a16="http://schemas.microsoft.com/office/drawing/2014/main" id="{EB702AF5-56D5-6AC8-2D9B-C2CF2D7431AC}"/>
              </a:ext>
            </a:extLst>
          </p:cNvPr>
          <p:cNvSpPr>
            <a:spLocks noChangeAspect="1" noChangeArrowheads="1"/>
          </p:cNvSpPr>
          <p:nvPr/>
        </p:nvSpPr>
        <p:spPr bwMode="auto">
          <a:xfrm>
            <a:off x="5928077" y="1419803"/>
            <a:ext cx="1280160" cy="1280160"/>
          </a:xfrm>
          <a:prstGeom prst="ellipse">
            <a:avLst/>
          </a:prstGeom>
          <a:solidFill>
            <a:schemeClr val="accent4">
              <a:lumMod val="75000"/>
            </a:schemeClr>
          </a:solidFill>
          <a:ln w="28575">
            <a:solidFill>
              <a:schemeClr val="bg1"/>
            </a:solidFill>
            <a:prstDash val="solid"/>
            <a:round/>
            <a:headEnd/>
            <a:tailEnd/>
          </a:ln>
        </p:spPr>
        <p:txBody>
          <a:bodyPr vert="horz" wrap="square" lIns="0" tIns="45720" rIns="0" bIns="45720" numCol="1" anchor="ctr" anchorCtr="0" compatLnSpc="1">
            <a:prstTxWarp prst="textNoShape">
              <a:avLst/>
            </a:prstTxWarp>
          </a:bodyPr>
          <a:lstStyle/>
          <a:p>
            <a:pPr algn="ctr"/>
            <a:r>
              <a:rPr lang="en-US" sz="1200" b="1">
                <a:solidFill>
                  <a:schemeClr val="bg1"/>
                </a:solidFill>
              </a:rPr>
              <a:t>2.9</a:t>
            </a:r>
          </a:p>
        </p:txBody>
      </p:sp>
      <p:sp>
        <p:nvSpPr>
          <p:cNvPr id="99" name="Oval 71">
            <a:extLst>
              <a:ext uri="{FF2B5EF4-FFF2-40B4-BE49-F238E27FC236}">
                <a16:creationId xmlns:a16="http://schemas.microsoft.com/office/drawing/2014/main" id="{EBF7CD6F-C61B-57A8-8737-C5693F378754}"/>
              </a:ext>
            </a:extLst>
          </p:cNvPr>
          <p:cNvSpPr>
            <a:spLocks noChangeAspect="1" noChangeArrowheads="1"/>
          </p:cNvSpPr>
          <p:nvPr/>
        </p:nvSpPr>
        <p:spPr bwMode="auto">
          <a:xfrm>
            <a:off x="5180531" y="1225350"/>
            <a:ext cx="866946" cy="868680"/>
          </a:xfrm>
          <a:prstGeom prst="ellipse">
            <a:avLst/>
          </a:prstGeom>
          <a:solidFill>
            <a:schemeClr val="accent4">
              <a:lumMod val="75000"/>
            </a:schemeClr>
          </a:solidFill>
          <a:ln w="28575">
            <a:solidFill>
              <a:schemeClr val="bg1"/>
            </a:solidFill>
            <a:prstDash val="solid"/>
            <a:round/>
            <a:headEnd/>
            <a:tailEnd/>
          </a:ln>
        </p:spPr>
        <p:txBody>
          <a:bodyPr vert="horz" wrap="square" lIns="0" tIns="45720" rIns="0" bIns="45720" numCol="1" anchor="ctr" anchorCtr="0" compatLnSpc="1">
            <a:prstTxWarp prst="textNoShape">
              <a:avLst/>
            </a:prstTxWarp>
          </a:bodyPr>
          <a:lstStyle/>
          <a:p>
            <a:pPr algn="ctr"/>
            <a:r>
              <a:rPr lang="en-US" sz="1200" b="1">
                <a:solidFill>
                  <a:schemeClr val="bg1"/>
                </a:solidFill>
              </a:rPr>
              <a:t>1.3</a:t>
            </a:r>
          </a:p>
        </p:txBody>
      </p:sp>
      <p:sp>
        <p:nvSpPr>
          <p:cNvPr id="102" name="Oval 74">
            <a:extLst>
              <a:ext uri="{FF2B5EF4-FFF2-40B4-BE49-F238E27FC236}">
                <a16:creationId xmlns:a16="http://schemas.microsoft.com/office/drawing/2014/main" id="{3CC1183F-A43A-46C2-CC3C-B5CE2390D4E3}"/>
              </a:ext>
            </a:extLst>
          </p:cNvPr>
          <p:cNvSpPr>
            <a:spLocks noChangeAspect="1" noChangeArrowheads="1"/>
          </p:cNvSpPr>
          <p:nvPr/>
        </p:nvSpPr>
        <p:spPr bwMode="auto">
          <a:xfrm>
            <a:off x="4389120" y="2229454"/>
            <a:ext cx="420624" cy="420624"/>
          </a:xfrm>
          <a:prstGeom prst="ellipse">
            <a:avLst/>
          </a:prstGeom>
          <a:solidFill>
            <a:schemeClr val="accent3">
              <a:lumMod val="60000"/>
              <a:lumOff val="40000"/>
            </a:schemeClr>
          </a:solidFill>
          <a:ln w="28575">
            <a:solidFill>
              <a:schemeClr val="bg1"/>
            </a:solidFill>
            <a:prstDash val="solid"/>
            <a:round/>
            <a:headEnd/>
            <a:tailEnd/>
          </a:ln>
        </p:spPr>
        <p:txBody>
          <a:bodyPr vert="horz" wrap="square" lIns="0" tIns="45720" rIns="0" bIns="45720" numCol="1" anchor="ctr" anchorCtr="0" compatLnSpc="1">
            <a:prstTxWarp prst="textNoShape">
              <a:avLst/>
            </a:prstTxWarp>
          </a:bodyPr>
          <a:lstStyle/>
          <a:p>
            <a:pPr algn="ctr"/>
            <a:r>
              <a:rPr lang="en-US" sz="1200" b="1">
                <a:solidFill>
                  <a:schemeClr val="bg1"/>
                </a:solidFill>
              </a:rPr>
              <a:t>0.3</a:t>
            </a:r>
          </a:p>
        </p:txBody>
      </p:sp>
      <p:sp>
        <p:nvSpPr>
          <p:cNvPr id="105" name="Oval 77">
            <a:extLst>
              <a:ext uri="{FF2B5EF4-FFF2-40B4-BE49-F238E27FC236}">
                <a16:creationId xmlns:a16="http://schemas.microsoft.com/office/drawing/2014/main" id="{554A36EF-4F64-899E-76C2-47FB593FD8CA}"/>
              </a:ext>
            </a:extLst>
          </p:cNvPr>
          <p:cNvSpPr>
            <a:spLocks noChangeAspect="1" noChangeArrowheads="1"/>
          </p:cNvSpPr>
          <p:nvPr/>
        </p:nvSpPr>
        <p:spPr bwMode="auto">
          <a:xfrm>
            <a:off x="4898610" y="1961887"/>
            <a:ext cx="748043" cy="749808"/>
          </a:xfrm>
          <a:prstGeom prst="ellipse">
            <a:avLst/>
          </a:prstGeom>
          <a:solidFill>
            <a:schemeClr val="accent3"/>
          </a:solidFill>
          <a:ln w="28575">
            <a:solidFill>
              <a:schemeClr val="bg1"/>
            </a:solidFill>
            <a:prstDash val="solid"/>
            <a:round/>
            <a:headEnd/>
            <a:tailEnd/>
          </a:ln>
        </p:spPr>
        <p:txBody>
          <a:bodyPr vert="horz" wrap="square" lIns="0" tIns="45720" rIns="0" bIns="45720" numCol="1" anchor="ctr" anchorCtr="0" compatLnSpc="1">
            <a:prstTxWarp prst="textNoShape">
              <a:avLst/>
            </a:prstTxWarp>
          </a:bodyPr>
          <a:lstStyle/>
          <a:p>
            <a:pPr algn="ctr"/>
            <a:r>
              <a:rPr lang="en-US" sz="1200" b="1">
                <a:solidFill>
                  <a:schemeClr val="bg1"/>
                </a:solidFill>
              </a:rPr>
              <a:t>1.0</a:t>
            </a:r>
          </a:p>
        </p:txBody>
      </p:sp>
      <p:sp>
        <p:nvSpPr>
          <p:cNvPr id="108" name="Oval 80">
            <a:extLst>
              <a:ext uri="{FF2B5EF4-FFF2-40B4-BE49-F238E27FC236}">
                <a16:creationId xmlns:a16="http://schemas.microsoft.com/office/drawing/2014/main" id="{21F40804-3BBF-8E06-D2FF-68C8E6C01BA1}"/>
              </a:ext>
            </a:extLst>
          </p:cNvPr>
          <p:cNvSpPr>
            <a:spLocks noChangeAspect="1" noChangeArrowheads="1"/>
          </p:cNvSpPr>
          <p:nvPr/>
        </p:nvSpPr>
        <p:spPr bwMode="auto">
          <a:xfrm>
            <a:off x="2114066" y="1518702"/>
            <a:ext cx="1269667" cy="1280160"/>
          </a:xfrm>
          <a:prstGeom prst="ellipse">
            <a:avLst/>
          </a:prstGeom>
          <a:solidFill>
            <a:schemeClr val="accent3"/>
          </a:solidFill>
          <a:ln w="28575">
            <a:solidFill>
              <a:schemeClr val="bg1"/>
            </a:solidFill>
            <a:prstDash val="solid"/>
            <a:round/>
            <a:headEnd/>
            <a:tailEnd/>
          </a:ln>
        </p:spPr>
        <p:txBody>
          <a:bodyPr vert="horz" wrap="square" lIns="0" tIns="45720" rIns="0" bIns="45720" numCol="1" anchor="ctr" anchorCtr="0" compatLnSpc="1">
            <a:prstTxWarp prst="textNoShape">
              <a:avLst/>
            </a:prstTxWarp>
          </a:bodyPr>
          <a:lstStyle/>
          <a:p>
            <a:pPr algn="ctr"/>
            <a:r>
              <a:rPr lang="en-US" sz="1200" b="1">
                <a:solidFill>
                  <a:schemeClr val="bg1"/>
                </a:solidFill>
              </a:rPr>
              <a:t>2.9</a:t>
            </a:r>
          </a:p>
        </p:txBody>
      </p:sp>
      <p:sp>
        <p:nvSpPr>
          <p:cNvPr id="111" name="Oval 83">
            <a:extLst>
              <a:ext uri="{FF2B5EF4-FFF2-40B4-BE49-F238E27FC236}">
                <a16:creationId xmlns:a16="http://schemas.microsoft.com/office/drawing/2014/main" id="{E92DA7BF-ADF1-3ADE-F471-38E40620C094}"/>
              </a:ext>
            </a:extLst>
          </p:cNvPr>
          <p:cNvSpPr>
            <a:spLocks noChangeAspect="1" noChangeArrowheads="1"/>
          </p:cNvSpPr>
          <p:nvPr/>
        </p:nvSpPr>
        <p:spPr bwMode="auto">
          <a:xfrm>
            <a:off x="3214371" y="2709319"/>
            <a:ext cx="512064" cy="512064"/>
          </a:xfrm>
          <a:prstGeom prst="ellipse">
            <a:avLst/>
          </a:prstGeom>
          <a:solidFill>
            <a:schemeClr val="accent2"/>
          </a:solidFill>
          <a:ln w="28575">
            <a:solidFill>
              <a:schemeClr val="bg1"/>
            </a:solidFill>
            <a:prstDash val="solid"/>
            <a:round/>
            <a:headEnd/>
            <a:tailEnd/>
          </a:ln>
        </p:spPr>
        <p:txBody>
          <a:bodyPr vert="horz" wrap="square" lIns="0" tIns="45720" rIns="0" bIns="45720" numCol="1" anchor="ctr" anchorCtr="0" compatLnSpc="1">
            <a:prstTxWarp prst="textNoShape">
              <a:avLst/>
            </a:prstTxWarp>
          </a:bodyPr>
          <a:lstStyle/>
          <a:p>
            <a:pPr algn="ctr"/>
            <a:r>
              <a:rPr lang="en-US" sz="1200" b="1">
                <a:solidFill>
                  <a:schemeClr val="bg1"/>
                </a:solidFill>
              </a:rPr>
              <a:t>0.5</a:t>
            </a:r>
          </a:p>
        </p:txBody>
      </p:sp>
      <p:sp>
        <p:nvSpPr>
          <p:cNvPr id="156" name="TextBox 155">
            <a:extLst>
              <a:ext uri="{FF2B5EF4-FFF2-40B4-BE49-F238E27FC236}">
                <a16:creationId xmlns:a16="http://schemas.microsoft.com/office/drawing/2014/main" id="{5441670F-0BAF-F00B-2A03-143BAC229DD6}"/>
              </a:ext>
            </a:extLst>
          </p:cNvPr>
          <p:cNvSpPr txBox="1"/>
          <p:nvPr/>
        </p:nvSpPr>
        <p:spPr>
          <a:xfrm>
            <a:off x="2071856" y="1283148"/>
            <a:ext cx="1236942" cy="279757"/>
          </a:xfrm>
          <a:prstGeom prst="rect">
            <a:avLst/>
          </a:prstGeom>
          <a:noFill/>
        </p:spPr>
        <p:txBody>
          <a:bodyPr vert="horz" wrap="none" lIns="91440" tIns="45720" rIns="91440" bIns="45720" rtlCol="0" anchor="t">
            <a:spAutoFit/>
          </a:bodyPr>
          <a:lstStyle/>
          <a:p>
            <a:pPr algn="l">
              <a:lnSpc>
                <a:spcPct val="110000"/>
              </a:lnSpc>
            </a:pPr>
            <a:r>
              <a:rPr lang="en-US" sz="1200" b="1">
                <a:solidFill>
                  <a:schemeClr val="tx2"/>
                </a:solidFill>
              </a:rPr>
              <a:t>North America</a:t>
            </a:r>
          </a:p>
        </p:txBody>
      </p:sp>
      <p:sp>
        <p:nvSpPr>
          <p:cNvPr id="157" name="TextBox 156">
            <a:extLst>
              <a:ext uri="{FF2B5EF4-FFF2-40B4-BE49-F238E27FC236}">
                <a16:creationId xmlns:a16="http://schemas.microsoft.com/office/drawing/2014/main" id="{12B26200-9B96-B1CF-20C7-3D426EA38D8B}"/>
              </a:ext>
            </a:extLst>
          </p:cNvPr>
          <p:cNvSpPr txBox="1"/>
          <p:nvPr/>
        </p:nvSpPr>
        <p:spPr>
          <a:xfrm>
            <a:off x="2830728" y="3152762"/>
            <a:ext cx="1264192" cy="279757"/>
          </a:xfrm>
          <a:prstGeom prst="rect">
            <a:avLst/>
          </a:prstGeom>
          <a:noFill/>
        </p:spPr>
        <p:txBody>
          <a:bodyPr vert="horz" wrap="none" lIns="91440" tIns="45720" rIns="91440" bIns="45720" rtlCol="0" anchor="t">
            <a:spAutoFit/>
          </a:bodyPr>
          <a:lstStyle/>
          <a:p>
            <a:pPr algn="l">
              <a:lnSpc>
                <a:spcPct val="110000"/>
              </a:lnSpc>
            </a:pPr>
            <a:r>
              <a:rPr lang="en-US" sz="1200" b="1">
                <a:solidFill>
                  <a:schemeClr val="tx2"/>
                </a:solidFill>
              </a:rPr>
              <a:t>South America</a:t>
            </a:r>
          </a:p>
        </p:txBody>
      </p:sp>
      <p:sp>
        <p:nvSpPr>
          <p:cNvPr id="158" name="TextBox 157">
            <a:extLst>
              <a:ext uri="{FF2B5EF4-FFF2-40B4-BE49-F238E27FC236}">
                <a16:creationId xmlns:a16="http://schemas.microsoft.com/office/drawing/2014/main" id="{CC74ABD2-1244-600D-05BC-7602BF64C7FE}"/>
              </a:ext>
            </a:extLst>
          </p:cNvPr>
          <p:cNvSpPr txBox="1"/>
          <p:nvPr/>
        </p:nvSpPr>
        <p:spPr>
          <a:xfrm>
            <a:off x="3719601" y="1668498"/>
            <a:ext cx="715260" cy="279757"/>
          </a:xfrm>
          <a:prstGeom prst="rect">
            <a:avLst/>
          </a:prstGeom>
          <a:noFill/>
        </p:spPr>
        <p:txBody>
          <a:bodyPr vert="horz" wrap="none" lIns="91440" tIns="45720" rIns="91440" bIns="45720" rtlCol="0" anchor="t">
            <a:spAutoFit/>
          </a:bodyPr>
          <a:lstStyle/>
          <a:p>
            <a:pPr algn="l">
              <a:lnSpc>
                <a:spcPct val="110000"/>
              </a:lnSpc>
            </a:pPr>
            <a:r>
              <a:rPr lang="en-US" sz="1200" b="1">
                <a:solidFill>
                  <a:schemeClr val="tx2"/>
                </a:solidFill>
              </a:rPr>
              <a:t>Europe</a:t>
            </a:r>
          </a:p>
        </p:txBody>
      </p:sp>
      <p:sp>
        <p:nvSpPr>
          <p:cNvPr id="159" name="Oval 74">
            <a:extLst>
              <a:ext uri="{FF2B5EF4-FFF2-40B4-BE49-F238E27FC236}">
                <a16:creationId xmlns:a16="http://schemas.microsoft.com/office/drawing/2014/main" id="{CA9F4203-2585-DDF3-89AD-28ED5EB3E70B}"/>
              </a:ext>
            </a:extLst>
          </p:cNvPr>
          <p:cNvSpPr>
            <a:spLocks noChangeAspect="1" noChangeArrowheads="1"/>
          </p:cNvSpPr>
          <p:nvPr/>
        </p:nvSpPr>
        <p:spPr bwMode="auto">
          <a:xfrm>
            <a:off x="4345876" y="1647623"/>
            <a:ext cx="365760" cy="365760"/>
          </a:xfrm>
          <a:prstGeom prst="ellipse">
            <a:avLst/>
          </a:prstGeom>
          <a:solidFill>
            <a:schemeClr val="accent2"/>
          </a:solidFill>
          <a:ln w="28575">
            <a:solidFill>
              <a:schemeClr val="bg1"/>
            </a:solidFill>
            <a:prstDash val="solid"/>
            <a:round/>
            <a:headEnd/>
            <a:tailEnd/>
          </a:ln>
        </p:spPr>
        <p:txBody>
          <a:bodyPr vert="horz" wrap="square" lIns="0" tIns="45720" rIns="0" bIns="45720" numCol="1" anchor="ctr" anchorCtr="0" compatLnSpc="1">
            <a:prstTxWarp prst="textNoShape">
              <a:avLst/>
            </a:prstTxWarp>
          </a:bodyPr>
          <a:lstStyle/>
          <a:p>
            <a:pPr algn="ctr"/>
            <a:r>
              <a:rPr lang="en-US" sz="1200" b="1">
                <a:solidFill>
                  <a:schemeClr val="bg1"/>
                </a:solidFill>
              </a:rPr>
              <a:t>0.2</a:t>
            </a:r>
          </a:p>
        </p:txBody>
      </p:sp>
      <p:sp>
        <p:nvSpPr>
          <p:cNvPr id="160" name="TextBox 159">
            <a:extLst>
              <a:ext uri="{FF2B5EF4-FFF2-40B4-BE49-F238E27FC236}">
                <a16:creationId xmlns:a16="http://schemas.microsoft.com/office/drawing/2014/main" id="{C51538F1-7DAD-ECE2-BEAA-08532B4023D5}"/>
              </a:ext>
            </a:extLst>
          </p:cNvPr>
          <p:cNvSpPr txBox="1"/>
          <p:nvPr/>
        </p:nvSpPr>
        <p:spPr>
          <a:xfrm>
            <a:off x="3826788" y="2316946"/>
            <a:ext cx="619080" cy="279757"/>
          </a:xfrm>
          <a:prstGeom prst="rect">
            <a:avLst/>
          </a:prstGeom>
          <a:noFill/>
        </p:spPr>
        <p:txBody>
          <a:bodyPr vert="horz" wrap="none" lIns="91440" tIns="45720" rIns="91440" bIns="45720" rtlCol="0" anchor="t">
            <a:spAutoFit/>
          </a:bodyPr>
          <a:lstStyle/>
          <a:p>
            <a:pPr algn="l">
              <a:lnSpc>
                <a:spcPct val="110000"/>
              </a:lnSpc>
            </a:pPr>
            <a:r>
              <a:rPr lang="en-US" sz="1200" b="1">
                <a:solidFill>
                  <a:schemeClr val="tx2"/>
                </a:solidFill>
              </a:rPr>
              <a:t>Africa</a:t>
            </a:r>
          </a:p>
        </p:txBody>
      </p:sp>
      <p:sp>
        <p:nvSpPr>
          <p:cNvPr id="161" name="TextBox 160">
            <a:extLst>
              <a:ext uri="{FF2B5EF4-FFF2-40B4-BE49-F238E27FC236}">
                <a16:creationId xmlns:a16="http://schemas.microsoft.com/office/drawing/2014/main" id="{6C835C88-48C5-779A-67A2-2532898842BC}"/>
              </a:ext>
            </a:extLst>
          </p:cNvPr>
          <p:cNvSpPr txBox="1"/>
          <p:nvPr/>
        </p:nvSpPr>
        <p:spPr>
          <a:xfrm>
            <a:off x="4745403" y="2643538"/>
            <a:ext cx="1040670" cy="279757"/>
          </a:xfrm>
          <a:prstGeom prst="rect">
            <a:avLst/>
          </a:prstGeom>
          <a:noFill/>
        </p:spPr>
        <p:txBody>
          <a:bodyPr vert="horz" wrap="none" lIns="91440" tIns="45720" rIns="91440" bIns="45720" rtlCol="0" anchor="t">
            <a:spAutoFit/>
          </a:bodyPr>
          <a:lstStyle/>
          <a:p>
            <a:pPr algn="l">
              <a:lnSpc>
                <a:spcPct val="110000"/>
              </a:lnSpc>
            </a:pPr>
            <a:r>
              <a:rPr lang="en-US" sz="1200" b="1">
                <a:solidFill>
                  <a:schemeClr val="tx2"/>
                </a:solidFill>
              </a:rPr>
              <a:t>Middle East</a:t>
            </a:r>
          </a:p>
        </p:txBody>
      </p:sp>
      <p:sp>
        <p:nvSpPr>
          <p:cNvPr id="162" name="TextBox 161">
            <a:extLst>
              <a:ext uri="{FF2B5EF4-FFF2-40B4-BE49-F238E27FC236}">
                <a16:creationId xmlns:a16="http://schemas.microsoft.com/office/drawing/2014/main" id="{525FD8FA-17AE-8310-D655-E01225F58804}"/>
              </a:ext>
            </a:extLst>
          </p:cNvPr>
          <p:cNvSpPr txBox="1"/>
          <p:nvPr/>
        </p:nvSpPr>
        <p:spPr>
          <a:xfrm>
            <a:off x="5816557" y="1162063"/>
            <a:ext cx="441146" cy="279757"/>
          </a:xfrm>
          <a:prstGeom prst="rect">
            <a:avLst/>
          </a:prstGeom>
          <a:noFill/>
        </p:spPr>
        <p:txBody>
          <a:bodyPr vert="horz" wrap="none" lIns="91440" tIns="45720" rIns="91440" bIns="45720" rtlCol="0" anchor="t">
            <a:spAutoFit/>
          </a:bodyPr>
          <a:lstStyle/>
          <a:p>
            <a:pPr algn="l">
              <a:lnSpc>
                <a:spcPct val="110000"/>
              </a:lnSpc>
            </a:pPr>
            <a:r>
              <a:rPr lang="en-US" sz="1200" b="1">
                <a:solidFill>
                  <a:schemeClr val="tx2"/>
                </a:solidFill>
              </a:rPr>
              <a:t>CIS</a:t>
            </a:r>
          </a:p>
        </p:txBody>
      </p:sp>
      <p:sp>
        <p:nvSpPr>
          <p:cNvPr id="163" name="TextBox 162">
            <a:extLst>
              <a:ext uri="{FF2B5EF4-FFF2-40B4-BE49-F238E27FC236}">
                <a16:creationId xmlns:a16="http://schemas.microsoft.com/office/drawing/2014/main" id="{8BB3FBC3-0FCD-9238-3F90-519A986B008A}"/>
              </a:ext>
            </a:extLst>
          </p:cNvPr>
          <p:cNvSpPr txBox="1"/>
          <p:nvPr/>
        </p:nvSpPr>
        <p:spPr>
          <a:xfrm>
            <a:off x="7208237" y="1912498"/>
            <a:ext cx="612668" cy="279757"/>
          </a:xfrm>
          <a:prstGeom prst="rect">
            <a:avLst/>
          </a:prstGeom>
          <a:noFill/>
        </p:spPr>
        <p:txBody>
          <a:bodyPr vert="horz" wrap="none" lIns="91440" tIns="45720" rIns="91440" bIns="45720" rtlCol="0" anchor="t">
            <a:spAutoFit/>
          </a:bodyPr>
          <a:lstStyle/>
          <a:p>
            <a:pPr algn="l">
              <a:lnSpc>
                <a:spcPct val="110000"/>
              </a:lnSpc>
            </a:pPr>
            <a:r>
              <a:rPr lang="en-US" sz="1200" b="1">
                <a:solidFill>
                  <a:schemeClr val="tx2"/>
                </a:solidFill>
              </a:rPr>
              <a:t>China</a:t>
            </a:r>
          </a:p>
        </p:txBody>
      </p:sp>
      <p:sp>
        <p:nvSpPr>
          <p:cNvPr id="164" name="TextBox 163">
            <a:extLst>
              <a:ext uri="{FF2B5EF4-FFF2-40B4-BE49-F238E27FC236}">
                <a16:creationId xmlns:a16="http://schemas.microsoft.com/office/drawing/2014/main" id="{EF49F4D0-A1B2-B49E-CC84-F1A977288E3F}"/>
              </a:ext>
            </a:extLst>
          </p:cNvPr>
          <p:cNvSpPr txBox="1"/>
          <p:nvPr/>
        </p:nvSpPr>
        <p:spPr>
          <a:xfrm>
            <a:off x="6992431" y="2568347"/>
            <a:ext cx="1047082" cy="482889"/>
          </a:xfrm>
          <a:prstGeom prst="rect">
            <a:avLst/>
          </a:prstGeom>
          <a:noFill/>
        </p:spPr>
        <p:txBody>
          <a:bodyPr vert="horz" wrap="none" lIns="91440" tIns="45720" rIns="91440" bIns="45720" rtlCol="0" anchor="t">
            <a:spAutoFit/>
          </a:bodyPr>
          <a:lstStyle/>
          <a:p>
            <a:pPr algn="ctr">
              <a:lnSpc>
                <a:spcPct val="110000"/>
              </a:lnSpc>
            </a:pPr>
            <a:r>
              <a:rPr lang="en-US" sz="1200" b="1">
                <a:solidFill>
                  <a:schemeClr val="tx2"/>
                </a:solidFill>
              </a:rPr>
              <a:t>Asia Pacific</a:t>
            </a:r>
          </a:p>
          <a:p>
            <a:pPr algn="ctr">
              <a:lnSpc>
                <a:spcPct val="110000"/>
              </a:lnSpc>
            </a:pPr>
            <a:r>
              <a:rPr lang="en-US" sz="1200" b="1">
                <a:solidFill>
                  <a:schemeClr val="tx2"/>
                </a:solidFill>
              </a:rPr>
              <a:t>Ex-China</a:t>
            </a:r>
          </a:p>
        </p:txBody>
      </p:sp>
      <p:sp>
        <p:nvSpPr>
          <p:cNvPr id="4" name="TextBox 3">
            <a:extLst>
              <a:ext uri="{FF2B5EF4-FFF2-40B4-BE49-F238E27FC236}">
                <a16:creationId xmlns:a16="http://schemas.microsoft.com/office/drawing/2014/main" id="{5172B7E5-1092-BA72-BDD1-FE3CC8A06322}"/>
              </a:ext>
            </a:extLst>
          </p:cNvPr>
          <p:cNvSpPr txBox="1"/>
          <p:nvPr/>
        </p:nvSpPr>
        <p:spPr>
          <a:xfrm>
            <a:off x="457200" y="4527868"/>
            <a:ext cx="8281035" cy="93680"/>
          </a:xfrm>
          <a:prstGeom prst="rect">
            <a:avLst/>
          </a:prstGeom>
          <a:noFill/>
        </p:spPr>
        <p:txBody>
          <a:bodyPr vert="horz" wrap="square" lIns="0" tIns="0" rIns="0" bIns="0" rtlCol="0" anchor="t">
            <a:spAutoFit/>
          </a:bodyPr>
          <a:lstStyle/>
          <a:p>
            <a:pPr algn="l">
              <a:lnSpc>
                <a:spcPct val="110000"/>
              </a:lnSpc>
            </a:pPr>
            <a:r>
              <a:rPr lang="en-US" sz="600" i="1">
                <a:solidFill>
                  <a:schemeClr val="tx2"/>
                </a:solidFill>
              </a:rPr>
              <a:t>Sources: Internal market intelligence based on public peer commentary, Rystad Energy, Preston Pipe, OCTG Situation Report, </a:t>
            </a:r>
            <a:r>
              <a:rPr lang="en-US" sz="600" i="1" err="1">
                <a:solidFill>
                  <a:schemeClr val="tx2"/>
                </a:solidFill>
              </a:rPr>
              <a:t>PipeLogix</a:t>
            </a:r>
            <a:endParaRPr lang="en-US" sz="600" i="1">
              <a:solidFill>
                <a:schemeClr val="tx2"/>
              </a:solidFill>
            </a:endParaRPr>
          </a:p>
        </p:txBody>
      </p:sp>
      <p:sp>
        <p:nvSpPr>
          <p:cNvPr id="93" name="Oval 65">
            <a:extLst>
              <a:ext uri="{FF2B5EF4-FFF2-40B4-BE49-F238E27FC236}">
                <a16:creationId xmlns:a16="http://schemas.microsoft.com/office/drawing/2014/main" id="{BAA2B5BD-9731-1151-8B3A-A9C1332C0930}"/>
              </a:ext>
            </a:extLst>
          </p:cNvPr>
          <p:cNvSpPr>
            <a:spLocks noChangeAspect="1" noChangeArrowheads="1"/>
          </p:cNvSpPr>
          <p:nvPr/>
        </p:nvSpPr>
        <p:spPr bwMode="auto">
          <a:xfrm>
            <a:off x="6524118" y="2599037"/>
            <a:ext cx="512064" cy="503385"/>
          </a:xfrm>
          <a:prstGeom prst="ellipse">
            <a:avLst/>
          </a:prstGeom>
          <a:solidFill>
            <a:schemeClr val="accent3"/>
          </a:solidFill>
          <a:ln w="28575">
            <a:solidFill>
              <a:schemeClr val="bg1"/>
            </a:solidFill>
            <a:prstDash val="solid"/>
            <a:round/>
            <a:headEnd/>
            <a:tailEnd/>
          </a:ln>
        </p:spPr>
        <p:txBody>
          <a:bodyPr vert="horz" wrap="square" lIns="0" tIns="45720" rIns="0" bIns="45720" numCol="1" anchor="ctr" anchorCtr="0" compatLnSpc="1">
            <a:prstTxWarp prst="textNoShape">
              <a:avLst/>
            </a:prstTxWarp>
          </a:bodyPr>
          <a:lstStyle/>
          <a:p>
            <a:pPr algn="ctr"/>
            <a:r>
              <a:rPr lang="en-US" sz="1200" b="1">
                <a:solidFill>
                  <a:schemeClr val="bg1"/>
                </a:solidFill>
              </a:rPr>
              <a:t>0.5</a:t>
            </a:r>
          </a:p>
        </p:txBody>
      </p:sp>
    </p:spTree>
    <p:custDataLst>
      <p:tags r:id="rId1"/>
    </p:custDataLst>
    <p:extLst>
      <p:ext uri="{BB962C8B-B14F-4D97-AF65-F5344CB8AC3E}">
        <p14:creationId xmlns:p14="http://schemas.microsoft.com/office/powerpoint/2010/main" val="40912482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7AF45C-B36C-E6A6-662A-F39AE91D78A9}"/>
              </a:ext>
            </a:extLst>
          </p:cNvPr>
          <p:cNvSpPr>
            <a:spLocks noGrp="1"/>
          </p:cNvSpPr>
          <p:nvPr>
            <p:ph type="title"/>
          </p:nvPr>
        </p:nvSpPr>
        <p:spPr/>
        <p:txBody>
          <a:bodyPr/>
          <a:lstStyle/>
          <a:p>
            <a:r>
              <a:rPr lang="en-US"/>
              <a:t>US OCTG Market: Pricing Not Yet Reflecting Market Balance</a:t>
            </a:r>
          </a:p>
        </p:txBody>
      </p:sp>
      <p:sp>
        <p:nvSpPr>
          <p:cNvPr id="3" name="Text Placeholder 2">
            <a:extLst>
              <a:ext uri="{FF2B5EF4-FFF2-40B4-BE49-F238E27FC236}">
                <a16:creationId xmlns:a16="http://schemas.microsoft.com/office/drawing/2014/main" id="{492095CD-3F24-2BC3-DC03-EEE28755E7CF}"/>
              </a:ext>
            </a:extLst>
          </p:cNvPr>
          <p:cNvSpPr>
            <a:spLocks noGrp="1"/>
          </p:cNvSpPr>
          <p:nvPr>
            <p:ph type="body" sz="quarter" idx="11"/>
          </p:nvPr>
        </p:nvSpPr>
        <p:spPr>
          <a:xfrm>
            <a:off x="458154" y="4437581"/>
            <a:ext cx="8281035" cy="186013"/>
          </a:xfrm>
        </p:spPr>
        <p:txBody>
          <a:bodyPr/>
          <a:lstStyle/>
          <a:p>
            <a:r>
              <a:rPr lang="en-US"/>
              <a:t>Sources: Baker Hughes, </a:t>
            </a:r>
            <a:r>
              <a:rPr lang="en-US" err="1"/>
              <a:t>PipeLogix</a:t>
            </a:r>
            <a:r>
              <a:rPr lang="en-US"/>
              <a:t>, OCTG Situation Report. Reflects average pricing for all seamless products. *Values greater than 8 months are not shown.</a:t>
            </a:r>
          </a:p>
        </p:txBody>
      </p:sp>
      <p:sp>
        <p:nvSpPr>
          <p:cNvPr id="4" name="Text Placeholder 3">
            <a:extLst>
              <a:ext uri="{FF2B5EF4-FFF2-40B4-BE49-F238E27FC236}">
                <a16:creationId xmlns:a16="http://schemas.microsoft.com/office/drawing/2014/main" id="{63E7DFF6-3C33-41F0-F2E0-F212816D560A}"/>
              </a:ext>
            </a:extLst>
          </p:cNvPr>
          <p:cNvSpPr>
            <a:spLocks noGrp="1"/>
          </p:cNvSpPr>
          <p:nvPr>
            <p:ph type="body" sz="quarter" idx="18"/>
          </p:nvPr>
        </p:nvSpPr>
        <p:spPr/>
        <p:txBody>
          <a:bodyPr>
            <a:normAutofit lnSpcReduction="10000"/>
          </a:bodyPr>
          <a:lstStyle/>
          <a:p>
            <a:r>
              <a:rPr lang="en-US"/>
              <a:t>Rig count stable since October</a:t>
            </a:r>
          </a:p>
          <a:p>
            <a:endParaRPr lang="en-US"/>
          </a:p>
        </p:txBody>
      </p:sp>
      <p:sp>
        <p:nvSpPr>
          <p:cNvPr id="5" name="Text Placeholder 4">
            <a:extLst>
              <a:ext uri="{FF2B5EF4-FFF2-40B4-BE49-F238E27FC236}">
                <a16:creationId xmlns:a16="http://schemas.microsoft.com/office/drawing/2014/main" id="{E861C048-EF5D-86CE-4F57-A3936EC7DA0C}"/>
              </a:ext>
            </a:extLst>
          </p:cNvPr>
          <p:cNvSpPr>
            <a:spLocks noGrp="1"/>
          </p:cNvSpPr>
          <p:nvPr>
            <p:ph type="body" sz="quarter" idx="19"/>
          </p:nvPr>
        </p:nvSpPr>
        <p:spPr/>
        <p:txBody>
          <a:bodyPr/>
          <a:lstStyle/>
          <a:p>
            <a:r>
              <a:rPr lang="en-US"/>
              <a:t>US Horizontal Rig Count</a:t>
            </a:r>
          </a:p>
        </p:txBody>
      </p:sp>
      <p:sp>
        <p:nvSpPr>
          <p:cNvPr id="7" name="Text Placeholder 6">
            <a:extLst>
              <a:ext uri="{FF2B5EF4-FFF2-40B4-BE49-F238E27FC236}">
                <a16:creationId xmlns:a16="http://schemas.microsoft.com/office/drawing/2014/main" id="{185E3A4C-2128-38FD-F7D9-BDF63C688C50}"/>
              </a:ext>
            </a:extLst>
          </p:cNvPr>
          <p:cNvSpPr>
            <a:spLocks noGrp="1"/>
          </p:cNvSpPr>
          <p:nvPr>
            <p:ph type="body" sz="quarter" idx="21"/>
          </p:nvPr>
        </p:nvSpPr>
        <p:spPr/>
        <p:txBody>
          <a:bodyPr/>
          <a:lstStyle/>
          <a:p>
            <a:r>
              <a:rPr lang="en-US"/>
              <a:t>Inventories have normalized</a:t>
            </a:r>
          </a:p>
        </p:txBody>
      </p:sp>
      <p:sp>
        <p:nvSpPr>
          <p:cNvPr id="8" name="Text Placeholder 7">
            <a:extLst>
              <a:ext uri="{FF2B5EF4-FFF2-40B4-BE49-F238E27FC236}">
                <a16:creationId xmlns:a16="http://schemas.microsoft.com/office/drawing/2014/main" id="{2D91ED7A-9E23-7DFA-C8A8-50EA1C84E9E0}"/>
              </a:ext>
            </a:extLst>
          </p:cNvPr>
          <p:cNvSpPr>
            <a:spLocks noGrp="1"/>
          </p:cNvSpPr>
          <p:nvPr>
            <p:ph type="body" sz="quarter" idx="22"/>
          </p:nvPr>
        </p:nvSpPr>
        <p:spPr/>
        <p:txBody>
          <a:bodyPr/>
          <a:lstStyle/>
          <a:p>
            <a:r>
              <a:rPr lang="en-US"/>
              <a:t>Months of OCTG Inventory</a:t>
            </a:r>
          </a:p>
          <a:p>
            <a:endParaRPr lang="en-US"/>
          </a:p>
        </p:txBody>
      </p:sp>
      <p:sp>
        <p:nvSpPr>
          <p:cNvPr id="10" name="Text Placeholder 9">
            <a:extLst>
              <a:ext uri="{FF2B5EF4-FFF2-40B4-BE49-F238E27FC236}">
                <a16:creationId xmlns:a16="http://schemas.microsoft.com/office/drawing/2014/main" id="{B360B958-FF88-101D-2C1B-74A23395B7E9}"/>
              </a:ext>
            </a:extLst>
          </p:cNvPr>
          <p:cNvSpPr>
            <a:spLocks noGrp="1"/>
          </p:cNvSpPr>
          <p:nvPr>
            <p:ph type="body" sz="quarter" idx="24"/>
          </p:nvPr>
        </p:nvSpPr>
        <p:spPr/>
        <p:txBody>
          <a:bodyPr rIns="0">
            <a:normAutofit lnSpcReduction="10000"/>
          </a:bodyPr>
          <a:lstStyle/>
          <a:p>
            <a:r>
              <a:rPr lang="en-US"/>
              <a:t>Pricing still somewhat lower</a:t>
            </a:r>
          </a:p>
          <a:p>
            <a:endParaRPr lang="en-US"/>
          </a:p>
        </p:txBody>
      </p:sp>
      <p:sp>
        <p:nvSpPr>
          <p:cNvPr id="11" name="Text Placeholder 10">
            <a:extLst>
              <a:ext uri="{FF2B5EF4-FFF2-40B4-BE49-F238E27FC236}">
                <a16:creationId xmlns:a16="http://schemas.microsoft.com/office/drawing/2014/main" id="{31BF1D20-E732-C17B-5D70-CBA74961A3A5}"/>
              </a:ext>
            </a:extLst>
          </p:cNvPr>
          <p:cNvSpPr>
            <a:spLocks noGrp="1"/>
          </p:cNvSpPr>
          <p:nvPr>
            <p:ph type="body" sz="quarter" idx="25"/>
          </p:nvPr>
        </p:nvSpPr>
        <p:spPr/>
        <p:txBody>
          <a:bodyPr/>
          <a:lstStyle/>
          <a:p>
            <a:r>
              <a:rPr lang="en-US"/>
              <a:t>Seamless OCTG Price ($ / Tonne)</a:t>
            </a:r>
          </a:p>
        </p:txBody>
      </p:sp>
      <p:graphicFrame>
        <p:nvGraphicFramePr>
          <p:cNvPr id="13" name="Content Placeholder 20">
            <a:extLst>
              <a:ext uri="{FF2B5EF4-FFF2-40B4-BE49-F238E27FC236}">
                <a16:creationId xmlns:a16="http://schemas.microsoft.com/office/drawing/2014/main" id="{807FD475-06F7-87C0-5DE1-6F37A74381DD}"/>
              </a:ext>
            </a:extLst>
          </p:cNvPr>
          <p:cNvGraphicFramePr>
            <a:graphicFrameLocks noGrp="1"/>
          </p:cNvGraphicFramePr>
          <p:nvPr>
            <p:ph sz="quarter" idx="20"/>
          </p:nvPr>
        </p:nvGraphicFramePr>
        <p:xfrm>
          <a:off x="458788" y="1557339"/>
          <a:ext cx="2651125" cy="287972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ontent Placeholder 19">
            <a:extLst>
              <a:ext uri="{FF2B5EF4-FFF2-40B4-BE49-F238E27FC236}">
                <a16:creationId xmlns:a16="http://schemas.microsoft.com/office/drawing/2014/main" id="{C25F8CC8-C26C-D28A-0D38-5E8AA6D36A5E}"/>
              </a:ext>
            </a:extLst>
          </p:cNvPr>
          <p:cNvGraphicFramePr>
            <a:graphicFrameLocks noGrp="1"/>
          </p:cNvGraphicFramePr>
          <p:nvPr>
            <p:ph sz="quarter" idx="26"/>
          </p:nvPr>
        </p:nvGraphicFramePr>
        <p:xfrm>
          <a:off x="6088064" y="1549904"/>
          <a:ext cx="2651125" cy="28797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ontent Placeholder 15">
            <a:extLst>
              <a:ext uri="{FF2B5EF4-FFF2-40B4-BE49-F238E27FC236}">
                <a16:creationId xmlns:a16="http://schemas.microsoft.com/office/drawing/2014/main" id="{1089F6EE-F12F-4AB8-8D95-53D9C03CE9F0}"/>
              </a:ext>
            </a:extLst>
          </p:cNvPr>
          <p:cNvGraphicFramePr>
            <a:graphicFrameLocks noGrp="1" noChangeAspect="1"/>
          </p:cNvGraphicFramePr>
          <p:nvPr>
            <p:ph sz="quarter" idx="23"/>
          </p:nvPr>
        </p:nvGraphicFramePr>
        <p:xfrm>
          <a:off x="3273425" y="1557338"/>
          <a:ext cx="2703629" cy="2879725"/>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Box 16">
            <a:extLst>
              <a:ext uri="{FF2B5EF4-FFF2-40B4-BE49-F238E27FC236}">
                <a16:creationId xmlns:a16="http://schemas.microsoft.com/office/drawing/2014/main" id="{539E2C73-4934-8C04-9804-816441BFFDD9}"/>
              </a:ext>
            </a:extLst>
          </p:cNvPr>
          <p:cNvSpPr txBox="1"/>
          <p:nvPr/>
        </p:nvSpPr>
        <p:spPr>
          <a:xfrm>
            <a:off x="4461911" y="1542644"/>
            <a:ext cx="142027" cy="246221"/>
          </a:xfrm>
          <a:prstGeom prst="rect">
            <a:avLst/>
          </a:prstGeom>
        </p:spPr>
        <p:txBody>
          <a:bodyPr wrap="none" lIns="45720" rIns="45720" rtlCol="0" anchor="ctr" anchorCtr="0">
            <a:spAutoFit/>
          </a:bodyPr>
          <a:lstStyle/>
          <a:p>
            <a:pPr algn="ctr"/>
            <a:r>
              <a:rPr lang="en-US" sz="1000"/>
              <a:t>*</a:t>
            </a:r>
          </a:p>
        </p:txBody>
      </p:sp>
    </p:spTree>
    <p:extLst>
      <p:ext uri="{BB962C8B-B14F-4D97-AF65-F5344CB8AC3E}">
        <p14:creationId xmlns:p14="http://schemas.microsoft.com/office/powerpoint/2010/main" val="40919611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F4029-9FB0-7C46-80CA-83610ED7A428}"/>
              </a:ext>
            </a:extLst>
          </p:cNvPr>
          <p:cNvSpPr>
            <a:spLocks noGrp="1"/>
          </p:cNvSpPr>
          <p:nvPr>
            <p:ph type="title"/>
          </p:nvPr>
        </p:nvSpPr>
        <p:spPr/>
        <p:txBody>
          <a:bodyPr/>
          <a:lstStyle/>
          <a:p>
            <a:r>
              <a:rPr lang="en-US"/>
              <a:t>International OCTG Market: Demand Remains Robust</a:t>
            </a:r>
          </a:p>
        </p:txBody>
      </p:sp>
      <p:sp>
        <p:nvSpPr>
          <p:cNvPr id="3" name="Text Placeholder 2">
            <a:extLst>
              <a:ext uri="{FF2B5EF4-FFF2-40B4-BE49-F238E27FC236}">
                <a16:creationId xmlns:a16="http://schemas.microsoft.com/office/drawing/2014/main" id="{D6E54B5A-A240-5FA0-5747-BA7FB810E0A4}"/>
              </a:ext>
            </a:extLst>
          </p:cNvPr>
          <p:cNvSpPr>
            <a:spLocks noGrp="1"/>
          </p:cNvSpPr>
          <p:nvPr>
            <p:ph type="body" sz="quarter" idx="11"/>
          </p:nvPr>
        </p:nvSpPr>
        <p:spPr>
          <a:xfrm>
            <a:off x="458154" y="4482185"/>
            <a:ext cx="8281035" cy="184666"/>
          </a:xfrm>
        </p:spPr>
        <p:txBody>
          <a:bodyPr/>
          <a:lstStyle/>
          <a:p>
            <a:r>
              <a:rPr lang="en-US"/>
              <a:t>Sources: Baker Hughes, </a:t>
            </a:r>
            <a:r>
              <a:rPr lang="en-US" err="1"/>
              <a:t>Rystad</a:t>
            </a:r>
            <a:r>
              <a:rPr lang="en-US"/>
              <a:t> Energy. OCTG pricing reflects price of L80 tubes (Premium) in Jebel Ali (Middle East) and North Sea.</a:t>
            </a:r>
          </a:p>
        </p:txBody>
      </p:sp>
      <p:sp>
        <p:nvSpPr>
          <p:cNvPr id="4" name="Text Placeholder 3">
            <a:extLst>
              <a:ext uri="{FF2B5EF4-FFF2-40B4-BE49-F238E27FC236}">
                <a16:creationId xmlns:a16="http://schemas.microsoft.com/office/drawing/2014/main" id="{E31828A5-8111-1C5D-0D04-12F6631BCA30}"/>
              </a:ext>
            </a:extLst>
          </p:cNvPr>
          <p:cNvSpPr>
            <a:spLocks noGrp="1"/>
          </p:cNvSpPr>
          <p:nvPr>
            <p:ph type="body" sz="quarter" idx="18"/>
          </p:nvPr>
        </p:nvSpPr>
        <p:spPr/>
        <p:txBody>
          <a:bodyPr/>
          <a:lstStyle/>
          <a:p>
            <a:r>
              <a:rPr lang="en-US" dirty="0"/>
              <a:t>International offshore activity at post-COVID high</a:t>
            </a:r>
          </a:p>
        </p:txBody>
      </p:sp>
      <p:sp>
        <p:nvSpPr>
          <p:cNvPr id="5" name="Text Placeholder 4">
            <a:extLst>
              <a:ext uri="{FF2B5EF4-FFF2-40B4-BE49-F238E27FC236}">
                <a16:creationId xmlns:a16="http://schemas.microsoft.com/office/drawing/2014/main" id="{7837C063-F036-DD80-8C18-F085C7376AF2}"/>
              </a:ext>
            </a:extLst>
          </p:cNvPr>
          <p:cNvSpPr>
            <a:spLocks noGrp="1"/>
          </p:cNvSpPr>
          <p:nvPr>
            <p:ph type="body" sz="quarter" idx="19"/>
          </p:nvPr>
        </p:nvSpPr>
        <p:spPr/>
        <p:txBody>
          <a:bodyPr/>
          <a:lstStyle/>
          <a:p>
            <a:r>
              <a:rPr lang="en-US"/>
              <a:t>Onshore Rig Count 			            Offshore Rig Count</a:t>
            </a:r>
          </a:p>
        </p:txBody>
      </p:sp>
      <p:sp>
        <p:nvSpPr>
          <p:cNvPr id="7" name="Text Placeholder 6">
            <a:extLst>
              <a:ext uri="{FF2B5EF4-FFF2-40B4-BE49-F238E27FC236}">
                <a16:creationId xmlns:a16="http://schemas.microsoft.com/office/drawing/2014/main" id="{E59BCC4E-4D82-1481-35B7-EC71AD0D93C2}"/>
              </a:ext>
            </a:extLst>
          </p:cNvPr>
          <p:cNvSpPr>
            <a:spLocks noGrp="1"/>
          </p:cNvSpPr>
          <p:nvPr>
            <p:ph type="body" sz="quarter" idx="21"/>
          </p:nvPr>
        </p:nvSpPr>
        <p:spPr/>
        <p:txBody>
          <a:bodyPr vert="horz" lIns="45720" tIns="45720" rIns="45720" bIns="45720" rtlCol="0" anchor="t">
            <a:noAutofit/>
          </a:bodyPr>
          <a:lstStyle/>
          <a:p>
            <a:pPr indent="-3810"/>
            <a:r>
              <a:rPr lang="en-US" sz="1200">
                <a:latin typeface="Arial"/>
                <a:cs typeface="Arial"/>
              </a:rPr>
              <a:t>International market pricing remains strong</a:t>
            </a:r>
            <a:endParaRPr lang="fr-FR" sz="1200">
              <a:solidFill>
                <a:srgbClr val="FF0000"/>
              </a:solidFill>
              <a:latin typeface="Arial"/>
              <a:cs typeface="Arial"/>
            </a:endParaRPr>
          </a:p>
        </p:txBody>
      </p:sp>
      <p:sp>
        <p:nvSpPr>
          <p:cNvPr id="8" name="Text Placeholder 7">
            <a:extLst>
              <a:ext uri="{FF2B5EF4-FFF2-40B4-BE49-F238E27FC236}">
                <a16:creationId xmlns:a16="http://schemas.microsoft.com/office/drawing/2014/main" id="{21D0427B-C41D-6C93-3E5E-D4B8F0569D5A}"/>
              </a:ext>
            </a:extLst>
          </p:cNvPr>
          <p:cNvSpPr>
            <a:spLocks noGrp="1"/>
          </p:cNvSpPr>
          <p:nvPr>
            <p:ph type="body" sz="quarter" idx="22"/>
          </p:nvPr>
        </p:nvSpPr>
        <p:spPr/>
        <p:txBody>
          <a:bodyPr/>
          <a:lstStyle/>
          <a:p>
            <a:r>
              <a:rPr lang="en-US"/>
              <a:t>Seamless OCTG Price ($ / </a:t>
            </a:r>
            <a:r>
              <a:rPr lang="en-US" err="1"/>
              <a:t>Tonne</a:t>
            </a:r>
            <a:r>
              <a:rPr lang="en-US"/>
              <a:t>)</a:t>
            </a:r>
          </a:p>
        </p:txBody>
      </p:sp>
      <p:graphicFrame>
        <p:nvGraphicFramePr>
          <p:cNvPr id="10" name="Content Placeholder 9">
            <a:extLst>
              <a:ext uri="{FF2B5EF4-FFF2-40B4-BE49-F238E27FC236}">
                <a16:creationId xmlns:a16="http://schemas.microsoft.com/office/drawing/2014/main" id="{C9CD861C-C807-6437-6D9E-86C7F7C23277}"/>
              </a:ext>
            </a:extLst>
          </p:cNvPr>
          <p:cNvGraphicFramePr>
            <a:graphicFrameLocks noGrp="1"/>
          </p:cNvGraphicFramePr>
          <p:nvPr>
            <p:ph sz="quarter" idx="20"/>
          </p:nvPr>
        </p:nvGraphicFramePr>
        <p:xfrm>
          <a:off x="458788" y="1550304"/>
          <a:ext cx="3886200" cy="28797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ontent Placeholder 15">
            <a:extLst>
              <a:ext uri="{FF2B5EF4-FFF2-40B4-BE49-F238E27FC236}">
                <a16:creationId xmlns:a16="http://schemas.microsoft.com/office/drawing/2014/main" id="{5388819B-924C-C06F-5703-778A71B7FA29}"/>
              </a:ext>
            </a:extLst>
          </p:cNvPr>
          <p:cNvGraphicFramePr>
            <a:graphicFrameLocks noGrp="1"/>
          </p:cNvGraphicFramePr>
          <p:nvPr>
            <p:ph sz="quarter" idx="23"/>
          </p:nvPr>
        </p:nvGraphicFramePr>
        <p:xfrm>
          <a:off x="4852988" y="1557338"/>
          <a:ext cx="3886200" cy="28797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7415097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6C5911-8785-404D-AE40-12E992D3AE5C}"/>
              </a:ext>
            </a:extLst>
          </p:cNvPr>
          <p:cNvSpPr>
            <a:spLocks noGrp="1"/>
          </p:cNvSpPr>
          <p:nvPr>
            <p:ph type="title"/>
          </p:nvPr>
        </p:nvSpPr>
        <p:spPr/>
        <p:txBody>
          <a:bodyPr/>
          <a:lstStyle/>
          <a:p>
            <a:r>
              <a:rPr lang="en-US">
                <a:latin typeface="Arial"/>
                <a:cs typeface="Arial"/>
              </a:rPr>
              <a:t>Strong Market Prices Reflecting Tight Supply-Demand, Costs</a:t>
            </a:r>
          </a:p>
        </p:txBody>
      </p:sp>
      <p:sp>
        <p:nvSpPr>
          <p:cNvPr id="16" name="Content Placeholder 2">
            <a:extLst>
              <a:ext uri="{FF2B5EF4-FFF2-40B4-BE49-F238E27FC236}">
                <a16:creationId xmlns:a16="http://schemas.microsoft.com/office/drawing/2014/main" id="{3ADC2719-69A8-DDFF-FA5B-9F6BA0B7F397}"/>
              </a:ext>
            </a:extLst>
          </p:cNvPr>
          <p:cNvSpPr txBox="1">
            <a:spLocks/>
          </p:cNvSpPr>
          <p:nvPr/>
        </p:nvSpPr>
        <p:spPr>
          <a:xfrm>
            <a:off x="457200" y="1007428"/>
            <a:ext cx="3886200" cy="274320"/>
          </a:xfrm>
          <a:prstGeom prst="rect">
            <a:avLst/>
          </a:prstGeom>
          <a:solidFill>
            <a:schemeClr val="bg1"/>
          </a:solidFill>
          <a:ln w="9525" cap="flat" cmpd="sng" algn="ctr">
            <a:noFill/>
            <a:prstDash val="solid"/>
          </a:ln>
          <a:effectLst>
            <a:outerShdw dist="12700" dir="5400000" algn="t"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45720" bIns="27432" numCol="1" spcCol="0" rtlCol="0" fromWordArt="0" anchor="ctr" anchorCtr="0" forceAA="0" compatLnSpc="0">
            <a:prstTxWarp prst="textNoShape">
              <a:avLst/>
            </a:prstTxWarp>
            <a:noAutofit/>
          </a:bodyPr>
          <a:lstStyle>
            <a:defPPr>
              <a:defRPr lang="fr-FR"/>
            </a:defPPr>
            <a:lvl1pPr>
              <a:defRPr sz="1000" b="1">
                <a:solidFill>
                  <a:schemeClr val="accent1"/>
                </a:solidFill>
                <a:latin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200"/>
              <a:t>Tubes market in the midst of a strong upturn</a:t>
            </a:r>
          </a:p>
        </p:txBody>
      </p:sp>
      <p:sp>
        <p:nvSpPr>
          <p:cNvPr id="17" name="Content Placeholder 2">
            <a:extLst>
              <a:ext uri="{FF2B5EF4-FFF2-40B4-BE49-F238E27FC236}">
                <a16:creationId xmlns:a16="http://schemas.microsoft.com/office/drawing/2014/main" id="{EC87B8FB-0617-59C0-C6EC-464637068CBF}"/>
              </a:ext>
            </a:extLst>
          </p:cNvPr>
          <p:cNvSpPr txBox="1">
            <a:spLocks/>
          </p:cNvSpPr>
          <p:nvPr/>
        </p:nvSpPr>
        <p:spPr>
          <a:xfrm>
            <a:off x="4800600" y="1007428"/>
            <a:ext cx="3886200" cy="274320"/>
          </a:xfrm>
          <a:prstGeom prst="rect">
            <a:avLst/>
          </a:prstGeom>
          <a:solidFill>
            <a:schemeClr val="bg1"/>
          </a:solidFill>
          <a:ln w="9525" cap="flat" cmpd="sng" algn="ctr">
            <a:noFill/>
            <a:prstDash val="solid"/>
          </a:ln>
          <a:effectLst>
            <a:outerShdw dist="12700" dir="5400000" algn="t"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45720" bIns="27432" numCol="1" spcCol="0" rtlCol="0" fromWordArt="0" anchor="ctr" anchorCtr="0" forceAA="0" compatLnSpc="0">
            <a:prstTxWarp prst="textNoShape">
              <a:avLst/>
            </a:prstTxWarp>
            <a:noAutofit/>
          </a:bodyPr>
          <a:lstStyle>
            <a:defPPr>
              <a:defRPr lang="fr-FR"/>
            </a:defPPr>
            <a:lvl1pPr>
              <a:defRPr sz="1000" b="1">
                <a:solidFill>
                  <a:schemeClr val="accent1"/>
                </a:solidFill>
                <a:latin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200"/>
              <a:t>Industry costs point to higher landing for prices</a:t>
            </a:r>
          </a:p>
        </p:txBody>
      </p:sp>
      <p:sp>
        <p:nvSpPr>
          <p:cNvPr id="18" name="TextBox 17">
            <a:extLst>
              <a:ext uri="{FF2B5EF4-FFF2-40B4-BE49-F238E27FC236}">
                <a16:creationId xmlns:a16="http://schemas.microsoft.com/office/drawing/2014/main" id="{2B7384A8-86FD-57C9-204F-32ACBF138B3A}"/>
              </a:ext>
            </a:extLst>
          </p:cNvPr>
          <p:cNvSpPr txBox="1"/>
          <p:nvPr/>
        </p:nvSpPr>
        <p:spPr>
          <a:xfrm>
            <a:off x="457200" y="1291950"/>
            <a:ext cx="4007983" cy="253916"/>
          </a:xfrm>
          <a:prstGeom prst="rect">
            <a:avLst/>
          </a:prstGeom>
          <a:noFill/>
        </p:spPr>
        <p:txBody>
          <a:bodyPr wrap="square" lIns="0" rIns="0" rtlCol="0">
            <a:spAutoFit/>
          </a:bodyPr>
          <a:lstStyle/>
          <a:p>
            <a:r>
              <a:rPr lang="en-GB" sz="1000" i="1">
                <a:solidFill>
                  <a:schemeClr val="tx1">
                    <a:lumMod val="65000"/>
                    <a:lumOff val="35000"/>
                  </a:schemeClr>
                </a:solidFill>
              </a:rPr>
              <a:t>Historical OCTG Market Pricing ($ / tonne)</a:t>
            </a:r>
          </a:p>
        </p:txBody>
      </p:sp>
      <p:graphicFrame>
        <p:nvGraphicFramePr>
          <p:cNvPr id="4" name="Chart 3">
            <a:extLst>
              <a:ext uri="{FF2B5EF4-FFF2-40B4-BE49-F238E27FC236}">
                <a16:creationId xmlns:a16="http://schemas.microsoft.com/office/drawing/2014/main" id="{EE4469A8-7C3B-295A-5A64-00F32A081B72}"/>
              </a:ext>
            </a:extLst>
          </p:cNvPr>
          <p:cNvGraphicFramePr>
            <a:graphicFrameLocks/>
          </p:cNvGraphicFramePr>
          <p:nvPr>
            <p:extLst>
              <p:ext uri="{D42A27DB-BD31-4B8C-83A1-F6EECF244321}">
                <p14:modId xmlns:p14="http://schemas.microsoft.com/office/powerpoint/2010/main" val="4223033630"/>
              </p:ext>
            </p:extLst>
          </p:nvPr>
        </p:nvGraphicFramePr>
        <p:xfrm>
          <a:off x="457200" y="1556069"/>
          <a:ext cx="3886200" cy="2796139"/>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1193E798-F4A7-AE77-CDB9-9DEF384CF6B5}"/>
              </a:ext>
            </a:extLst>
          </p:cNvPr>
          <p:cNvSpPr txBox="1"/>
          <p:nvPr/>
        </p:nvSpPr>
        <p:spPr>
          <a:xfrm>
            <a:off x="457201" y="4436428"/>
            <a:ext cx="8281035" cy="195246"/>
          </a:xfrm>
          <a:prstGeom prst="rect">
            <a:avLst/>
          </a:prstGeom>
          <a:noFill/>
        </p:spPr>
        <p:txBody>
          <a:bodyPr vert="horz" wrap="square" lIns="0" tIns="0" rIns="0" bIns="0" rtlCol="0" anchor="t">
            <a:spAutoFit/>
          </a:bodyPr>
          <a:lstStyle>
            <a:defPPr>
              <a:defRPr lang="fr-FR"/>
            </a:defPPr>
            <a:lvl1pPr>
              <a:lnSpc>
                <a:spcPct val="110000"/>
              </a:lnSpc>
              <a:defRPr sz="600" b="0" i="1">
                <a:solidFill>
                  <a:schemeClr val="tx2"/>
                </a:solidFill>
              </a:defRPr>
            </a:lvl1pPr>
          </a:lstStyle>
          <a:p>
            <a:r>
              <a:rPr lang="en-US"/>
              <a:t>Sources: Vallourec estimates, OCTG Situation Report, </a:t>
            </a:r>
            <a:r>
              <a:rPr lang="en-US" err="1"/>
              <a:t>PipeLogix</a:t>
            </a:r>
            <a:r>
              <a:rPr lang="en-US"/>
              <a:t>, Rystad Energy</a:t>
            </a:r>
          </a:p>
          <a:p>
            <a:r>
              <a:rPr lang="en-US"/>
              <a:t>Note: Benchmarks refer to US Semi-Premium Seamless prices and International Premium Seamless pricing. Tier 1 Players are included where data is available. Average selling price defined as revenue divided by sales volumes.</a:t>
            </a:r>
          </a:p>
        </p:txBody>
      </p:sp>
      <p:sp>
        <p:nvSpPr>
          <p:cNvPr id="11" name="TextBox 10">
            <a:extLst>
              <a:ext uri="{FF2B5EF4-FFF2-40B4-BE49-F238E27FC236}">
                <a16:creationId xmlns:a16="http://schemas.microsoft.com/office/drawing/2014/main" id="{9D31F699-515E-51DB-8060-A8630B88250A}"/>
              </a:ext>
            </a:extLst>
          </p:cNvPr>
          <p:cNvSpPr txBox="1"/>
          <p:nvPr/>
        </p:nvSpPr>
        <p:spPr>
          <a:xfrm>
            <a:off x="4800600" y="1281748"/>
            <a:ext cx="4007983" cy="253916"/>
          </a:xfrm>
          <a:prstGeom prst="rect">
            <a:avLst/>
          </a:prstGeom>
          <a:noFill/>
        </p:spPr>
        <p:txBody>
          <a:bodyPr wrap="square" lIns="0" rIns="0" rtlCol="0">
            <a:spAutoFit/>
          </a:bodyPr>
          <a:lstStyle/>
          <a:p>
            <a:r>
              <a:rPr lang="en-GB" sz="1000" i="1">
                <a:solidFill>
                  <a:schemeClr val="tx1">
                    <a:lumMod val="65000"/>
                    <a:lumOff val="35000"/>
                  </a:schemeClr>
                </a:solidFill>
              </a:rPr>
              <a:t>Tier 1 OCTG Supplier Average Cash Cost of Sales ($ / tonne)</a:t>
            </a:r>
          </a:p>
        </p:txBody>
      </p:sp>
      <p:graphicFrame>
        <p:nvGraphicFramePr>
          <p:cNvPr id="12" name="Chart 11">
            <a:extLst>
              <a:ext uri="{FF2B5EF4-FFF2-40B4-BE49-F238E27FC236}">
                <a16:creationId xmlns:a16="http://schemas.microsoft.com/office/drawing/2014/main" id="{7BE5CB6F-003D-6480-77DD-B24681CDDE9D}"/>
              </a:ext>
            </a:extLst>
          </p:cNvPr>
          <p:cNvGraphicFramePr>
            <a:graphicFrameLocks/>
          </p:cNvGraphicFramePr>
          <p:nvPr>
            <p:extLst>
              <p:ext uri="{D42A27DB-BD31-4B8C-83A1-F6EECF244321}">
                <p14:modId xmlns:p14="http://schemas.microsoft.com/office/powerpoint/2010/main" val="2403305067"/>
              </p:ext>
            </p:extLst>
          </p:nvPr>
        </p:nvGraphicFramePr>
        <p:xfrm>
          <a:off x="4800600" y="1563688"/>
          <a:ext cx="3823700" cy="2801210"/>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3C14E820-BD9C-C7B0-FB66-DF5D52F827F1}"/>
              </a:ext>
            </a:extLst>
          </p:cNvPr>
          <p:cNvSpPr txBox="1"/>
          <p:nvPr/>
        </p:nvSpPr>
        <p:spPr>
          <a:xfrm>
            <a:off x="6759827" y="1737379"/>
            <a:ext cx="1663153" cy="385170"/>
          </a:xfrm>
          <a:prstGeom prst="rect">
            <a:avLst/>
          </a:prstGeom>
          <a:noFill/>
        </p:spPr>
        <p:txBody>
          <a:bodyPr vert="horz" wrap="square" lIns="91440" tIns="45720" rIns="91440" bIns="45720" rtlCol="0" anchor="t">
            <a:spAutoFit/>
          </a:bodyPr>
          <a:lstStyle/>
          <a:p>
            <a:pPr algn="ctr">
              <a:lnSpc>
                <a:spcPct val="110000"/>
              </a:lnSpc>
            </a:pPr>
            <a:r>
              <a:rPr lang="en-US" sz="900" i="1">
                <a:solidFill>
                  <a:schemeClr val="tx2"/>
                </a:solidFill>
              </a:rPr>
              <a:t>Industry costs up &gt;$600/tonne vs. prior cycle</a:t>
            </a:r>
          </a:p>
        </p:txBody>
      </p:sp>
      <p:cxnSp>
        <p:nvCxnSpPr>
          <p:cNvPr id="14" name="Straight Connector 13">
            <a:extLst>
              <a:ext uri="{FF2B5EF4-FFF2-40B4-BE49-F238E27FC236}">
                <a16:creationId xmlns:a16="http://schemas.microsoft.com/office/drawing/2014/main" id="{AE92359C-0F7A-AFA3-B1D9-BFFE98A5F7AC}"/>
              </a:ext>
            </a:extLst>
          </p:cNvPr>
          <p:cNvCxnSpPr>
            <a:cxnSpLocks/>
          </p:cNvCxnSpPr>
          <p:nvPr/>
        </p:nvCxnSpPr>
        <p:spPr>
          <a:xfrm flipV="1">
            <a:off x="6868931" y="2185989"/>
            <a:ext cx="0" cy="1642533"/>
          </a:xfrm>
          <a:prstGeom prst="line">
            <a:avLst/>
          </a:prstGeom>
          <a:ln w="9525">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EF9295E-BA69-FBCD-3C06-3A4ADF64DA59}"/>
              </a:ext>
            </a:extLst>
          </p:cNvPr>
          <p:cNvCxnSpPr>
            <a:cxnSpLocks/>
          </p:cNvCxnSpPr>
          <p:nvPr/>
        </p:nvCxnSpPr>
        <p:spPr>
          <a:xfrm>
            <a:off x="6868932" y="2178490"/>
            <a:ext cx="1351269" cy="0"/>
          </a:xfrm>
          <a:prstGeom prst="line">
            <a:avLst/>
          </a:prstGeom>
          <a:ln w="9525">
            <a:solidFill>
              <a:schemeClr val="accent3"/>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9187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4">
            <a:extLst>
              <a:ext uri="{FF2B5EF4-FFF2-40B4-BE49-F238E27FC236}">
                <a16:creationId xmlns:a16="http://schemas.microsoft.com/office/drawing/2014/main" id="{239DC6F0-0732-F7B2-0D81-980BBDD5AE07}"/>
              </a:ext>
            </a:extLst>
          </p:cNvPr>
          <p:cNvSpPr/>
          <p:nvPr/>
        </p:nvSpPr>
        <p:spPr>
          <a:xfrm>
            <a:off x="2229341" y="910389"/>
            <a:ext cx="2068132" cy="3337975"/>
          </a:xfrm>
          <a:prstGeom prst="roundRect">
            <a:avLst>
              <a:gd name="adj" fmla="val 5038"/>
            </a:avLst>
          </a:prstGeom>
          <a:solidFill>
            <a:schemeClr val="accent1"/>
          </a:solidFill>
          <a:ln w="9525">
            <a:noFill/>
          </a:ln>
          <a:effectLst>
            <a:outerShdw blurRad="127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576" rIns="0" bIns="0" numCol="1" spcCol="0" rtlCol="0" fromWordArt="0" anchor="t" anchorCtr="0" forceAA="0" compatLnSpc="0">
            <a:prstTxWarp prst="textNoShape">
              <a:avLst/>
            </a:prstTxWarp>
            <a:noAutofit/>
          </a:bodyPr>
          <a:lstStyle/>
          <a:p>
            <a:pPr algn="ctr">
              <a:lnSpc>
                <a:spcPct val="110000"/>
              </a:lnSpc>
            </a:pPr>
            <a:endParaRPr lang="en-GB" sz="500" b="1">
              <a:solidFill>
                <a:schemeClr val="bg1"/>
              </a:solidFill>
            </a:endParaRPr>
          </a:p>
          <a:p>
            <a:pPr algn="ctr">
              <a:lnSpc>
                <a:spcPct val="110000"/>
              </a:lnSpc>
            </a:pPr>
            <a:r>
              <a:rPr lang="en-GB" sz="1000" b="1">
                <a:solidFill>
                  <a:schemeClr val="bg1"/>
                </a:solidFill>
              </a:rPr>
              <a:t>Geothermal</a:t>
            </a:r>
          </a:p>
        </p:txBody>
      </p:sp>
      <p:sp>
        <p:nvSpPr>
          <p:cNvPr id="2" name="Title 1">
            <a:extLst>
              <a:ext uri="{FF2B5EF4-FFF2-40B4-BE49-F238E27FC236}">
                <a16:creationId xmlns:a16="http://schemas.microsoft.com/office/drawing/2014/main" id="{586B5CD1-483A-C5A4-77C3-3F76054C46A2}"/>
              </a:ext>
            </a:extLst>
          </p:cNvPr>
          <p:cNvSpPr>
            <a:spLocks noGrp="1"/>
          </p:cNvSpPr>
          <p:nvPr>
            <p:ph type="title"/>
          </p:nvPr>
        </p:nvSpPr>
        <p:spPr>
          <a:xfrm>
            <a:off x="458156" y="398525"/>
            <a:ext cx="8342945" cy="451206"/>
          </a:xfrm>
        </p:spPr>
        <p:txBody>
          <a:bodyPr vert="horz" wrap="square" lIns="0" tIns="0" rIns="0" bIns="0" rtlCol="0" anchor="t">
            <a:noAutofit/>
          </a:bodyPr>
          <a:lstStyle/>
          <a:p>
            <a:r>
              <a:rPr lang="en-US" sz="1800" kern="0"/>
              <a:t>Significant Growth Potential in Our New Energies Business</a:t>
            </a:r>
            <a:endParaRPr lang="en-GB" sz="1800" kern="0"/>
          </a:p>
        </p:txBody>
      </p:sp>
      <p:sp>
        <p:nvSpPr>
          <p:cNvPr id="5" name="Rounded Rectangle 4">
            <a:extLst>
              <a:ext uri="{FF2B5EF4-FFF2-40B4-BE49-F238E27FC236}">
                <a16:creationId xmlns:a16="http://schemas.microsoft.com/office/drawing/2014/main" id="{72BAB8FF-DD58-469C-DFB5-9790057E816B}"/>
              </a:ext>
            </a:extLst>
          </p:cNvPr>
          <p:cNvSpPr/>
          <p:nvPr/>
        </p:nvSpPr>
        <p:spPr>
          <a:xfrm>
            <a:off x="4442656" y="910389"/>
            <a:ext cx="2068132" cy="3337975"/>
          </a:xfrm>
          <a:prstGeom prst="roundRect">
            <a:avLst>
              <a:gd name="adj" fmla="val 5038"/>
            </a:avLst>
          </a:prstGeom>
          <a:solidFill>
            <a:schemeClr val="accent2"/>
          </a:solidFill>
          <a:ln w="9525">
            <a:noFill/>
          </a:ln>
          <a:effectLst>
            <a:outerShdw blurRad="127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576" rIns="0" bIns="0" numCol="1" spcCol="0" rtlCol="0" fromWordArt="0" anchor="t" anchorCtr="0" forceAA="0" compatLnSpc="0">
            <a:prstTxWarp prst="textNoShape">
              <a:avLst/>
            </a:prstTxWarp>
            <a:noAutofit/>
          </a:bodyPr>
          <a:lstStyle/>
          <a:p>
            <a:pPr algn="ctr">
              <a:lnSpc>
                <a:spcPct val="110000"/>
              </a:lnSpc>
            </a:pPr>
            <a:r>
              <a:rPr lang="en-US" sz="1000" b="1">
                <a:solidFill>
                  <a:schemeClr val="bg1"/>
                </a:solidFill>
              </a:rPr>
              <a:t>Carbon Capture, Utilization and Storage (“CCUS”)</a:t>
            </a:r>
            <a:endParaRPr lang="en-GB" sz="1100" b="1">
              <a:solidFill>
                <a:schemeClr val="bg1"/>
              </a:solidFill>
            </a:endParaRPr>
          </a:p>
        </p:txBody>
      </p:sp>
      <p:sp>
        <p:nvSpPr>
          <p:cNvPr id="21" name="Rounded Rectangle 4">
            <a:extLst>
              <a:ext uri="{FF2B5EF4-FFF2-40B4-BE49-F238E27FC236}">
                <a16:creationId xmlns:a16="http://schemas.microsoft.com/office/drawing/2014/main" id="{EF43323A-34D1-63C5-C71C-5DF19E7D49C3}"/>
              </a:ext>
            </a:extLst>
          </p:cNvPr>
          <p:cNvSpPr/>
          <p:nvPr/>
        </p:nvSpPr>
        <p:spPr>
          <a:xfrm>
            <a:off x="6656766" y="910389"/>
            <a:ext cx="2068132" cy="3337975"/>
          </a:xfrm>
          <a:prstGeom prst="roundRect">
            <a:avLst>
              <a:gd name="adj" fmla="val 5038"/>
            </a:avLst>
          </a:prstGeom>
          <a:solidFill>
            <a:schemeClr val="accent3"/>
          </a:solidFill>
          <a:ln w="9525">
            <a:noFill/>
          </a:ln>
          <a:effectLst>
            <a:outerShdw blurRad="127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576" rIns="0" bIns="0" numCol="1" spcCol="0" rtlCol="0" fromWordArt="0" anchor="t" anchorCtr="0" forceAA="0" compatLnSpc="0">
            <a:prstTxWarp prst="textNoShape">
              <a:avLst/>
            </a:prstTxWarp>
            <a:noAutofit/>
          </a:bodyPr>
          <a:lstStyle/>
          <a:p>
            <a:pPr algn="ctr">
              <a:lnSpc>
                <a:spcPct val="110000"/>
              </a:lnSpc>
            </a:pPr>
            <a:endParaRPr lang="en-GB" sz="500" b="1">
              <a:solidFill>
                <a:schemeClr val="bg1"/>
              </a:solidFill>
            </a:endParaRPr>
          </a:p>
          <a:p>
            <a:pPr algn="ctr">
              <a:lnSpc>
                <a:spcPct val="110000"/>
              </a:lnSpc>
            </a:pPr>
            <a:r>
              <a:rPr lang="en-GB" sz="1000" b="1">
                <a:solidFill>
                  <a:schemeClr val="bg1"/>
                </a:solidFill>
              </a:rPr>
              <a:t>Hydrogen</a:t>
            </a:r>
            <a:endParaRPr lang="en-GB" sz="800" b="1">
              <a:solidFill>
                <a:schemeClr val="bg1"/>
              </a:solidFill>
            </a:endParaRPr>
          </a:p>
        </p:txBody>
      </p:sp>
      <p:grpSp>
        <p:nvGrpSpPr>
          <p:cNvPr id="824" name="Group 823">
            <a:extLst>
              <a:ext uri="{FF2B5EF4-FFF2-40B4-BE49-F238E27FC236}">
                <a16:creationId xmlns:a16="http://schemas.microsoft.com/office/drawing/2014/main" id="{14C02C65-C869-ED3E-5235-41EF64056BE0}"/>
              </a:ext>
            </a:extLst>
          </p:cNvPr>
          <p:cNvGrpSpPr/>
          <p:nvPr/>
        </p:nvGrpSpPr>
        <p:grpSpPr>
          <a:xfrm>
            <a:off x="457200" y="1317911"/>
            <a:ext cx="8267700" cy="321126"/>
            <a:chOff x="457200" y="1330462"/>
            <a:chExt cx="8267700" cy="321126"/>
          </a:xfrm>
        </p:grpSpPr>
        <p:sp>
          <p:nvSpPr>
            <p:cNvPr id="6" name="Rectangle 5">
              <a:extLst>
                <a:ext uri="{FF2B5EF4-FFF2-40B4-BE49-F238E27FC236}">
                  <a16:creationId xmlns:a16="http://schemas.microsoft.com/office/drawing/2014/main" id="{3538243B-1895-65DF-9B74-A404D59C647D}"/>
                </a:ext>
              </a:extLst>
            </p:cNvPr>
            <p:cNvSpPr/>
            <p:nvPr/>
          </p:nvSpPr>
          <p:spPr>
            <a:xfrm>
              <a:off x="457200" y="1330462"/>
              <a:ext cx="8267700" cy="320040"/>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a:p>
          </p:txBody>
        </p:sp>
        <p:sp>
          <p:nvSpPr>
            <p:cNvPr id="22" name="TextBox 21">
              <a:extLst>
                <a:ext uri="{FF2B5EF4-FFF2-40B4-BE49-F238E27FC236}">
                  <a16:creationId xmlns:a16="http://schemas.microsoft.com/office/drawing/2014/main" id="{D614E92A-8DA3-3E2A-8BC7-BC4BD480F551}"/>
                </a:ext>
              </a:extLst>
            </p:cNvPr>
            <p:cNvSpPr txBox="1"/>
            <p:nvPr/>
          </p:nvSpPr>
          <p:spPr>
            <a:xfrm>
              <a:off x="6656764" y="1331547"/>
              <a:ext cx="2068134" cy="320040"/>
            </a:xfrm>
            <a:prstGeom prst="rect">
              <a:avLst/>
            </a:prstGeom>
            <a:noFill/>
          </p:spPr>
          <p:txBody>
            <a:bodyPr wrap="square" rtlCol="0" anchor="ctr" anchorCtr="0">
              <a:noAutofit/>
            </a:bodyPr>
            <a:lstStyle/>
            <a:p>
              <a:pPr algn="ctr"/>
              <a:r>
                <a:rPr lang="en-GB" sz="800">
                  <a:solidFill>
                    <a:schemeClr val="tx2"/>
                  </a:solidFill>
                </a:rPr>
                <a:t>H</a:t>
              </a:r>
              <a:r>
                <a:rPr lang="en-GB" sz="800" baseline="-25000">
                  <a:solidFill>
                    <a:schemeClr val="tx2"/>
                  </a:solidFill>
                </a:rPr>
                <a:t>2</a:t>
              </a:r>
              <a:r>
                <a:rPr lang="en-GB" sz="800">
                  <a:solidFill>
                    <a:schemeClr val="tx2"/>
                  </a:solidFill>
                </a:rPr>
                <a:t> storage systems; transportation </a:t>
              </a:r>
              <a:br>
                <a:rPr lang="en-GB" sz="800">
                  <a:solidFill>
                    <a:schemeClr val="tx2"/>
                  </a:solidFill>
                </a:rPr>
              </a:br>
              <a:r>
                <a:rPr lang="en-GB" sz="800">
                  <a:solidFill>
                    <a:schemeClr val="tx2"/>
                  </a:solidFill>
                </a:rPr>
                <a:t>line pipes</a:t>
              </a:r>
            </a:p>
          </p:txBody>
        </p:sp>
        <p:sp>
          <p:nvSpPr>
            <p:cNvPr id="15" name="TextBox 14">
              <a:extLst>
                <a:ext uri="{FF2B5EF4-FFF2-40B4-BE49-F238E27FC236}">
                  <a16:creationId xmlns:a16="http://schemas.microsoft.com/office/drawing/2014/main" id="{9006F660-855D-AAFE-9508-126EA645DCDE}"/>
                </a:ext>
              </a:extLst>
            </p:cNvPr>
            <p:cNvSpPr txBox="1"/>
            <p:nvPr/>
          </p:nvSpPr>
          <p:spPr>
            <a:xfrm>
              <a:off x="4441816" y="1331548"/>
              <a:ext cx="2068132" cy="320040"/>
            </a:xfrm>
            <a:prstGeom prst="rect">
              <a:avLst/>
            </a:prstGeom>
            <a:noFill/>
          </p:spPr>
          <p:txBody>
            <a:bodyPr wrap="square" rtlCol="0" anchor="ctr" anchorCtr="0">
              <a:noAutofit/>
            </a:bodyPr>
            <a:lstStyle/>
            <a:p>
              <a:pPr algn="ctr"/>
              <a:r>
                <a:rPr lang="en-GB" sz="800">
                  <a:solidFill>
                    <a:schemeClr val="tx2"/>
                  </a:solidFill>
                </a:rPr>
                <a:t>Casing and tubing for CO</a:t>
              </a:r>
              <a:r>
                <a:rPr lang="en-GB" sz="800" baseline="-25000">
                  <a:solidFill>
                    <a:schemeClr val="tx2"/>
                  </a:solidFill>
                </a:rPr>
                <a:t>2</a:t>
              </a:r>
              <a:r>
                <a:rPr lang="en-GB" sz="800">
                  <a:solidFill>
                    <a:schemeClr val="tx2"/>
                  </a:solidFill>
                </a:rPr>
                <a:t> injection wells; transportation line pipes</a:t>
              </a:r>
            </a:p>
          </p:txBody>
        </p:sp>
        <p:sp>
          <p:nvSpPr>
            <p:cNvPr id="12" name="TextBox 11">
              <a:extLst>
                <a:ext uri="{FF2B5EF4-FFF2-40B4-BE49-F238E27FC236}">
                  <a16:creationId xmlns:a16="http://schemas.microsoft.com/office/drawing/2014/main" id="{2F2BE056-3485-6A3A-15B8-6B619A6BED2D}"/>
                </a:ext>
              </a:extLst>
            </p:cNvPr>
            <p:cNvSpPr txBox="1"/>
            <p:nvPr/>
          </p:nvSpPr>
          <p:spPr>
            <a:xfrm>
              <a:off x="2228545" y="1331548"/>
              <a:ext cx="2066456" cy="320040"/>
            </a:xfrm>
            <a:prstGeom prst="rect">
              <a:avLst/>
            </a:prstGeom>
            <a:noFill/>
          </p:spPr>
          <p:txBody>
            <a:bodyPr wrap="square" rtlCol="0" anchor="ctr" anchorCtr="0">
              <a:noAutofit/>
            </a:bodyPr>
            <a:lstStyle/>
            <a:p>
              <a:pPr algn="ctr"/>
              <a:r>
                <a:rPr lang="en-GB" sz="800">
                  <a:solidFill>
                    <a:schemeClr val="tx2"/>
                  </a:solidFill>
                </a:rPr>
                <a:t>Casing for</a:t>
              </a:r>
              <a:br>
                <a:rPr lang="en-GB" sz="800">
                  <a:solidFill>
                    <a:schemeClr val="tx2"/>
                  </a:solidFill>
                </a:rPr>
              </a:br>
              <a:r>
                <a:rPr lang="en-GB" sz="800">
                  <a:solidFill>
                    <a:schemeClr val="tx2"/>
                  </a:solidFill>
                </a:rPr>
                <a:t>geothermal wells</a:t>
              </a:r>
            </a:p>
          </p:txBody>
        </p:sp>
        <p:sp>
          <p:nvSpPr>
            <p:cNvPr id="19" name="Rectangle 18">
              <a:extLst>
                <a:ext uri="{FF2B5EF4-FFF2-40B4-BE49-F238E27FC236}">
                  <a16:creationId xmlns:a16="http://schemas.microsoft.com/office/drawing/2014/main" id="{C46FF34B-BEE4-E446-B8A2-BE9EBEAF1555}"/>
                </a:ext>
              </a:extLst>
            </p:cNvPr>
            <p:cNvSpPr/>
            <p:nvPr/>
          </p:nvSpPr>
          <p:spPr>
            <a:xfrm>
              <a:off x="488229" y="1330463"/>
              <a:ext cx="1593501" cy="320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t>Primary Tubes Application</a:t>
              </a:r>
            </a:p>
          </p:txBody>
        </p:sp>
      </p:grpSp>
      <p:grpSp>
        <p:nvGrpSpPr>
          <p:cNvPr id="825" name="Group 824">
            <a:extLst>
              <a:ext uri="{FF2B5EF4-FFF2-40B4-BE49-F238E27FC236}">
                <a16:creationId xmlns:a16="http://schemas.microsoft.com/office/drawing/2014/main" id="{1BB40FDF-406C-39A7-92B4-B291160E02AD}"/>
              </a:ext>
            </a:extLst>
          </p:cNvPr>
          <p:cNvGrpSpPr/>
          <p:nvPr/>
        </p:nvGrpSpPr>
        <p:grpSpPr>
          <a:xfrm>
            <a:off x="457200" y="1655789"/>
            <a:ext cx="8267700" cy="322974"/>
            <a:chOff x="457200" y="1671621"/>
            <a:chExt cx="8267700" cy="322974"/>
          </a:xfrm>
        </p:grpSpPr>
        <p:sp>
          <p:nvSpPr>
            <p:cNvPr id="20" name="Rectangle 19">
              <a:extLst>
                <a:ext uri="{FF2B5EF4-FFF2-40B4-BE49-F238E27FC236}">
                  <a16:creationId xmlns:a16="http://schemas.microsoft.com/office/drawing/2014/main" id="{C7178508-5909-8206-CE73-FC67C18458F0}"/>
                </a:ext>
              </a:extLst>
            </p:cNvPr>
            <p:cNvSpPr/>
            <p:nvPr/>
          </p:nvSpPr>
          <p:spPr>
            <a:xfrm>
              <a:off x="457200" y="1671728"/>
              <a:ext cx="8267700" cy="320040"/>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a:p>
          </p:txBody>
        </p:sp>
        <p:sp>
          <p:nvSpPr>
            <p:cNvPr id="26" name="Rectangle 25">
              <a:extLst>
                <a:ext uri="{FF2B5EF4-FFF2-40B4-BE49-F238E27FC236}">
                  <a16:creationId xmlns:a16="http://schemas.microsoft.com/office/drawing/2014/main" id="{7AA226FD-3516-FF31-8779-90F7CF1F03E2}"/>
                </a:ext>
              </a:extLst>
            </p:cNvPr>
            <p:cNvSpPr/>
            <p:nvPr/>
          </p:nvSpPr>
          <p:spPr>
            <a:xfrm>
              <a:off x="488229" y="1671621"/>
              <a:ext cx="1593501" cy="320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t>Key Product Needs</a:t>
              </a:r>
            </a:p>
          </p:txBody>
        </p:sp>
        <p:sp>
          <p:nvSpPr>
            <p:cNvPr id="23" name="TextBox 22">
              <a:extLst>
                <a:ext uri="{FF2B5EF4-FFF2-40B4-BE49-F238E27FC236}">
                  <a16:creationId xmlns:a16="http://schemas.microsoft.com/office/drawing/2014/main" id="{76FDA213-4625-0D86-5F7C-9A8486DC3CB8}"/>
                </a:ext>
              </a:extLst>
            </p:cNvPr>
            <p:cNvSpPr txBox="1"/>
            <p:nvPr/>
          </p:nvSpPr>
          <p:spPr>
            <a:xfrm>
              <a:off x="6656764" y="1674555"/>
              <a:ext cx="2068134" cy="320040"/>
            </a:xfrm>
            <a:prstGeom prst="rect">
              <a:avLst/>
            </a:prstGeom>
            <a:noFill/>
          </p:spPr>
          <p:txBody>
            <a:bodyPr wrap="square" lIns="0" rIns="0" rtlCol="0" anchor="ctr" anchorCtr="0">
              <a:noAutofit/>
            </a:bodyPr>
            <a:lstStyle/>
            <a:p>
              <a:pPr algn="ctr"/>
              <a:r>
                <a:rPr lang="en-US" sz="800">
                  <a:solidFill>
                    <a:schemeClr val="tx2"/>
                  </a:solidFill>
                </a:rPr>
                <a:t>Extremely tight connections; advanced metallurgy to resist hydrogen embrittlement</a:t>
              </a:r>
              <a:endParaRPr lang="en-GB" sz="800">
                <a:solidFill>
                  <a:schemeClr val="tx2"/>
                </a:solidFill>
              </a:endParaRPr>
            </a:p>
          </p:txBody>
        </p:sp>
        <p:sp>
          <p:nvSpPr>
            <p:cNvPr id="16" name="TextBox 15">
              <a:extLst>
                <a:ext uri="{FF2B5EF4-FFF2-40B4-BE49-F238E27FC236}">
                  <a16:creationId xmlns:a16="http://schemas.microsoft.com/office/drawing/2014/main" id="{52465681-13C8-660D-3284-265F4F4D108D}"/>
                </a:ext>
              </a:extLst>
            </p:cNvPr>
            <p:cNvSpPr txBox="1"/>
            <p:nvPr/>
          </p:nvSpPr>
          <p:spPr>
            <a:xfrm>
              <a:off x="4441816" y="1674555"/>
              <a:ext cx="2068132" cy="320040"/>
            </a:xfrm>
            <a:prstGeom prst="rect">
              <a:avLst/>
            </a:prstGeom>
            <a:noFill/>
          </p:spPr>
          <p:txBody>
            <a:bodyPr wrap="square" lIns="0" rIns="0" rtlCol="0" anchor="ctr" anchorCtr="0">
              <a:noAutofit/>
            </a:bodyPr>
            <a:lstStyle/>
            <a:p>
              <a:pPr algn="ctr"/>
              <a:r>
                <a:rPr lang="en-GB" sz="800">
                  <a:solidFill>
                    <a:schemeClr val="tx2"/>
                  </a:solidFill>
                </a:rPr>
                <a:t>Corrosion resistance; excellent toughness at low temperatures, long-term well integrity</a:t>
              </a:r>
            </a:p>
          </p:txBody>
        </p:sp>
        <p:sp>
          <p:nvSpPr>
            <p:cNvPr id="13" name="TextBox 12">
              <a:extLst>
                <a:ext uri="{FF2B5EF4-FFF2-40B4-BE49-F238E27FC236}">
                  <a16:creationId xmlns:a16="http://schemas.microsoft.com/office/drawing/2014/main" id="{8E8C080F-83CD-8B57-F4DD-9610ABDCE0C9}"/>
                </a:ext>
              </a:extLst>
            </p:cNvPr>
            <p:cNvSpPr txBox="1"/>
            <p:nvPr/>
          </p:nvSpPr>
          <p:spPr>
            <a:xfrm>
              <a:off x="2228545" y="1674555"/>
              <a:ext cx="2066456" cy="320040"/>
            </a:xfrm>
            <a:prstGeom prst="rect">
              <a:avLst/>
            </a:prstGeom>
            <a:noFill/>
          </p:spPr>
          <p:txBody>
            <a:bodyPr wrap="square" lIns="0" rIns="0" rtlCol="0" anchor="ctr" anchorCtr="0">
              <a:noAutofit/>
            </a:bodyPr>
            <a:lstStyle/>
            <a:p>
              <a:pPr algn="ctr"/>
              <a:r>
                <a:rPr lang="en-GB" sz="800">
                  <a:solidFill>
                    <a:schemeClr val="tx2"/>
                  </a:solidFill>
                </a:rPr>
                <a:t>Heat resistance; connection integrity during thermal expansion</a:t>
              </a:r>
            </a:p>
          </p:txBody>
        </p:sp>
      </p:grpSp>
      <p:grpSp>
        <p:nvGrpSpPr>
          <p:cNvPr id="823" name="Group 822">
            <a:extLst>
              <a:ext uri="{FF2B5EF4-FFF2-40B4-BE49-F238E27FC236}">
                <a16:creationId xmlns:a16="http://schemas.microsoft.com/office/drawing/2014/main" id="{20E85912-9EFD-BC04-1F74-2CF8D6F6F46E}"/>
              </a:ext>
            </a:extLst>
          </p:cNvPr>
          <p:cNvGrpSpPr/>
          <p:nvPr/>
        </p:nvGrpSpPr>
        <p:grpSpPr>
          <a:xfrm>
            <a:off x="457200" y="1995515"/>
            <a:ext cx="8267700" cy="321996"/>
            <a:chOff x="457200" y="2012779"/>
            <a:chExt cx="8267700" cy="321996"/>
          </a:xfrm>
        </p:grpSpPr>
        <p:sp>
          <p:nvSpPr>
            <p:cNvPr id="54" name="Rectangle 53">
              <a:extLst>
                <a:ext uri="{FF2B5EF4-FFF2-40B4-BE49-F238E27FC236}">
                  <a16:creationId xmlns:a16="http://schemas.microsoft.com/office/drawing/2014/main" id="{1C14BE9F-2C3E-82F5-013D-8EAA80CC10BE}"/>
                </a:ext>
              </a:extLst>
            </p:cNvPr>
            <p:cNvSpPr/>
            <p:nvPr/>
          </p:nvSpPr>
          <p:spPr>
            <a:xfrm>
              <a:off x="457200" y="2014735"/>
              <a:ext cx="8267700" cy="320040"/>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a:p>
          </p:txBody>
        </p:sp>
        <p:sp>
          <p:nvSpPr>
            <p:cNvPr id="27" name="Rectangle 26">
              <a:extLst>
                <a:ext uri="{FF2B5EF4-FFF2-40B4-BE49-F238E27FC236}">
                  <a16:creationId xmlns:a16="http://schemas.microsoft.com/office/drawing/2014/main" id="{76BE52FC-52B1-1468-EB11-E3D284CB96DB}"/>
                </a:ext>
              </a:extLst>
            </p:cNvPr>
            <p:cNvSpPr/>
            <p:nvPr/>
          </p:nvSpPr>
          <p:spPr>
            <a:xfrm>
              <a:off x="488229" y="2012779"/>
              <a:ext cx="1593501" cy="320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t>Vallourec Positioning</a:t>
              </a:r>
            </a:p>
          </p:txBody>
        </p:sp>
        <p:sp>
          <p:nvSpPr>
            <p:cNvPr id="24" name="TextBox 23">
              <a:extLst>
                <a:ext uri="{FF2B5EF4-FFF2-40B4-BE49-F238E27FC236}">
                  <a16:creationId xmlns:a16="http://schemas.microsoft.com/office/drawing/2014/main" id="{D4755333-B0DB-50D3-1A35-5C7BE81EE8AC}"/>
                </a:ext>
              </a:extLst>
            </p:cNvPr>
            <p:cNvSpPr txBox="1"/>
            <p:nvPr/>
          </p:nvSpPr>
          <p:spPr>
            <a:xfrm>
              <a:off x="6656764" y="2014735"/>
              <a:ext cx="2068134" cy="320040"/>
            </a:xfrm>
            <a:prstGeom prst="rect">
              <a:avLst/>
            </a:prstGeom>
            <a:noFill/>
          </p:spPr>
          <p:txBody>
            <a:bodyPr wrap="square" lIns="0" rIns="0" rtlCol="0" anchor="ctr" anchorCtr="0">
              <a:noAutofit/>
            </a:bodyPr>
            <a:lstStyle/>
            <a:p>
              <a:pPr algn="ctr"/>
              <a:r>
                <a:rPr lang="en-GB" sz="800">
                  <a:solidFill>
                    <a:schemeClr val="tx2"/>
                  </a:solidFill>
                </a:rPr>
                <a:t>Tubes and connections validated and in use in H</a:t>
              </a:r>
              <a:r>
                <a:rPr lang="en-GB" sz="800" baseline="-25000">
                  <a:solidFill>
                    <a:schemeClr val="tx2"/>
                  </a:solidFill>
                </a:rPr>
                <a:t>2</a:t>
              </a:r>
              <a:r>
                <a:rPr lang="en-GB" sz="800">
                  <a:solidFill>
                    <a:schemeClr val="tx2"/>
                  </a:solidFill>
                </a:rPr>
                <a:t> storage wells; storage POC complete</a:t>
              </a:r>
            </a:p>
          </p:txBody>
        </p:sp>
        <p:sp>
          <p:nvSpPr>
            <p:cNvPr id="17" name="TextBox 16">
              <a:extLst>
                <a:ext uri="{FF2B5EF4-FFF2-40B4-BE49-F238E27FC236}">
                  <a16:creationId xmlns:a16="http://schemas.microsoft.com/office/drawing/2014/main" id="{691A4088-1090-05C5-3BEC-A372793A48A8}"/>
                </a:ext>
              </a:extLst>
            </p:cNvPr>
            <p:cNvSpPr txBox="1"/>
            <p:nvPr/>
          </p:nvSpPr>
          <p:spPr>
            <a:xfrm>
              <a:off x="4441816" y="2014735"/>
              <a:ext cx="2068132" cy="320040"/>
            </a:xfrm>
            <a:prstGeom prst="rect">
              <a:avLst/>
            </a:prstGeom>
            <a:noFill/>
          </p:spPr>
          <p:txBody>
            <a:bodyPr wrap="square" lIns="0" rIns="0" rtlCol="0" anchor="ctr" anchorCtr="0">
              <a:noAutofit/>
            </a:bodyPr>
            <a:lstStyle/>
            <a:p>
              <a:pPr algn="ctr"/>
              <a:r>
                <a:rPr lang="en-GB" sz="800">
                  <a:solidFill>
                    <a:schemeClr val="tx2"/>
                  </a:solidFill>
                </a:rPr>
                <a:t>Tubes and connections validated and in use in CO</a:t>
              </a:r>
              <a:r>
                <a:rPr lang="en-GB" sz="800" baseline="-25000">
                  <a:solidFill>
                    <a:schemeClr val="tx2"/>
                  </a:solidFill>
                </a:rPr>
                <a:t>2</a:t>
              </a:r>
              <a:r>
                <a:rPr lang="en-GB" sz="800">
                  <a:solidFill>
                    <a:schemeClr val="tx2"/>
                  </a:solidFill>
                </a:rPr>
                <a:t> injection wells</a:t>
              </a:r>
            </a:p>
          </p:txBody>
        </p:sp>
        <p:sp>
          <p:nvSpPr>
            <p:cNvPr id="14" name="TextBox 13">
              <a:extLst>
                <a:ext uri="{FF2B5EF4-FFF2-40B4-BE49-F238E27FC236}">
                  <a16:creationId xmlns:a16="http://schemas.microsoft.com/office/drawing/2014/main" id="{6F2A501F-030A-4F57-B200-0A668CE23E25}"/>
                </a:ext>
              </a:extLst>
            </p:cNvPr>
            <p:cNvSpPr txBox="1"/>
            <p:nvPr/>
          </p:nvSpPr>
          <p:spPr>
            <a:xfrm>
              <a:off x="2228545" y="2014735"/>
              <a:ext cx="2066456" cy="320040"/>
            </a:xfrm>
            <a:prstGeom prst="rect">
              <a:avLst/>
            </a:prstGeom>
            <a:noFill/>
          </p:spPr>
          <p:txBody>
            <a:bodyPr wrap="square" lIns="0" rIns="0" rtlCol="0" anchor="ctr" anchorCtr="0">
              <a:noAutofit/>
            </a:bodyPr>
            <a:lstStyle/>
            <a:p>
              <a:pPr algn="ctr"/>
              <a:r>
                <a:rPr lang="en-GB" sz="800">
                  <a:solidFill>
                    <a:schemeClr val="tx2"/>
                  </a:solidFill>
                </a:rPr>
                <a:t>Tubes and connections validated and in use in geothermal wells</a:t>
              </a:r>
            </a:p>
          </p:txBody>
        </p:sp>
      </p:grpSp>
      <p:sp>
        <p:nvSpPr>
          <p:cNvPr id="7" name="Rectangle 6">
            <a:extLst>
              <a:ext uri="{FF2B5EF4-FFF2-40B4-BE49-F238E27FC236}">
                <a16:creationId xmlns:a16="http://schemas.microsoft.com/office/drawing/2014/main" id="{DAD6F105-E202-8D99-FA56-FEFF340CC517}"/>
              </a:ext>
            </a:extLst>
          </p:cNvPr>
          <p:cNvSpPr/>
          <p:nvPr/>
        </p:nvSpPr>
        <p:spPr>
          <a:xfrm>
            <a:off x="488230" y="2334263"/>
            <a:ext cx="1593501" cy="189283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a:t>Product Illustration</a:t>
            </a:r>
          </a:p>
        </p:txBody>
      </p:sp>
      <p:sp>
        <p:nvSpPr>
          <p:cNvPr id="8" name="Rectangle: Rounded Corners 7">
            <a:extLst>
              <a:ext uri="{FF2B5EF4-FFF2-40B4-BE49-F238E27FC236}">
                <a16:creationId xmlns:a16="http://schemas.microsoft.com/office/drawing/2014/main" id="{CD639E0D-D057-C424-74AD-CF121C27BE53}"/>
              </a:ext>
            </a:extLst>
          </p:cNvPr>
          <p:cNvSpPr/>
          <p:nvPr/>
        </p:nvSpPr>
        <p:spPr>
          <a:xfrm>
            <a:off x="488228" y="4301616"/>
            <a:ext cx="8236669" cy="320040"/>
          </a:xfrm>
          <a:prstGeom prst="roundRect">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r>
              <a:rPr lang="en-US" sz="1400" b="1">
                <a:solidFill>
                  <a:schemeClr val="bg2"/>
                </a:solidFill>
              </a:rPr>
              <a:t>Target: New Energies to comprise 10-15% of Group EBITDA by 2030</a:t>
            </a:r>
          </a:p>
        </p:txBody>
      </p:sp>
      <p:pic>
        <p:nvPicPr>
          <p:cNvPr id="1299" name="Picture 2">
            <a:extLst>
              <a:ext uri="{FF2B5EF4-FFF2-40B4-BE49-F238E27FC236}">
                <a16:creationId xmlns:a16="http://schemas.microsoft.com/office/drawing/2014/main" id="{C243E8C1-ECC5-98F7-D237-4A8C71DE662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770" t="10509" r="6508" b="10479"/>
          <a:stretch/>
        </p:blipFill>
        <p:spPr bwMode="auto">
          <a:xfrm>
            <a:off x="2438398" y="2442680"/>
            <a:ext cx="1653234" cy="1645920"/>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1303" name="Picture 8">
            <a:extLst>
              <a:ext uri="{FF2B5EF4-FFF2-40B4-BE49-F238E27FC236}">
                <a16:creationId xmlns:a16="http://schemas.microsoft.com/office/drawing/2014/main" id="{03576B31-38B9-F128-3FAA-C43460EB704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3983" r="7715"/>
          <a:stretch/>
        </p:blipFill>
        <p:spPr bwMode="auto">
          <a:xfrm>
            <a:off x="6867871" y="2442680"/>
            <a:ext cx="1645920" cy="1645920"/>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1306" name="Picture 2">
            <a:extLst>
              <a:ext uri="{FF2B5EF4-FFF2-40B4-BE49-F238E27FC236}">
                <a16:creationId xmlns:a16="http://schemas.microsoft.com/office/drawing/2014/main" id="{400E1835-8250-3C87-2BFD-4EF0E7DC7E7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6064" t="1194" r="36456" b="32139"/>
          <a:stretch/>
        </p:blipFill>
        <p:spPr bwMode="auto">
          <a:xfrm>
            <a:off x="4636016" y="2442680"/>
            <a:ext cx="1679732" cy="1679732"/>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1317" name="Arrow: Down 1316">
            <a:extLst>
              <a:ext uri="{FF2B5EF4-FFF2-40B4-BE49-F238E27FC236}">
                <a16:creationId xmlns:a16="http://schemas.microsoft.com/office/drawing/2014/main" id="{083E07B8-53E3-F26C-7449-DE8BFECB6740}"/>
              </a:ext>
            </a:extLst>
          </p:cNvPr>
          <p:cNvSpPr/>
          <p:nvPr/>
        </p:nvSpPr>
        <p:spPr>
          <a:xfrm>
            <a:off x="5524000" y="2889250"/>
            <a:ext cx="83542" cy="828675"/>
          </a:xfrm>
          <a:prstGeom prst="downArrow">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1318" name="Cloud 1317">
            <a:extLst>
              <a:ext uri="{FF2B5EF4-FFF2-40B4-BE49-F238E27FC236}">
                <a16:creationId xmlns:a16="http://schemas.microsoft.com/office/drawing/2014/main" id="{CD1C2F85-EF0F-865E-3873-99E6E6FA600F}"/>
              </a:ext>
            </a:extLst>
          </p:cNvPr>
          <p:cNvSpPr/>
          <p:nvPr/>
        </p:nvSpPr>
        <p:spPr>
          <a:xfrm>
            <a:off x="5436755" y="2662023"/>
            <a:ext cx="262408" cy="165463"/>
          </a:xfrm>
          <a:prstGeom prst="cloud">
            <a:avLst/>
          </a:prstGeom>
          <a:solidFill>
            <a:srgbClr val="FFFFFF">
              <a:alpha val="50196"/>
            </a:srgb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0">
            <a:prstTxWarp prst="textNoShape">
              <a:avLst/>
            </a:prstTxWarp>
            <a:noAutofit/>
          </a:bodyPr>
          <a:lstStyle/>
          <a:p>
            <a:pPr algn="ctr">
              <a:lnSpc>
                <a:spcPct val="110000"/>
              </a:lnSpc>
            </a:pPr>
            <a:r>
              <a:rPr lang="en-US" sz="700">
                <a:solidFill>
                  <a:schemeClr val="tx2"/>
                </a:solidFill>
              </a:rPr>
              <a:t>CO</a:t>
            </a:r>
            <a:r>
              <a:rPr lang="en-US" sz="700" baseline="-25000">
                <a:solidFill>
                  <a:schemeClr val="tx2"/>
                </a:solidFill>
              </a:rPr>
              <a:t>2</a:t>
            </a:r>
          </a:p>
        </p:txBody>
      </p:sp>
    </p:spTree>
    <p:custDataLst>
      <p:tags r:id="rId1"/>
    </p:custDataLst>
    <p:extLst>
      <p:ext uri="{BB962C8B-B14F-4D97-AF65-F5344CB8AC3E}">
        <p14:creationId xmlns:p14="http://schemas.microsoft.com/office/powerpoint/2010/main" val="26543493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54AF484-DE0F-067C-A605-51A825FA941B}"/>
              </a:ext>
            </a:extLst>
          </p:cNvPr>
          <p:cNvSpPr>
            <a:spLocks noGrp="1"/>
          </p:cNvSpPr>
          <p:nvPr>
            <p:ph type="body" sz="quarter" idx="10"/>
          </p:nvPr>
        </p:nvSpPr>
        <p:spPr/>
        <p:txBody>
          <a:bodyPr/>
          <a:lstStyle/>
          <a:p>
            <a:r>
              <a:rPr lang="en-US"/>
              <a:t>3</a:t>
            </a:r>
          </a:p>
        </p:txBody>
      </p:sp>
      <p:sp>
        <p:nvSpPr>
          <p:cNvPr id="3" name="Text Placeholder 2">
            <a:extLst>
              <a:ext uri="{FF2B5EF4-FFF2-40B4-BE49-F238E27FC236}">
                <a16:creationId xmlns:a16="http://schemas.microsoft.com/office/drawing/2014/main" id="{85DCECB9-30A9-80CB-639D-CF85382EC6A8}"/>
              </a:ext>
            </a:extLst>
          </p:cNvPr>
          <p:cNvSpPr>
            <a:spLocks noGrp="1"/>
          </p:cNvSpPr>
          <p:nvPr>
            <p:ph type="body" sz="quarter" idx="11"/>
          </p:nvPr>
        </p:nvSpPr>
        <p:spPr/>
        <p:txBody>
          <a:bodyPr/>
          <a:lstStyle/>
          <a:p>
            <a:r>
              <a:rPr lang="en-US"/>
              <a:t>Financial</a:t>
            </a:r>
          </a:p>
          <a:p>
            <a:r>
              <a:rPr lang="en-US"/>
              <a:t>Data</a:t>
            </a:r>
          </a:p>
        </p:txBody>
      </p:sp>
    </p:spTree>
    <p:extLst>
      <p:ext uri="{BB962C8B-B14F-4D97-AF65-F5344CB8AC3E}">
        <p14:creationId xmlns:p14="http://schemas.microsoft.com/office/powerpoint/2010/main" val="10157564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C5921-5624-7702-1581-CF7C97977810}"/>
              </a:ext>
            </a:extLst>
          </p:cNvPr>
          <p:cNvSpPr>
            <a:spLocks noGrp="1"/>
          </p:cNvSpPr>
          <p:nvPr>
            <p:ph type="title"/>
          </p:nvPr>
        </p:nvSpPr>
        <p:spPr/>
        <p:txBody>
          <a:bodyPr/>
          <a:lstStyle/>
          <a:p>
            <a:r>
              <a:rPr lang="en-US" dirty="0"/>
              <a:t>Summary Income Statement</a:t>
            </a:r>
          </a:p>
        </p:txBody>
      </p:sp>
      <p:sp>
        <p:nvSpPr>
          <p:cNvPr id="6" name="Text Placeholder 2">
            <a:extLst>
              <a:ext uri="{FF2B5EF4-FFF2-40B4-BE49-F238E27FC236}">
                <a16:creationId xmlns:a16="http://schemas.microsoft.com/office/drawing/2014/main" id="{1410B127-2190-2EC5-7906-79576A53755C}"/>
              </a:ext>
            </a:extLst>
          </p:cNvPr>
          <p:cNvSpPr txBox="1">
            <a:spLocks/>
          </p:cNvSpPr>
          <p:nvPr/>
        </p:nvSpPr>
        <p:spPr>
          <a:xfrm>
            <a:off x="2324576" y="4746318"/>
            <a:ext cx="4971573" cy="186013"/>
          </a:xfrm>
          <a:prstGeom prst="rect">
            <a:avLst/>
          </a:prstGeom>
        </p:spPr>
        <p:txBody>
          <a:bodyPr vert="horz" wrap="square" lIns="45720" tIns="45720" rIns="45720" bIns="45720" rtlCol="0">
            <a:spAutoFit/>
          </a:bodyPr>
          <a:lstStyle>
            <a:lvl1pPr marL="6350" indent="-4366" defTabSz="571477">
              <a:lnSpc>
                <a:spcPct val="110000"/>
              </a:lnSpc>
              <a:spcBef>
                <a:spcPts val="568"/>
              </a:spcBef>
              <a:spcAft>
                <a:spcPct val="0"/>
              </a:spcAft>
              <a:buFontTx/>
              <a:buNone/>
              <a:defRPr sz="600" b="0" i="1">
                <a:solidFill>
                  <a:schemeClr val="tx2"/>
                </a:solidFill>
                <a:latin typeface="Arial" panose="020B0604020202020204" pitchFamily="34" charset="0"/>
              </a:defRPr>
            </a:lvl1pPr>
            <a:lvl2pPr marL="457292" indent="-171553" defTabSz="571477">
              <a:lnSpc>
                <a:spcPct val="110000"/>
              </a:lnSpc>
              <a:spcBef>
                <a:spcPts val="375"/>
              </a:spcBef>
              <a:spcAft>
                <a:spcPct val="0"/>
              </a:spcAft>
              <a:buClr>
                <a:schemeClr val="bg2">
                  <a:lumMod val="100000"/>
                </a:schemeClr>
              </a:buClr>
              <a:buSzPct val="140000"/>
              <a:buFont typeface="Arial" panose="020B0604020202020204" pitchFamily="34" charset="0"/>
              <a:buChar char="•"/>
              <a:defRPr sz="1201" b="0" i="0">
                <a:solidFill>
                  <a:schemeClr val="tx2"/>
                </a:solidFill>
                <a:latin typeface="Arial" panose="020B0604020202020204" pitchFamily="34" charset="0"/>
              </a:defRPr>
            </a:lvl2pPr>
            <a:lvl3pPr marL="743030" indent="-171553" defTabSz="571477">
              <a:lnSpc>
                <a:spcPct val="110000"/>
              </a:lnSpc>
              <a:spcBef>
                <a:spcPts val="187"/>
              </a:spcBef>
              <a:spcAft>
                <a:spcPct val="0"/>
              </a:spcAft>
              <a:buClr>
                <a:schemeClr val="accent4"/>
              </a:buClr>
              <a:buSzPct val="140000"/>
              <a:buFont typeface="Arial" panose="020B0604020202020204" pitchFamily="34" charset="0"/>
              <a:buChar char="•"/>
              <a:defRPr sz="1001" b="0" i="0">
                <a:solidFill>
                  <a:schemeClr val="tx2"/>
                </a:solidFill>
                <a:latin typeface="Arial" panose="020B0604020202020204" pitchFamily="34" charset="0"/>
              </a:defRPr>
            </a:lvl3pPr>
            <a:lvl4pPr marL="1028768" indent="-171553" defTabSz="571477">
              <a:lnSpc>
                <a:spcPct val="110000"/>
              </a:lnSpc>
              <a:spcBef>
                <a:spcPts val="62"/>
              </a:spcBef>
              <a:spcAft>
                <a:spcPct val="0"/>
              </a:spcAft>
              <a:buClr>
                <a:schemeClr val="tx2"/>
              </a:buClr>
              <a:buSzPct val="140000"/>
              <a:buFont typeface="Arial" panose="020B0604020202020204" pitchFamily="34" charset="0"/>
              <a:buChar char="–"/>
              <a:defRPr sz="1001" b="0" i="0">
                <a:solidFill>
                  <a:schemeClr val="tx2"/>
                </a:solidFill>
                <a:latin typeface="Arial" panose="020B0604020202020204" pitchFamily="34" charset="0"/>
              </a:defRPr>
            </a:lvl4pPr>
            <a:lvl5pPr marL="1314506" indent="-171553" defTabSz="571477">
              <a:lnSpc>
                <a:spcPct val="110000"/>
              </a:lnSpc>
              <a:spcBef>
                <a:spcPts val="0"/>
              </a:spcBef>
              <a:spcAft>
                <a:spcPct val="0"/>
              </a:spcAft>
              <a:buClr>
                <a:schemeClr val="accent5"/>
              </a:buClr>
              <a:buSzPct val="140000"/>
              <a:buFont typeface="Arial" panose="020B0604020202020204" pitchFamily="34" charset="0"/>
              <a:buChar char="•"/>
              <a:defRPr sz="1001" b="0" i="0">
                <a:solidFill>
                  <a:schemeClr val="tx2"/>
                </a:solidFill>
                <a:latin typeface="Arial" panose="020B0604020202020204" pitchFamily="34" charset="0"/>
              </a:defRPr>
            </a:lvl5pPr>
            <a:lvl6pPr marL="1571561" indent="-142870" defTabSz="571477">
              <a:spcBef>
                <a:spcPct val="20000"/>
              </a:spcBef>
              <a:buFont typeface="Arial" panose="020B0604020202020204" pitchFamily="34" charset="0"/>
              <a:buChar char="•"/>
              <a:defRPr sz="1250"/>
            </a:lvl6pPr>
            <a:lvl7pPr marL="1857300" indent="-142870" defTabSz="571477">
              <a:spcBef>
                <a:spcPct val="20000"/>
              </a:spcBef>
              <a:buFont typeface="Arial" panose="020B0604020202020204" pitchFamily="34" charset="0"/>
              <a:buChar char="•"/>
              <a:defRPr sz="1250"/>
            </a:lvl7pPr>
            <a:lvl8pPr marL="2143038" indent="-142870" defTabSz="571477">
              <a:spcBef>
                <a:spcPct val="20000"/>
              </a:spcBef>
              <a:buFont typeface="Arial" panose="020B0604020202020204" pitchFamily="34" charset="0"/>
              <a:buChar char="•"/>
              <a:defRPr sz="1250"/>
            </a:lvl8pPr>
            <a:lvl9pPr marL="2428777" indent="-142870" defTabSz="571477">
              <a:spcBef>
                <a:spcPct val="20000"/>
              </a:spcBef>
              <a:buFont typeface="Arial" panose="020B0604020202020204" pitchFamily="34" charset="0"/>
              <a:buChar char="•"/>
              <a:defRPr sz="1250"/>
            </a:lvl9pPr>
          </a:lstStyle>
          <a:p>
            <a:pPr algn="ctr"/>
            <a:r>
              <a:rPr lang="en-US" dirty="0"/>
              <a:t>*Share count not shown due to significant changes in share capital resulting from the restructuring</a:t>
            </a:r>
          </a:p>
        </p:txBody>
      </p:sp>
      <p:pic>
        <p:nvPicPr>
          <p:cNvPr id="4" name="Picture 3">
            <a:extLst>
              <a:ext uri="{FF2B5EF4-FFF2-40B4-BE49-F238E27FC236}">
                <a16:creationId xmlns:a16="http://schemas.microsoft.com/office/drawing/2014/main" id="{5F91F42A-28BB-54FE-B5CF-1D165EE32BA2}"/>
              </a:ext>
            </a:extLst>
          </p:cNvPr>
          <p:cNvPicPr>
            <a:picLocks noChangeAspect="1"/>
          </p:cNvPicPr>
          <p:nvPr/>
        </p:nvPicPr>
        <p:blipFill>
          <a:blip r:embed="rId2"/>
          <a:stretch>
            <a:fillRect/>
          </a:stretch>
        </p:blipFill>
        <p:spPr>
          <a:xfrm>
            <a:off x="1037378" y="1005840"/>
            <a:ext cx="7069244" cy="3657600"/>
          </a:xfrm>
          <a:prstGeom prst="rect">
            <a:avLst/>
          </a:prstGeom>
        </p:spPr>
      </p:pic>
    </p:spTree>
    <p:extLst>
      <p:ext uri="{BB962C8B-B14F-4D97-AF65-F5344CB8AC3E}">
        <p14:creationId xmlns:p14="http://schemas.microsoft.com/office/powerpoint/2010/main" val="15753333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C5BBD-C5D2-8D4C-CD48-7700449FF732}"/>
              </a:ext>
            </a:extLst>
          </p:cNvPr>
          <p:cNvSpPr>
            <a:spLocks noGrp="1"/>
          </p:cNvSpPr>
          <p:nvPr>
            <p:ph type="title"/>
          </p:nvPr>
        </p:nvSpPr>
        <p:spPr/>
        <p:txBody>
          <a:bodyPr/>
          <a:lstStyle/>
          <a:p>
            <a:r>
              <a:rPr lang="en-US"/>
              <a:t>Summary Balance Sheet</a:t>
            </a:r>
          </a:p>
        </p:txBody>
      </p:sp>
      <p:pic>
        <p:nvPicPr>
          <p:cNvPr id="3" name="Picture 2">
            <a:extLst>
              <a:ext uri="{FF2B5EF4-FFF2-40B4-BE49-F238E27FC236}">
                <a16:creationId xmlns:a16="http://schemas.microsoft.com/office/drawing/2014/main" id="{2333D3E2-1DD8-8AD9-79BC-C44882594AF3}"/>
              </a:ext>
            </a:extLst>
          </p:cNvPr>
          <p:cNvPicPr>
            <a:picLocks noChangeAspect="1"/>
          </p:cNvPicPr>
          <p:nvPr/>
        </p:nvPicPr>
        <p:blipFill>
          <a:blip r:embed="rId2"/>
          <a:stretch>
            <a:fillRect/>
          </a:stretch>
        </p:blipFill>
        <p:spPr>
          <a:xfrm>
            <a:off x="1017992" y="1007075"/>
            <a:ext cx="7108016" cy="3657600"/>
          </a:xfrm>
          <a:prstGeom prst="rect">
            <a:avLst/>
          </a:prstGeom>
        </p:spPr>
      </p:pic>
    </p:spTree>
    <p:extLst>
      <p:ext uri="{BB962C8B-B14F-4D97-AF65-F5344CB8AC3E}">
        <p14:creationId xmlns:p14="http://schemas.microsoft.com/office/powerpoint/2010/main" val="26495163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606D9-AABC-4235-9BBD-92D703D22554}"/>
              </a:ext>
            </a:extLst>
          </p:cNvPr>
          <p:cNvSpPr>
            <a:spLocks noGrp="1"/>
          </p:cNvSpPr>
          <p:nvPr>
            <p:ph type="title"/>
          </p:nvPr>
        </p:nvSpPr>
        <p:spPr/>
        <p:txBody>
          <a:bodyPr/>
          <a:lstStyle/>
          <a:p>
            <a:r>
              <a:rPr lang="en-US" dirty="0"/>
              <a:t>Cash Flow Summary</a:t>
            </a:r>
          </a:p>
        </p:txBody>
      </p:sp>
      <p:sp>
        <p:nvSpPr>
          <p:cNvPr id="3" name="Text Placeholder 2">
            <a:extLst>
              <a:ext uri="{FF2B5EF4-FFF2-40B4-BE49-F238E27FC236}">
                <a16:creationId xmlns:a16="http://schemas.microsoft.com/office/drawing/2014/main" id="{D8667B59-4FA0-9C0C-939E-C25D6AAB102E}"/>
              </a:ext>
            </a:extLst>
          </p:cNvPr>
          <p:cNvSpPr>
            <a:spLocks noGrp="1"/>
          </p:cNvSpPr>
          <p:nvPr>
            <p:ph type="body" sz="quarter" idx="10"/>
          </p:nvPr>
        </p:nvSpPr>
        <p:spPr/>
        <p:txBody>
          <a:bodyPr/>
          <a:lstStyle/>
          <a:p>
            <a:r>
              <a:rPr lang="en-US"/>
              <a:t>Note: due to a change in cash flow reporting format, all figures prior to 2022 should be considered unaudited estimates provided for informational purposes.</a:t>
            </a:r>
          </a:p>
        </p:txBody>
      </p:sp>
      <p:pic>
        <p:nvPicPr>
          <p:cNvPr id="6" name="Picture 5">
            <a:extLst>
              <a:ext uri="{FF2B5EF4-FFF2-40B4-BE49-F238E27FC236}">
                <a16:creationId xmlns:a16="http://schemas.microsoft.com/office/drawing/2014/main" id="{370CC4CC-C09E-55F3-ED13-568F102E3724}"/>
              </a:ext>
            </a:extLst>
          </p:cNvPr>
          <p:cNvPicPr>
            <a:picLocks noChangeAspect="1"/>
          </p:cNvPicPr>
          <p:nvPr/>
        </p:nvPicPr>
        <p:blipFill>
          <a:blip r:embed="rId2"/>
          <a:stretch>
            <a:fillRect/>
          </a:stretch>
        </p:blipFill>
        <p:spPr>
          <a:xfrm>
            <a:off x="822195" y="1005840"/>
            <a:ext cx="7499610" cy="2011680"/>
          </a:xfrm>
          <a:prstGeom prst="rect">
            <a:avLst/>
          </a:prstGeom>
        </p:spPr>
      </p:pic>
    </p:spTree>
    <p:extLst>
      <p:ext uri="{BB962C8B-B14F-4D97-AF65-F5344CB8AC3E}">
        <p14:creationId xmlns:p14="http://schemas.microsoft.com/office/powerpoint/2010/main" val="41137818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1125134-2728-4D80-16EB-DC5A55123607}"/>
              </a:ext>
            </a:extLst>
          </p:cNvPr>
          <p:cNvSpPr>
            <a:spLocks noGrp="1"/>
          </p:cNvSpPr>
          <p:nvPr>
            <p:ph type="body" sz="quarter" idx="10"/>
          </p:nvPr>
        </p:nvSpPr>
        <p:spPr/>
        <p:txBody>
          <a:bodyPr>
            <a:normAutofit/>
          </a:bodyPr>
          <a:lstStyle/>
          <a:p>
            <a:r>
              <a:rPr lang="en-US"/>
              <a:t>1</a:t>
            </a:r>
          </a:p>
        </p:txBody>
      </p:sp>
      <p:sp>
        <p:nvSpPr>
          <p:cNvPr id="2" name="Text Placeholder 1">
            <a:extLst>
              <a:ext uri="{FF2B5EF4-FFF2-40B4-BE49-F238E27FC236}">
                <a16:creationId xmlns:a16="http://schemas.microsoft.com/office/drawing/2014/main" id="{93A2012F-49A4-09F7-9BED-4AB0B0BA4862}"/>
              </a:ext>
            </a:extLst>
          </p:cNvPr>
          <p:cNvSpPr>
            <a:spLocks noGrp="1"/>
          </p:cNvSpPr>
          <p:nvPr>
            <p:ph type="body" sz="quarter" idx="11"/>
          </p:nvPr>
        </p:nvSpPr>
        <p:spPr/>
        <p:txBody>
          <a:bodyPr/>
          <a:lstStyle/>
          <a:p>
            <a:r>
              <a:rPr lang="en-US"/>
              <a:t>Investment Overview</a:t>
            </a:r>
          </a:p>
        </p:txBody>
      </p:sp>
    </p:spTree>
    <p:extLst>
      <p:ext uri="{BB962C8B-B14F-4D97-AF65-F5344CB8AC3E}">
        <p14:creationId xmlns:p14="http://schemas.microsoft.com/office/powerpoint/2010/main" val="17830717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682F78-C02B-8AE4-C600-EB1A4F694F58}"/>
              </a:ext>
            </a:extLst>
          </p:cNvPr>
          <p:cNvSpPr>
            <a:spLocks noGrp="1"/>
          </p:cNvSpPr>
          <p:nvPr>
            <p:ph type="title"/>
          </p:nvPr>
        </p:nvSpPr>
        <p:spPr/>
        <p:txBody>
          <a:bodyPr/>
          <a:lstStyle/>
          <a:p>
            <a:r>
              <a:rPr lang="en-US"/>
              <a:t>Segment Data</a:t>
            </a:r>
          </a:p>
        </p:txBody>
      </p:sp>
      <p:sp>
        <p:nvSpPr>
          <p:cNvPr id="5" name="Content Placeholder 2">
            <a:extLst>
              <a:ext uri="{FF2B5EF4-FFF2-40B4-BE49-F238E27FC236}">
                <a16:creationId xmlns:a16="http://schemas.microsoft.com/office/drawing/2014/main" id="{E7EAE54F-EF85-1351-C44E-230A8D034276}"/>
              </a:ext>
            </a:extLst>
          </p:cNvPr>
          <p:cNvSpPr txBox="1">
            <a:spLocks/>
          </p:cNvSpPr>
          <p:nvPr/>
        </p:nvSpPr>
        <p:spPr>
          <a:xfrm>
            <a:off x="2103120" y="3343907"/>
            <a:ext cx="4937760" cy="274320"/>
          </a:xfrm>
          <a:prstGeom prst="rect">
            <a:avLst/>
          </a:prstGeom>
          <a:solidFill>
            <a:schemeClr val="bg1"/>
          </a:solidFill>
          <a:ln w="9525" cap="flat" cmpd="sng" algn="ctr">
            <a:noFill/>
            <a:prstDash val="solid"/>
          </a:ln>
          <a:effectLst>
            <a:outerShdw dist="12700" dir="5400000" algn="t"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45720" bIns="27432" numCol="1" spcCol="0" rtlCol="0" fromWordArt="0" anchor="ctr" anchorCtr="0" forceAA="0" compatLnSpc="0">
            <a:prstTxWarp prst="textNoShape">
              <a:avLst/>
            </a:prstTxWarp>
            <a:noAutofit/>
          </a:bodyPr>
          <a:lstStyle>
            <a:defPPr>
              <a:defRPr lang="fr-FR"/>
            </a:defPPr>
            <a:lvl1pPr>
              <a:defRPr sz="1000" b="1">
                <a:solidFill>
                  <a:schemeClr val="accent1"/>
                </a:solidFill>
                <a:latin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GB" sz="1200" dirty="0"/>
              <a:t>Tubes Revenues by Geography</a:t>
            </a:r>
          </a:p>
        </p:txBody>
      </p:sp>
      <p:sp>
        <p:nvSpPr>
          <p:cNvPr id="6" name="Content Placeholder 2">
            <a:extLst>
              <a:ext uri="{FF2B5EF4-FFF2-40B4-BE49-F238E27FC236}">
                <a16:creationId xmlns:a16="http://schemas.microsoft.com/office/drawing/2014/main" id="{842C4F3C-2343-492C-F687-3D58485BF500}"/>
              </a:ext>
            </a:extLst>
          </p:cNvPr>
          <p:cNvSpPr txBox="1">
            <a:spLocks/>
          </p:cNvSpPr>
          <p:nvPr/>
        </p:nvSpPr>
        <p:spPr>
          <a:xfrm>
            <a:off x="2103120" y="871208"/>
            <a:ext cx="4937760" cy="274320"/>
          </a:xfrm>
          <a:prstGeom prst="rect">
            <a:avLst/>
          </a:prstGeom>
          <a:solidFill>
            <a:schemeClr val="bg1"/>
          </a:solidFill>
          <a:ln w="9525" cap="flat" cmpd="sng" algn="ctr">
            <a:noFill/>
            <a:prstDash val="solid"/>
          </a:ln>
          <a:effectLst>
            <a:outerShdw dist="12700" dir="5400000" algn="t" rotWithShape="0">
              <a:schemeClr val="accent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45720" bIns="27432" numCol="1" spcCol="0" rtlCol="0" fromWordArt="0" anchor="ctr" anchorCtr="0" forceAA="0" compatLnSpc="0">
            <a:prstTxWarp prst="textNoShape">
              <a:avLst/>
            </a:prstTxWarp>
            <a:noAutofit/>
          </a:bodyPr>
          <a:lstStyle>
            <a:defPPr>
              <a:defRPr lang="fr-FR"/>
            </a:defPPr>
            <a:lvl1pPr>
              <a:defRPr sz="1000" b="1">
                <a:solidFill>
                  <a:schemeClr val="accent1"/>
                </a:solidFill>
                <a:latin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GB" sz="1200" dirty="0"/>
              <a:t>Segment Key Performance Indicators</a:t>
            </a:r>
          </a:p>
        </p:txBody>
      </p:sp>
      <p:sp>
        <p:nvSpPr>
          <p:cNvPr id="8" name="TextBox 7">
            <a:extLst>
              <a:ext uri="{FF2B5EF4-FFF2-40B4-BE49-F238E27FC236}">
                <a16:creationId xmlns:a16="http://schemas.microsoft.com/office/drawing/2014/main" id="{96B45548-BABA-9815-AB84-B14C135D2224}"/>
              </a:ext>
            </a:extLst>
          </p:cNvPr>
          <p:cNvSpPr txBox="1"/>
          <p:nvPr/>
        </p:nvSpPr>
        <p:spPr>
          <a:xfrm>
            <a:off x="3426396" y="4827784"/>
            <a:ext cx="2344553" cy="246221"/>
          </a:xfrm>
          <a:prstGeom prst="rect">
            <a:avLst/>
          </a:prstGeom>
        </p:spPr>
        <p:txBody>
          <a:bodyPr wrap="none" lIns="45720" rIns="45720" rtlCol="0" anchor="ctr" anchorCtr="0">
            <a:spAutoFit/>
          </a:bodyPr>
          <a:lstStyle/>
          <a:p>
            <a:pPr algn="ctr"/>
            <a:r>
              <a:rPr lang="en-US" sz="500" i="1"/>
              <a:t>* Volume sold in thousand tonnes for Tubes and million tonnes for Mine &amp; Forest</a:t>
            </a:r>
          </a:p>
          <a:p>
            <a:pPr algn="ctr"/>
            <a:r>
              <a:rPr lang="en-US" sz="500" i="1"/>
              <a:t>“H&amp;O” = Holding &amp; Other; “Int.” = Intersegment</a:t>
            </a:r>
          </a:p>
        </p:txBody>
      </p:sp>
      <p:pic>
        <p:nvPicPr>
          <p:cNvPr id="10" name="Picture 9">
            <a:extLst>
              <a:ext uri="{FF2B5EF4-FFF2-40B4-BE49-F238E27FC236}">
                <a16:creationId xmlns:a16="http://schemas.microsoft.com/office/drawing/2014/main" id="{5F888167-8B14-ED29-42B6-E38482BE1983}"/>
              </a:ext>
            </a:extLst>
          </p:cNvPr>
          <p:cNvPicPr>
            <a:picLocks noChangeAspect="1"/>
          </p:cNvPicPr>
          <p:nvPr/>
        </p:nvPicPr>
        <p:blipFill>
          <a:blip r:embed="rId2"/>
          <a:stretch>
            <a:fillRect/>
          </a:stretch>
        </p:blipFill>
        <p:spPr>
          <a:xfrm>
            <a:off x="1845946" y="3691525"/>
            <a:ext cx="5888250" cy="972182"/>
          </a:xfrm>
          <a:prstGeom prst="rect">
            <a:avLst/>
          </a:prstGeom>
        </p:spPr>
      </p:pic>
      <p:pic>
        <p:nvPicPr>
          <p:cNvPr id="11" name="Picture 10">
            <a:extLst>
              <a:ext uri="{FF2B5EF4-FFF2-40B4-BE49-F238E27FC236}">
                <a16:creationId xmlns:a16="http://schemas.microsoft.com/office/drawing/2014/main" id="{DE3A6F96-F019-C776-B520-068145ABCDC6}"/>
              </a:ext>
            </a:extLst>
          </p:cNvPr>
          <p:cNvPicPr>
            <a:picLocks noChangeAspect="1"/>
          </p:cNvPicPr>
          <p:nvPr/>
        </p:nvPicPr>
        <p:blipFill>
          <a:blip r:embed="rId3"/>
          <a:stretch>
            <a:fillRect/>
          </a:stretch>
        </p:blipFill>
        <p:spPr>
          <a:xfrm>
            <a:off x="1409805" y="1258929"/>
            <a:ext cx="6324391" cy="2011680"/>
          </a:xfrm>
          <a:prstGeom prst="rect">
            <a:avLst/>
          </a:prstGeom>
        </p:spPr>
      </p:pic>
    </p:spTree>
    <p:extLst>
      <p:ext uri="{BB962C8B-B14F-4D97-AF65-F5344CB8AC3E}">
        <p14:creationId xmlns:p14="http://schemas.microsoft.com/office/powerpoint/2010/main" val="16960097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5">
            <a:extLst>
              <a:ext uri="{FF2B5EF4-FFF2-40B4-BE49-F238E27FC236}">
                <a16:creationId xmlns:a16="http://schemas.microsoft.com/office/drawing/2014/main" id="{7CA74BC2-599F-5465-B925-8DDEA445E4E1}"/>
              </a:ext>
            </a:extLst>
          </p:cNvPr>
          <p:cNvSpPr txBox="1"/>
          <p:nvPr/>
        </p:nvSpPr>
        <p:spPr>
          <a:xfrm>
            <a:off x="367681" y="915989"/>
            <a:ext cx="8408638" cy="3619517"/>
          </a:xfrm>
          <a:prstGeom prst="rect">
            <a:avLst/>
          </a:prstGeom>
          <a:noFill/>
          <a:ln>
            <a:noFill/>
          </a:ln>
        </p:spPr>
        <p:txBody>
          <a:bodyPr wrap="square" rtlCol="0">
            <a:spAutoFit/>
          </a:bodyPr>
          <a:lstStyle/>
          <a:p>
            <a:pPr algn="just">
              <a:lnSpc>
                <a:spcPts val="1199"/>
              </a:lnSpc>
            </a:pPr>
            <a:r>
              <a:rPr lang="en-US" sz="900" b="1">
                <a:solidFill>
                  <a:srgbClr val="000000"/>
                </a:solidFill>
                <a:latin typeface="Arial" panose="020B0604020202020204" pitchFamily="34" charset="0"/>
                <a:ea typeface="SimSun" panose="02010600030101010101" pitchFamily="2" charset="-122"/>
                <a:cs typeface="Arial" panose="020B0604020202020204" pitchFamily="34" charset="0"/>
              </a:rPr>
              <a:t>Adjusted free cash flow</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is defined as adjusted operating cash flow +/- change in operating working capital and gross capital expenditures. It corresponds to net cash used in operating activities less restructuring and non-recurring items +/- gross capital expenditure.</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Arial" panose="020B0604020202020204" pitchFamily="34" charset="0"/>
              </a:rPr>
              <a:t>Adjusted operating cash flow</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is defined as EBITDA adjusted for non-cash benefits and expenses, financial cash out and tax payments.</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Arial" panose="020B0604020202020204" pitchFamily="34" charset="0"/>
              </a:rPr>
              <a:t>Asset disposals and other cash items</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includes cash inflows from asset sales as well as other investing and financing cash flows (e.g. loan reimbursements).</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Change in working capital </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refers to the change in the operating working capital requirement.</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Data at constant exchange rates:</a:t>
            </a:r>
            <a:r>
              <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rPr>
              <a:t> </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The data presented “at constant exchange rates”</a:t>
            </a:r>
            <a:r>
              <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rPr>
              <a:t> </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is calculated</a:t>
            </a:r>
            <a:r>
              <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rPr>
              <a:t> </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by eliminating the translation effect into euros for the revenue of the Group’s entities whose functional currency is not the euro.</a:t>
            </a:r>
            <a:r>
              <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rPr>
              <a:t> </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The translation effect is eliminated by applying Year N-1 exchange rates to Year N revenue of the contemplated entities.</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EBITDA:</a:t>
            </a:r>
            <a:r>
              <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rPr>
              <a:t> Earnings Before Interest, Taxes, Depreciation and Amortization is calculated by taking operating income (loss) before depreciation and amortization, and excluding certain operating revenues and expenses that are unusual in nature or occur rarely, such as:</a:t>
            </a:r>
          </a:p>
          <a:p>
            <a:pPr marL="742504" lvl="1" indent="-285579" algn="just">
              <a:lnSpc>
                <a:spcPts val="1199"/>
              </a:lnSpc>
              <a:buFont typeface="Arial" panose="020B0604020202020204" pitchFamily="34" charset="0"/>
              <a:buChar char="•"/>
              <a:tabLst>
                <a:tab pos="913851" algn="l"/>
              </a:tabLst>
            </a:pPr>
            <a:r>
              <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rPr>
              <a:t>impairment of goodwill and non-current assets as determined within the scope of impairment tests carried out in accordance with IAS 36;</a:t>
            </a:r>
          </a:p>
          <a:p>
            <a:pPr marL="742504" lvl="1" indent="-285579" algn="just">
              <a:lnSpc>
                <a:spcPts val="1199"/>
              </a:lnSpc>
              <a:buFont typeface="Arial" panose="020B0604020202020204" pitchFamily="34" charset="0"/>
              <a:buChar char="•"/>
              <a:tabLst>
                <a:tab pos="913851" algn="l"/>
              </a:tabLst>
            </a:pPr>
            <a:r>
              <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rPr>
              <a:t>significant restructuring expenses, particularly resulting from headcount reorganization measures, in respect of major events or decisions;</a:t>
            </a:r>
          </a:p>
          <a:p>
            <a:pPr marL="742504" lvl="1" indent="-285579" algn="just">
              <a:lnSpc>
                <a:spcPts val="1199"/>
              </a:lnSpc>
              <a:buFont typeface="Arial" panose="020B0604020202020204" pitchFamily="34" charset="0"/>
              <a:buChar char="•"/>
              <a:tabLst>
                <a:tab pos="913851" algn="l"/>
              </a:tabLst>
            </a:pPr>
            <a:r>
              <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rPr>
              <a:t>capital gains or losses on disposals;</a:t>
            </a:r>
          </a:p>
          <a:p>
            <a:pPr marL="742504" lvl="1" indent="-285579" algn="just">
              <a:lnSpc>
                <a:spcPts val="1199"/>
              </a:lnSpc>
              <a:buFont typeface="Arial" panose="020B0604020202020204" pitchFamily="34" charset="0"/>
              <a:buChar char="•"/>
              <a:tabLst>
                <a:tab pos="913851" algn="l"/>
              </a:tabLst>
            </a:pPr>
            <a:r>
              <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rPr>
              <a:t>income and expenses resulting from major litigation, significant roll-outs or capital transactions (e.g., costs of integrating a new activity).</a:t>
            </a: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Arial" panose="020B0604020202020204" pitchFamily="34" charset="0"/>
              </a:rPr>
              <a:t>Financial cash out </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includes interest payments on financial and lease debt, interest income and other financial costs.</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p:txBody>
      </p:sp>
      <p:sp>
        <p:nvSpPr>
          <p:cNvPr id="6" name="Title 5">
            <a:extLst>
              <a:ext uri="{FF2B5EF4-FFF2-40B4-BE49-F238E27FC236}">
                <a16:creationId xmlns:a16="http://schemas.microsoft.com/office/drawing/2014/main" id="{A1BFF1B1-00C2-3F81-D5EC-3A03A8531513}"/>
              </a:ext>
            </a:extLst>
          </p:cNvPr>
          <p:cNvSpPr>
            <a:spLocks noGrp="1"/>
          </p:cNvSpPr>
          <p:nvPr>
            <p:ph type="title"/>
          </p:nvPr>
        </p:nvSpPr>
        <p:spPr/>
        <p:txBody>
          <a:bodyPr/>
          <a:lstStyle/>
          <a:p>
            <a:r>
              <a:rPr lang="en-US"/>
              <a:t>Definitions of Non-GAAP Financial Data and Concepts</a:t>
            </a:r>
          </a:p>
        </p:txBody>
      </p:sp>
    </p:spTree>
    <p:extLst>
      <p:ext uri="{BB962C8B-B14F-4D97-AF65-F5344CB8AC3E}">
        <p14:creationId xmlns:p14="http://schemas.microsoft.com/office/powerpoint/2010/main" val="15516837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4BC71-64BD-1F43-9B10-1A444E750452}"/>
              </a:ext>
            </a:extLst>
          </p:cNvPr>
          <p:cNvSpPr>
            <a:spLocks noGrp="1"/>
          </p:cNvSpPr>
          <p:nvPr>
            <p:ph type="title"/>
          </p:nvPr>
        </p:nvSpPr>
        <p:spPr/>
        <p:txBody>
          <a:bodyPr/>
          <a:lstStyle/>
          <a:p>
            <a:r>
              <a:rPr lang="en-US"/>
              <a:t>Definitions of Non-GAAP Financial Data and Concepts</a:t>
            </a:r>
          </a:p>
        </p:txBody>
      </p:sp>
      <p:sp>
        <p:nvSpPr>
          <p:cNvPr id="5" name="ZoneTexte 5">
            <a:extLst>
              <a:ext uri="{FF2B5EF4-FFF2-40B4-BE49-F238E27FC236}">
                <a16:creationId xmlns:a16="http://schemas.microsoft.com/office/drawing/2014/main" id="{7CA74BC2-599F-5465-B925-8DDEA445E4E1}"/>
              </a:ext>
            </a:extLst>
          </p:cNvPr>
          <p:cNvSpPr txBox="1"/>
          <p:nvPr/>
        </p:nvSpPr>
        <p:spPr>
          <a:xfrm>
            <a:off x="367681" y="912746"/>
            <a:ext cx="8408638" cy="3465629"/>
          </a:xfrm>
          <a:prstGeom prst="rect">
            <a:avLst/>
          </a:prstGeom>
          <a:noFill/>
          <a:ln>
            <a:noFill/>
          </a:ln>
        </p:spPr>
        <p:txBody>
          <a:bodyPr wrap="square" rtlCol="0">
            <a:spAutoFit/>
          </a:bodyPr>
          <a:lstStyle/>
          <a:p>
            <a:pPr algn="just">
              <a:lnSpc>
                <a:spcPts val="1199"/>
              </a:lnSpc>
            </a:pPr>
            <a:r>
              <a:rPr lang="en-US" sz="900" b="1">
                <a:solidFill>
                  <a:srgbClr val="000000"/>
                </a:solidFill>
                <a:latin typeface="Arial" panose="020B0604020202020204" pitchFamily="34" charset="0"/>
                <a:ea typeface="SimSun" panose="02010600030101010101" pitchFamily="2" charset="-122"/>
                <a:cs typeface="Arial" panose="020B0604020202020204" pitchFamily="34" charset="0"/>
              </a:rPr>
              <a:t>Free cash flow</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as previously defined, may continue to be derived as follows: total cash generation - asset disposals &amp; other cash items. This is also defined as EBITDA adjusted for changes in provisions, less interest and tax payments, changes in working capital, less gross capital expenditures, and less restructuring/other cash outflows.</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Gross capital expenditure: </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gross capital expenditure is defined as the sum of cash outflows for acquisitions of property, plant and equipment and intangible assets and cash outflows for acquisitions of biological assets.</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Increase) decrease in net debt</a:t>
            </a:r>
            <a:r>
              <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rPr>
              <a:t> (alternatively, “change in net debt”)</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is defined as total cash generation +/- non-cash adjustments to net debt.</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Arial" panose="020B0604020202020204" pitchFamily="34"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Industrial margin:</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The industrial margin is defined as the difference between revenue and cost of sales (i.e. after allocation of industrial variable costs and industrial fixed costs), before depreciation.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Lease debt</a:t>
            </a:r>
            <a:r>
              <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rPr>
              <a:t> is </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defined as the present value of unavoidable future lease payments.</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Midcycle or normalized earnings and cash flow simulations and related assumptions </a:t>
            </a:r>
            <a:r>
              <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rPr>
              <a:t>do NOT represent guidance, a forecast, a target or an outlook of Vallourec for any particular financial year, but aim to represent an abstract average across cycles and across different circumstances to illustrate, in a volatile and unpredictable environment, the theoretical functioning of the New Vallourec. Conceptually these should be understood as approximate levels to be observed on average, over a long period of time and through various economic and commodity price environments.</a:t>
            </a:r>
            <a:endPar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endPar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Net debt: </a:t>
            </a:r>
            <a:r>
              <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rPr>
              <a:t>C</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onsolidated net debt (or “net financial debt”) is defined as bank loans and other borrowings plus overdrafts and other short-term borrowings minus cash and cash equivalents. Net debt excludes lease debt.</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42932779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4BC71-64BD-1F43-9B10-1A444E750452}"/>
              </a:ext>
            </a:extLst>
          </p:cNvPr>
          <p:cNvSpPr>
            <a:spLocks noGrp="1"/>
          </p:cNvSpPr>
          <p:nvPr>
            <p:ph type="title"/>
          </p:nvPr>
        </p:nvSpPr>
        <p:spPr/>
        <p:txBody>
          <a:bodyPr/>
          <a:lstStyle/>
          <a:p>
            <a:r>
              <a:rPr lang="en-US"/>
              <a:t>Definitions of Non-GAAP Financial Data and Concepts</a:t>
            </a:r>
          </a:p>
        </p:txBody>
      </p:sp>
      <p:sp>
        <p:nvSpPr>
          <p:cNvPr id="5" name="ZoneTexte 5">
            <a:extLst>
              <a:ext uri="{FF2B5EF4-FFF2-40B4-BE49-F238E27FC236}">
                <a16:creationId xmlns:a16="http://schemas.microsoft.com/office/drawing/2014/main" id="{7CA74BC2-599F-5465-B925-8DDEA445E4E1}"/>
              </a:ext>
            </a:extLst>
          </p:cNvPr>
          <p:cNvSpPr txBox="1"/>
          <p:nvPr/>
        </p:nvSpPr>
        <p:spPr>
          <a:xfrm>
            <a:off x="367681" y="915988"/>
            <a:ext cx="8408638" cy="2850076"/>
          </a:xfrm>
          <a:prstGeom prst="rect">
            <a:avLst/>
          </a:prstGeom>
          <a:noFill/>
          <a:ln>
            <a:noFill/>
          </a:ln>
        </p:spPr>
        <p:txBody>
          <a:bodyPr wrap="square" rtlCol="0">
            <a:spAutoFit/>
          </a:bodyPr>
          <a:lstStyle/>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Net working capital requirement</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is defined as working capital requirement net of provisions for inventories and trade receivables; net working capital requirement days are computed on an annualized quarterly sales basis.</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Arial" panose="020B0604020202020204" pitchFamily="34"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Arial" panose="020B0604020202020204" pitchFamily="34" charset="0"/>
              </a:rPr>
              <a:t>Non-cash adjustments to net debt</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includes non-cash foreign exchange impacts on debt balances, IFRS-defined fair value adjustments on debt balances, and other non-cash items.</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Arial" panose="020B0604020202020204" pitchFamily="34"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Arial" panose="020B0604020202020204" pitchFamily="34" charset="0"/>
              </a:rPr>
              <a:t>Non-cash items in EBITDA</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includes provisions and other non-cash items in EBITDA.</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endPar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Operating working capital requirement</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includes working capital requirement as well as other receivables and payables.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Arial" panose="020B0604020202020204" pitchFamily="34" charset="0"/>
              </a:rPr>
              <a:t>Restructuring charges and non-recurring items</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consists primarily of the cash costs of executing the New Vallourec plan, including severance costs and other facility closure costs.</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Arial" panose="020B0604020202020204" pitchFamily="34" charset="0"/>
              </a:rPr>
              <a:t>Total cash generation</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is defined as adjusted free cash flow +/- restructuring charges and non-recurring items and asset disposals &amp; other cash items. It corresponds to net cash used in operating activities +/- gross capital expenditure and asset disposals &amp; other cash items.</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Working capital requirement</a:t>
            </a:r>
            <a:r>
              <a:rPr lang="en-US" sz="900">
                <a:solidFill>
                  <a:srgbClr val="000000"/>
                </a:solidFill>
                <a:latin typeface="Arial" panose="020B0604020202020204" pitchFamily="34" charset="0"/>
                <a:ea typeface="SimSun" panose="02010600030101010101" pitchFamily="2" charset="-122"/>
                <a:cs typeface="Arial" panose="020B0604020202020204" pitchFamily="34" charset="0"/>
              </a:rPr>
              <a:t> is defined as trade receivables plus inventories minus trade payables (excluding provisions).</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a:p>
            <a:pPr algn="just">
              <a:lnSpc>
                <a:spcPts val="1199"/>
              </a:lnSpc>
            </a:pPr>
            <a:r>
              <a:rPr lang="en-US" sz="900" b="1">
                <a:solidFill>
                  <a:srgbClr val="000000"/>
                </a:solidFill>
                <a:latin typeface="Arial" panose="020B0604020202020204" pitchFamily="34" charset="0"/>
                <a:ea typeface="SimSun" panose="02010600030101010101" pitchFamily="2" charset="-122"/>
                <a:cs typeface="Times New Roman" panose="02020603050405020304" pitchFamily="18" charset="0"/>
              </a:rPr>
              <a:t> </a:t>
            </a:r>
            <a:endParaRPr lang="en-US" sz="900">
              <a:solidFill>
                <a:srgbClr val="000000"/>
              </a:solidFill>
              <a:latin typeface="Arial" panose="020B060402020202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1857674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75791BF-FC8E-5CA5-3AF3-4B87B480411B}"/>
              </a:ext>
            </a:extLst>
          </p:cNvPr>
          <p:cNvSpPr>
            <a:spLocks noGrp="1"/>
          </p:cNvSpPr>
          <p:nvPr>
            <p:ph type="title"/>
          </p:nvPr>
        </p:nvSpPr>
        <p:spPr/>
        <p:txBody>
          <a:bodyPr/>
          <a:lstStyle/>
          <a:p>
            <a:r>
              <a:rPr lang="en-US"/>
              <a:t>Share Information and Financial Calendar</a:t>
            </a:r>
          </a:p>
        </p:txBody>
      </p:sp>
      <p:sp>
        <p:nvSpPr>
          <p:cNvPr id="8" name="Content Placeholder 2">
            <a:extLst>
              <a:ext uri="{FF2B5EF4-FFF2-40B4-BE49-F238E27FC236}">
                <a16:creationId xmlns:a16="http://schemas.microsoft.com/office/drawing/2014/main" id="{4C494514-CA02-026B-2628-AC2A5B2F1512}"/>
              </a:ext>
            </a:extLst>
          </p:cNvPr>
          <p:cNvSpPr txBox="1">
            <a:spLocks/>
          </p:cNvSpPr>
          <p:nvPr/>
        </p:nvSpPr>
        <p:spPr>
          <a:xfrm>
            <a:off x="458154" y="1224638"/>
            <a:ext cx="3901655" cy="3126531"/>
          </a:xfrm>
          <a:prstGeom prst="roundRect">
            <a:avLst/>
          </a:prstGeom>
          <a:solidFill>
            <a:schemeClr val="accent1"/>
          </a:solidFill>
          <a:ln w="12700">
            <a:solidFill>
              <a:schemeClr val="bg1"/>
            </a:solidFill>
          </a:ln>
          <a:effectLst>
            <a:outerShdw blurRad="63500" sx="102000" sy="102000" algn="ctr" rotWithShape="0">
              <a:prstClr val="black">
                <a:alpha val="40000"/>
              </a:prstClr>
            </a:outerShdw>
          </a:effectLst>
        </p:spPr>
        <p:txBody>
          <a:bodyPr anchor="t" anchorCtr="0"/>
          <a:lstStyle>
            <a:lvl1pPr marL="254000" indent="-254000" algn="l" defTabSz="914400" rtl="0" eaLnBrk="1" latinLnBrk="0" hangingPunct="1">
              <a:spcBef>
                <a:spcPct val="20000"/>
              </a:spcBef>
              <a:buClr>
                <a:schemeClr val="bg2"/>
              </a:buClr>
              <a:buFont typeface="Arial" pitchFamily="34" charset="0"/>
              <a:buChar char="►"/>
              <a:defRPr sz="1800" kern="1200">
                <a:solidFill>
                  <a:schemeClr val="tx1"/>
                </a:solidFill>
                <a:latin typeface="+mn-lt"/>
                <a:ea typeface="+mn-ea"/>
                <a:cs typeface="+mn-cs"/>
              </a:defRPr>
            </a:lvl1pPr>
            <a:lvl2pPr marL="449263" indent="-182563" algn="l" defTabSz="914400" rtl="0" eaLnBrk="1" latinLnBrk="0" hangingPunct="1">
              <a:spcBef>
                <a:spcPct val="20000"/>
              </a:spcBef>
              <a:buClr>
                <a:schemeClr val="bg2"/>
              </a:buClr>
              <a:buFont typeface="Arial" pitchFamily="34" charset="0"/>
              <a:buChar char="•"/>
              <a:defRPr sz="1600" kern="1200">
                <a:solidFill>
                  <a:schemeClr val="tx1">
                    <a:lumMod val="75000"/>
                    <a:lumOff val="25000"/>
                  </a:schemeClr>
                </a:solidFill>
                <a:latin typeface="+mn-lt"/>
                <a:ea typeface="+mn-ea"/>
                <a:cs typeface="+mn-cs"/>
              </a:defRPr>
            </a:lvl2pPr>
            <a:lvl3pPr marL="723900" indent="-190500" algn="l" defTabSz="914400" rtl="0" eaLnBrk="1" latinLnBrk="0" hangingPunct="1">
              <a:spcBef>
                <a:spcPct val="20000"/>
              </a:spcBef>
              <a:buClr>
                <a:schemeClr val="tx1">
                  <a:lumMod val="85000"/>
                  <a:lumOff val="15000"/>
                </a:schemeClr>
              </a:buClr>
              <a:buFont typeface="Arial" pitchFamily="34" charset="0"/>
              <a:buChar char="»"/>
              <a:defRPr sz="1400" kern="1200">
                <a:solidFill>
                  <a:schemeClr val="tx1">
                    <a:lumMod val="85000"/>
                    <a:lumOff val="15000"/>
                  </a:schemeClr>
                </a:solidFill>
                <a:latin typeface="+mn-lt"/>
                <a:ea typeface="+mn-ea"/>
                <a:cs typeface="+mn-cs"/>
              </a:defRPr>
            </a:lvl3pPr>
            <a:lvl4pPr marL="954088" indent="-231775" algn="l" defTabSz="914400" rtl="0" eaLnBrk="1" latinLnBrk="0" hangingPunct="1">
              <a:spcBef>
                <a:spcPct val="20000"/>
              </a:spcBef>
              <a:buFont typeface="Arial" pitchFamily="34" charset="0"/>
              <a:buChar char="–"/>
              <a:defRPr sz="1200" kern="1200">
                <a:solidFill>
                  <a:schemeClr val="tx1">
                    <a:lumMod val="85000"/>
                    <a:lumOff val="15000"/>
                  </a:schemeClr>
                </a:solidFill>
                <a:latin typeface="+mn-lt"/>
                <a:ea typeface="+mn-ea"/>
                <a:cs typeface="+mn-cs"/>
              </a:defRPr>
            </a:lvl4pPr>
            <a:lvl5pPr marL="1163638" indent="-201613" algn="l" defTabSz="914400" rtl="0" eaLnBrk="1" latinLnBrk="0" hangingPunct="1">
              <a:spcBef>
                <a:spcPct val="20000"/>
              </a:spcBef>
              <a:buFont typeface="Arial" pitchFamily="34" charset="0"/>
              <a:buChar char="•"/>
              <a:defRPr sz="12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0" fontAlgn="auto" latinLnBrk="0" hangingPunct="0">
              <a:lnSpc>
                <a:spcPct val="100000"/>
              </a:lnSpc>
              <a:spcBef>
                <a:spcPts val="133"/>
              </a:spcBef>
              <a:spcAft>
                <a:spcPts val="800"/>
              </a:spcAft>
              <a:buClr>
                <a:srgbClr val="172983"/>
              </a:buClr>
              <a:buSzTx/>
              <a:buFont typeface="Arial" pitchFamily="34" charset="0"/>
              <a:buNone/>
              <a:tabLst/>
              <a:defRPr/>
            </a:pPr>
            <a:r>
              <a:rPr kumimoji="0" lang="en-US" sz="1200" b="1" i="0" u="sng" strike="noStrike" kern="1200" cap="none" spc="0" normalizeH="0" baseline="0" noProof="0">
                <a:ln>
                  <a:noFill/>
                </a:ln>
                <a:solidFill>
                  <a:srgbClr val="FAF8F2"/>
                </a:solidFill>
                <a:effectLst/>
                <a:uLnTx/>
                <a:uFillTx/>
                <a:latin typeface="Arial"/>
                <a:cs typeface="+mn-cs"/>
              </a:rPr>
              <a:t>Share Information</a:t>
            </a:r>
          </a:p>
          <a:p>
            <a:pPr marL="0" marR="0" lvl="0" indent="0" algn="l" defTabSz="1219170" rtl="0" eaLnBrk="0" fontAlgn="auto" latinLnBrk="0" hangingPunct="0">
              <a:lnSpc>
                <a:spcPct val="100000"/>
              </a:lnSpc>
              <a:spcBef>
                <a:spcPts val="0"/>
              </a:spcBef>
              <a:spcAft>
                <a:spcPts val="0"/>
              </a:spcAft>
              <a:buClr>
                <a:srgbClr val="172983"/>
              </a:buClr>
              <a:buSzTx/>
              <a:buFont typeface="Arial" pitchFamily="34" charset="0"/>
              <a:buNone/>
              <a:tabLst/>
              <a:defRPr/>
            </a:pPr>
            <a:r>
              <a:rPr kumimoji="0" lang="en-US" sz="1200" b="1" i="0" u="none" strike="noStrike" kern="1200" cap="none" spc="0" normalizeH="0" baseline="0" noProof="0">
                <a:ln>
                  <a:noFill/>
                </a:ln>
                <a:solidFill>
                  <a:srgbClr val="FAF8F2"/>
                </a:solidFill>
                <a:effectLst/>
                <a:uLnTx/>
                <a:uFillTx/>
                <a:latin typeface="Arial"/>
                <a:cs typeface="+mn-cs"/>
              </a:rPr>
              <a:t>Euronext Paris</a:t>
            </a:r>
          </a:p>
          <a:p>
            <a:pPr marL="0" marR="0" lvl="0" indent="0" algn="l" defTabSz="1219170" rtl="0" eaLnBrk="0" fontAlgn="auto" latinLnBrk="0" hangingPunct="0">
              <a:lnSpc>
                <a:spcPct val="100000"/>
              </a:lnSpc>
              <a:spcBef>
                <a:spcPts val="0"/>
              </a:spcBef>
              <a:spcAft>
                <a:spcPts val="0"/>
              </a:spcAft>
              <a:buClr>
                <a:srgbClr val="172983"/>
              </a:buClr>
              <a:buSzTx/>
              <a:buFont typeface="Arial" pitchFamily="34" charset="0"/>
              <a:buNone/>
              <a:tabLst/>
              <a:defRPr/>
            </a:pPr>
            <a:r>
              <a:rPr kumimoji="0" lang="en-US" sz="1200" b="0" i="0" u="none" strike="noStrike" kern="1200" cap="none" spc="0" normalizeH="0" baseline="0" noProof="0">
                <a:ln>
                  <a:noFill/>
                </a:ln>
                <a:solidFill>
                  <a:srgbClr val="FAF8F2"/>
                </a:solidFill>
                <a:effectLst/>
                <a:uLnTx/>
                <a:uFillTx/>
                <a:latin typeface="Arial"/>
                <a:cs typeface="+mn-cs"/>
              </a:rPr>
              <a:t>ISIN code: FR0013506730</a:t>
            </a:r>
          </a:p>
          <a:p>
            <a:pPr marL="0" marR="0" lvl="0" indent="0" algn="l" defTabSz="1219170" rtl="0" eaLnBrk="0" fontAlgn="auto" latinLnBrk="0" hangingPunct="0">
              <a:lnSpc>
                <a:spcPct val="100000"/>
              </a:lnSpc>
              <a:spcBef>
                <a:spcPts val="0"/>
              </a:spcBef>
              <a:spcAft>
                <a:spcPts val="0"/>
              </a:spcAft>
              <a:buClr>
                <a:srgbClr val="172983"/>
              </a:buClr>
              <a:buSzTx/>
              <a:buFont typeface="Arial" pitchFamily="34" charset="0"/>
              <a:buNone/>
              <a:tabLst/>
              <a:defRPr/>
            </a:pPr>
            <a:r>
              <a:rPr kumimoji="0" lang="en-US" sz="1200" b="0" i="0" u="none" strike="noStrike" kern="1200" cap="none" spc="0" normalizeH="0" baseline="0" noProof="0">
                <a:ln>
                  <a:noFill/>
                </a:ln>
                <a:solidFill>
                  <a:srgbClr val="FAF8F2"/>
                </a:solidFill>
                <a:effectLst/>
                <a:uLnTx/>
                <a:uFillTx/>
                <a:latin typeface="Arial"/>
                <a:cs typeface="+mn-cs"/>
              </a:rPr>
              <a:t>Ticker: VK</a:t>
            </a:r>
          </a:p>
          <a:p>
            <a:pPr marL="0" marR="0" lvl="0" indent="0" algn="l" defTabSz="1219170" rtl="0" eaLnBrk="0" fontAlgn="auto" latinLnBrk="0" hangingPunct="0">
              <a:lnSpc>
                <a:spcPct val="100000"/>
              </a:lnSpc>
              <a:spcBef>
                <a:spcPts val="0"/>
              </a:spcBef>
              <a:spcAft>
                <a:spcPts val="0"/>
              </a:spcAft>
              <a:buClr>
                <a:srgbClr val="172983"/>
              </a:buClr>
              <a:buSzTx/>
              <a:buFont typeface="Arial" pitchFamily="34" charset="0"/>
              <a:buNone/>
              <a:tabLst/>
              <a:defRPr/>
            </a:pPr>
            <a:endParaRPr kumimoji="0" lang="en-US" sz="1200" b="0" i="0" u="none" strike="noStrike" kern="1200" cap="none" spc="0" normalizeH="0" baseline="0" noProof="0">
              <a:ln>
                <a:noFill/>
              </a:ln>
              <a:solidFill>
                <a:srgbClr val="FAF8F2"/>
              </a:solidFill>
              <a:effectLst/>
              <a:uLnTx/>
              <a:uFillTx/>
              <a:latin typeface="Arial"/>
              <a:cs typeface="+mn-cs"/>
            </a:endParaRPr>
          </a:p>
          <a:p>
            <a:pPr marL="0" marR="0" lvl="0" indent="0" algn="l" defTabSz="1219170" rtl="0" eaLnBrk="0" fontAlgn="auto" latinLnBrk="0" hangingPunct="0">
              <a:lnSpc>
                <a:spcPct val="100000"/>
              </a:lnSpc>
              <a:spcBef>
                <a:spcPts val="0"/>
              </a:spcBef>
              <a:spcAft>
                <a:spcPts val="0"/>
              </a:spcAft>
              <a:buClr>
                <a:srgbClr val="172983"/>
              </a:buClr>
              <a:buSzTx/>
              <a:buFont typeface="Arial" pitchFamily="34" charset="0"/>
              <a:buNone/>
              <a:tabLst/>
              <a:defRPr/>
            </a:pPr>
            <a:r>
              <a:rPr kumimoji="0" lang="en-US" sz="1200" b="1" i="0" u="none" strike="noStrike" kern="1200" cap="none" spc="0" normalizeH="0" baseline="0" noProof="0">
                <a:ln>
                  <a:noFill/>
                </a:ln>
                <a:solidFill>
                  <a:srgbClr val="FAF8F2"/>
                </a:solidFill>
                <a:effectLst/>
                <a:uLnTx/>
                <a:uFillTx/>
                <a:latin typeface="Arial"/>
                <a:cs typeface="+mn-cs"/>
              </a:rPr>
              <a:t>USA: American Depositary Receipt (ADR) </a:t>
            </a:r>
          </a:p>
          <a:p>
            <a:pPr marL="0" marR="0" lvl="0" indent="0" algn="l" defTabSz="1219170" rtl="0" eaLnBrk="0" fontAlgn="auto" latinLnBrk="0" hangingPunct="0">
              <a:lnSpc>
                <a:spcPct val="100000"/>
              </a:lnSpc>
              <a:spcBef>
                <a:spcPts val="0"/>
              </a:spcBef>
              <a:spcAft>
                <a:spcPts val="0"/>
              </a:spcAft>
              <a:buClr>
                <a:srgbClr val="172983"/>
              </a:buClr>
              <a:buSzTx/>
              <a:buFont typeface="Arial" pitchFamily="34" charset="0"/>
              <a:buNone/>
              <a:tabLst/>
              <a:defRPr/>
            </a:pPr>
            <a:r>
              <a:rPr kumimoji="0" lang="en-US" sz="1200" b="0" i="0" u="none" strike="noStrike" kern="1200" cap="none" spc="0" normalizeH="0" baseline="0" noProof="0">
                <a:ln>
                  <a:noFill/>
                </a:ln>
                <a:solidFill>
                  <a:srgbClr val="FAF8F2"/>
                </a:solidFill>
                <a:effectLst/>
                <a:uLnTx/>
                <a:uFillTx/>
                <a:latin typeface="Arial"/>
                <a:cs typeface="+mn-cs"/>
              </a:rPr>
              <a:t>ISIN code: US92023R4074</a:t>
            </a:r>
          </a:p>
          <a:p>
            <a:pPr marL="0" marR="0" lvl="0" indent="0" algn="l" defTabSz="1219170" rtl="0" eaLnBrk="0" fontAlgn="auto" latinLnBrk="0" hangingPunct="0">
              <a:lnSpc>
                <a:spcPct val="100000"/>
              </a:lnSpc>
              <a:spcBef>
                <a:spcPts val="0"/>
              </a:spcBef>
              <a:spcAft>
                <a:spcPts val="0"/>
              </a:spcAft>
              <a:buClr>
                <a:srgbClr val="172983"/>
              </a:buClr>
              <a:buSzTx/>
              <a:buFont typeface="Arial" pitchFamily="34" charset="0"/>
              <a:buNone/>
              <a:tabLst/>
              <a:defRPr/>
            </a:pPr>
            <a:r>
              <a:rPr kumimoji="0" lang="en-US" sz="1200" b="0" i="0" u="none" strike="noStrike" kern="1200" cap="none" spc="0" normalizeH="0" baseline="0" noProof="0">
                <a:ln>
                  <a:noFill/>
                </a:ln>
                <a:solidFill>
                  <a:srgbClr val="FAF8F2"/>
                </a:solidFill>
                <a:effectLst/>
                <a:uLnTx/>
                <a:uFillTx/>
                <a:latin typeface="Arial"/>
                <a:cs typeface="+mn-cs"/>
              </a:rPr>
              <a:t>Ticker: VLOWY</a:t>
            </a:r>
          </a:p>
          <a:p>
            <a:pPr marL="0" marR="0" lvl="0" indent="0" algn="l" defTabSz="1219170" rtl="0" eaLnBrk="0" fontAlgn="auto" latinLnBrk="0" hangingPunct="0">
              <a:lnSpc>
                <a:spcPct val="100000"/>
              </a:lnSpc>
              <a:spcBef>
                <a:spcPts val="0"/>
              </a:spcBef>
              <a:spcAft>
                <a:spcPts val="0"/>
              </a:spcAft>
              <a:buClr>
                <a:srgbClr val="172983"/>
              </a:buClr>
              <a:buSzTx/>
              <a:buFont typeface="Arial" pitchFamily="34" charset="0"/>
              <a:buNone/>
              <a:tabLst/>
              <a:defRPr/>
            </a:pPr>
            <a:endParaRPr kumimoji="0" lang="en-US" sz="1200" b="1" i="0" u="none" strike="noStrike" kern="1200" cap="none" spc="0" normalizeH="0" baseline="0" noProof="0">
              <a:ln>
                <a:noFill/>
              </a:ln>
              <a:solidFill>
                <a:srgbClr val="FAF8F2"/>
              </a:solidFill>
              <a:effectLst/>
              <a:uLnTx/>
              <a:uFillTx/>
              <a:latin typeface="Arial"/>
              <a:cs typeface="+mn-cs"/>
            </a:endParaRPr>
          </a:p>
          <a:p>
            <a:pPr marL="0" marR="0" lvl="0" indent="0" algn="l" defTabSz="1219170" rtl="0" eaLnBrk="0" fontAlgn="auto" latinLnBrk="0" hangingPunct="0">
              <a:lnSpc>
                <a:spcPct val="100000"/>
              </a:lnSpc>
              <a:spcBef>
                <a:spcPts val="0"/>
              </a:spcBef>
              <a:spcAft>
                <a:spcPts val="0"/>
              </a:spcAft>
              <a:buClr>
                <a:srgbClr val="172983"/>
              </a:buClr>
              <a:buSzTx/>
              <a:buFont typeface="Arial" pitchFamily="34" charset="0"/>
              <a:buNone/>
              <a:tabLst/>
              <a:defRPr/>
            </a:pPr>
            <a:r>
              <a:rPr kumimoji="0" lang="en-US" sz="1200" b="1" i="0" u="sng" strike="noStrike" kern="1200" cap="none" spc="0" normalizeH="0" baseline="0" noProof="0">
                <a:ln>
                  <a:noFill/>
                </a:ln>
                <a:solidFill>
                  <a:srgbClr val="FAF8F2"/>
                </a:solidFill>
                <a:effectLst/>
                <a:uLnTx/>
                <a:uFillTx/>
                <a:latin typeface="Arial"/>
                <a:cs typeface="+mn-cs"/>
              </a:rPr>
              <a:t>Investor Relations Contact</a:t>
            </a:r>
            <a:endParaRPr kumimoji="0" lang="en-US" sz="1200" b="1" i="0" u="none" strike="noStrike" kern="1200" cap="none" spc="0" normalizeH="0" baseline="0" noProof="0">
              <a:ln>
                <a:noFill/>
              </a:ln>
              <a:solidFill>
                <a:srgbClr val="FAF8F2"/>
              </a:solidFill>
              <a:effectLst/>
              <a:uLnTx/>
              <a:uFillTx/>
              <a:latin typeface="Arial"/>
              <a:cs typeface="+mn-cs"/>
            </a:endParaRPr>
          </a:p>
          <a:p>
            <a:pPr marL="0" marR="0" lvl="0" indent="0" algn="l" defTabSz="1219170" rtl="0" eaLnBrk="0" fontAlgn="auto" latinLnBrk="0" hangingPunct="0">
              <a:lnSpc>
                <a:spcPct val="100000"/>
              </a:lnSpc>
              <a:spcBef>
                <a:spcPts val="0"/>
              </a:spcBef>
              <a:spcAft>
                <a:spcPts val="0"/>
              </a:spcAft>
              <a:buClr>
                <a:srgbClr val="172983"/>
              </a:buClr>
              <a:buSzTx/>
              <a:buFont typeface="Arial" pitchFamily="34" charset="0"/>
              <a:buNone/>
              <a:tabLst/>
              <a:defRPr/>
            </a:pPr>
            <a:r>
              <a:rPr kumimoji="0" lang="en-US" sz="1200" b="0" i="0" u="none" strike="noStrike" kern="1200" cap="none" spc="0" normalizeH="0" baseline="0" noProof="0">
                <a:ln>
                  <a:noFill/>
                </a:ln>
                <a:solidFill>
                  <a:srgbClr val="FAF8F2"/>
                </a:solidFill>
                <a:effectLst/>
                <a:uLnTx/>
                <a:uFillTx/>
                <a:latin typeface="Arial"/>
                <a:cs typeface="+mn-cs"/>
              </a:rPr>
              <a:t>Email: Connor.Lynagh@vallourec.com</a:t>
            </a:r>
          </a:p>
          <a:p>
            <a:pPr marL="0" marR="0" lvl="0" indent="0" algn="l" defTabSz="1219170" rtl="0" eaLnBrk="0" fontAlgn="auto" latinLnBrk="0" hangingPunct="0">
              <a:lnSpc>
                <a:spcPct val="100000"/>
              </a:lnSpc>
              <a:spcBef>
                <a:spcPts val="0"/>
              </a:spcBef>
              <a:spcAft>
                <a:spcPts val="0"/>
              </a:spcAft>
              <a:buClr>
                <a:srgbClr val="172983"/>
              </a:buClr>
              <a:buSzTx/>
              <a:buFont typeface="Arial" pitchFamily="34" charset="0"/>
              <a:buNone/>
              <a:tabLst/>
              <a:defRPr/>
            </a:pPr>
            <a:r>
              <a:rPr kumimoji="0" lang="en-US" sz="1200" b="0" i="0" u="none" strike="noStrike" kern="1200" cap="none" spc="0" normalizeH="0" baseline="0" noProof="0">
                <a:ln>
                  <a:noFill/>
                </a:ln>
                <a:solidFill>
                  <a:srgbClr val="FAF8F2"/>
                </a:solidFill>
                <a:effectLst/>
                <a:uLnTx/>
                <a:uFillTx/>
                <a:latin typeface="Arial"/>
                <a:cs typeface="+mn-cs"/>
              </a:rPr>
              <a:t>Alternate: investor.relations@vallourec.com</a:t>
            </a:r>
          </a:p>
          <a:p>
            <a:pPr marL="0" marR="0" lvl="0" indent="0" algn="l" defTabSz="1219170" rtl="0" eaLnBrk="0" fontAlgn="auto" latinLnBrk="0" hangingPunct="0">
              <a:lnSpc>
                <a:spcPct val="100000"/>
              </a:lnSpc>
              <a:spcBef>
                <a:spcPts val="0"/>
              </a:spcBef>
              <a:spcAft>
                <a:spcPts val="0"/>
              </a:spcAft>
              <a:buClr>
                <a:srgbClr val="172983"/>
              </a:buClr>
              <a:buSzTx/>
              <a:buFont typeface="Arial" pitchFamily="34" charset="0"/>
              <a:buNone/>
              <a:tabLst/>
              <a:defRPr/>
            </a:pPr>
            <a:r>
              <a:rPr kumimoji="0" lang="en-US" sz="1200" b="0" i="0" u="none" strike="noStrike" kern="1200" cap="none" spc="0" normalizeH="0" baseline="0" noProof="0">
                <a:ln>
                  <a:noFill/>
                </a:ln>
                <a:solidFill>
                  <a:srgbClr val="FAF8F2"/>
                </a:solidFill>
                <a:effectLst/>
                <a:uLnTx/>
                <a:uFillTx/>
                <a:latin typeface="Arial"/>
                <a:cs typeface="+mn-cs"/>
              </a:rPr>
              <a:t>www.vallourec.com</a:t>
            </a:r>
          </a:p>
        </p:txBody>
      </p:sp>
      <p:sp>
        <p:nvSpPr>
          <p:cNvPr id="2" name="Content Placeholder 2">
            <a:extLst>
              <a:ext uri="{FF2B5EF4-FFF2-40B4-BE49-F238E27FC236}">
                <a16:creationId xmlns:a16="http://schemas.microsoft.com/office/drawing/2014/main" id="{D5E3AE7C-A77E-FEEF-FDCA-6E43558DEA00}"/>
              </a:ext>
            </a:extLst>
          </p:cNvPr>
          <p:cNvSpPr txBox="1">
            <a:spLocks/>
          </p:cNvSpPr>
          <p:nvPr/>
        </p:nvSpPr>
        <p:spPr>
          <a:xfrm>
            <a:off x="4784191" y="1224638"/>
            <a:ext cx="3901655" cy="3126531"/>
          </a:xfrm>
          <a:prstGeom prst="roundRect">
            <a:avLst/>
          </a:prstGeom>
          <a:solidFill>
            <a:srgbClr val="0077C1"/>
          </a:solidFill>
          <a:ln w="12700">
            <a:solidFill>
              <a:schemeClr val="bg1"/>
            </a:solidFill>
          </a:ln>
          <a:effectLst>
            <a:outerShdw blurRad="63500" sx="102000" sy="102000" algn="ctr" rotWithShape="0">
              <a:prstClr val="black">
                <a:alpha val="40000"/>
              </a:prstClr>
            </a:outerShdw>
          </a:effectLst>
        </p:spPr>
        <p:txBody>
          <a:bodyPr anchor="t" anchorCtr="0"/>
          <a:lstStyle>
            <a:lvl1pPr marL="254000" indent="-254000" algn="l" defTabSz="914400" rtl="0" eaLnBrk="1" latinLnBrk="0" hangingPunct="1">
              <a:spcBef>
                <a:spcPct val="20000"/>
              </a:spcBef>
              <a:buClr>
                <a:schemeClr val="bg2"/>
              </a:buClr>
              <a:buFont typeface="Arial" pitchFamily="34" charset="0"/>
              <a:buChar char="►"/>
              <a:defRPr sz="1800" kern="1200">
                <a:solidFill>
                  <a:schemeClr val="tx1"/>
                </a:solidFill>
                <a:latin typeface="+mn-lt"/>
                <a:ea typeface="+mn-ea"/>
                <a:cs typeface="+mn-cs"/>
              </a:defRPr>
            </a:lvl1pPr>
            <a:lvl2pPr marL="449263" indent="-182563" algn="l" defTabSz="914400" rtl="0" eaLnBrk="1" latinLnBrk="0" hangingPunct="1">
              <a:spcBef>
                <a:spcPct val="20000"/>
              </a:spcBef>
              <a:buClr>
                <a:schemeClr val="bg2"/>
              </a:buClr>
              <a:buFont typeface="Arial" pitchFamily="34" charset="0"/>
              <a:buChar char="•"/>
              <a:defRPr sz="1600" kern="1200">
                <a:solidFill>
                  <a:schemeClr val="tx1">
                    <a:lumMod val="75000"/>
                    <a:lumOff val="25000"/>
                  </a:schemeClr>
                </a:solidFill>
                <a:latin typeface="+mn-lt"/>
                <a:ea typeface="+mn-ea"/>
                <a:cs typeface="+mn-cs"/>
              </a:defRPr>
            </a:lvl2pPr>
            <a:lvl3pPr marL="723900" indent="-190500" algn="l" defTabSz="914400" rtl="0" eaLnBrk="1" latinLnBrk="0" hangingPunct="1">
              <a:spcBef>
                <a:spcPct val="20000"/>
              </a:spcBef>
              <a:buClr>
                <a:schemeClr val="tx1">
                  <a:lumMod val="85000"/>
                  <a:lumOff val="15000"/>
                </a:schemeClr>
              </a:buClr>
              <a:buFont typeface="Arial" pitchFamily="34" charset="0"/>
              <a:buChar char="»"/>
              <a:defRPr sz="1400" kern="1200">
                <a:solidFill>
                  <a:schemeClr val="tx1">
                    <a:lumMod val="85000"/>
                    <a:lumOff val="15000"/>
                  </a:schemeClr>
                </a:solidFill>
                <a:latin typeface="+mn-lt"/>
                <a:ea typeface="+mn-ea"/>
                <a:cs typeface="+mn-cs"/>
              </a:defRPr>
            </a:lvl3pPr>
            <a:lvl4pPr marL="954088" indent="-231775" algn="l" defTabSz="914400" rtl="0" eaLnBrk="1" latinLnBrk="0" hangingPunct="1">
              <a:spcBef>
                <a:spcPct val="20000"/>
              </a:spcBef>
              <a:buFont typeface="Arial" pitchFamily="34" charset="0"/>
              <a:buChar char="–"/>
              <a:defRPr sz="1200" kern="1200">
                <a:solidFill>
                  <a:schemeClr val="tx1">
                    <a:lumMod val="85000"/>
                    <a:lumOff val="15000"/>
                  </a:schemeClr>
                </a:solidFill>
                <a:latin typeface="+mn-lt"/>
                <a:ea typeface="+mn-ea"/>
                <a:cs typeface="+mn-cs"/>
              </a:defRPr>
            </a:lvl4pPr>
            <a:lvl5pPr marL="1163638" indent="-201613" algn="l" defTabSz="914400" rtl="0" eaLnBrk="1" latinLnBrk="0" hangingPunct="1">
              <a:spcBef>
                <a:spcPct val="20000"/>
              </a:spcBef>
              <a:buFont typeface="Arial" pitchFamily="34" charset="0"/>
              <a:buChar char="•"/>
              <a:defRPr sz="12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0" fontAlgn="auto" latinLnBrk="0" hangingPunct="0">
              <a:lnSpc>
                <a:spcPct val="100000"/>
              </a:lnSpc>
              <a:spcBef>
                <a:spcPts val="133"/>
              </a:spcBef>
              <a:spcAft>
                <a:spcPts val="800"/>
              </a:spcAft>
              <a:buClr>
                <a:srgbClr val="172983"/>
              </a:buClr>
              <a:buSzTx/>
              <a:buFont typeface="Arial" pitchFamily="34" charset="0"/>
              <a:buNone/>
              <a:tabLst/>
              <a:defRPr/>
            </a:pPr>
            <a:r>
              <a:rPr kumimoji="0" lang="en-US" sz="1200" b="1" i="0" u="sng" strike="noStrike" kern="1200" cap="none" spc="0" normalizeH="0" baseline="0" noProof="0" dirty="0">
                <a:ln>
                  <a:noFill/>
                </a:ln>
                <a:solidFill>
                  <a:srgbClr val="FAF8F2"/>
                </a:solidFill>
                <a:effectLst/>
                <a:uLnTx/>
                <a:uFillTx/>
                <a:latin typeface="Arial"/>
                <a:cs typeface="+mn-cs"/>
              </a:rPr>
              <a:t>Financial Calendar</a:t>
            </a:r>
          </a:p>
          <a:p>
            <a:pPr marL="254000" marR="0" lvl="0" indent="-254000" algn="l" defTabSz="1219170" rtl="0" eaLnBrk="0" fontAlgn="auto" latinLnBrk="0" hangingPunct="0">
              <a:lnSpc>
                <a:spcPct val="100000"/>
              </a:lnSpc>
              <a:spcBef>
                <a:spcPts val="0"/>
              </a:spcBef>
              <a:spcAft>
                <a:spcPts val="0"/>
              </a:spcAft>
              <a:buClr>
                <a:srgbClr val="FFFFFF"/>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FAF8F2"/>
                </a:solidFill>
                <a:effectLst/>
                <a:uLnTx/>
                <a:uFillTx/>
                <a:latin typeface="Arial"/>
                <a:cs typeface="+mn-cs"/>
              </a:rPr>
              <a:t>July 26</a:t>
            </a:r>
            <a:r>
              <a:rPr kumimoji="0" lang="en-US" sz="1200" b="1" i="0" u="none" strike="noStrike" kern="1200" cap="none" spc="0" normalizeH="0" baseline="30000" noProof="0" dirty="0">
                <a:ln>
                  <a:noFill/>
                </a:ln>
                <a:solidFill>
                  <a:srgbClr val="FAF8F2"/>
                </a:solidFill>
                <a:effectLst/>
                <a:uLnTx/>
                <a:uFillTx/>
                <a:latin typeface="Arial"/>
                <a:cs typeface="+mn-cs"/>
              </a:rPr>
              <a:t>th</a:t>
            </a:r>
            <a:r>
              <a:rPr kumimoji="0" lang="en-US" sz="1200" b="1" i="0" u="none" strike="noStrike" kern="1200" cap="none" spc="0" normalizeH="0" baseline="0" noProof="0" dirty="0">
                <a:ln>
                  <a:noFill/>
                </a:ln>
                <a:solidFill>
                  <a:srgbClr val="FAF8F2"/>
                </a:solidFill>
                <a:effectLst/>
                <a:uLnTx/>
                <a:uFillTx/>
                <a:latin typeface="Arial"/>
                <a:cs typeface="+mn-cs"/>
              </a:rPr>
              <a:t>, 2024: </a:t>
            </a:r>
            <a:r>
              <a:rPr kumimoji="0" lang="en-US" sz="1200" b="0" i="0" u="none" strike="noStrike" kern="1200" cap="none" spc="0" normalizeH="0" baseline="0" noProof="0" dirty="0">
                <a:ln>
                  <a:noFill/>
                </a:ln>
                <a:solidFill>
                  <a:srgbClr val="FAF8F2"/>
                </a:solidFill>
                <a:effectLst/>
                <a:uLnTx/>
                <a:uFillTx/>
                <a:latin typeface="Arial"/>
                <a:cs typeface="+mn-cs"/>
              </a:rPr>
              <a:t>Publication of Second Quarter and First Half 2024 Results</a:t>
            </a:r>
          </a:p>
          <a:p>
            <a:pPr marL="254000" marR="0" lvl="0" indent="-254000" algn="l" defTabSz="1219170" rtl="0" eaLnBrk="0" fontAlgn="auto" latinLnBrk="0" hangingPunct="0">
              <a:lnSpc>
                <a:spcPct val="100000"/>
              </a:lnSpc>
              <a:spcBef>
                <a:spcPts val="0"/>
              </a:spcBef>
              <a:spcAft>
                <a:spcPts val="0"/>
              </a:spcAft>
              <a:buClr>
                <a:srgbClr val="FFFFFF"/>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FAF8F2"/>
                </a:solidFill>
                <a:effectLst/>
                <a:uLnTx/>
                <a:uFillTx/>
                <a:latin typeface="Arial"/>
                <a:cs typeface="+mn-cs"/>
              </a:rPr>
              <a:t>November 15</a:t>
            </a:r>
            <a:r>
              <a:rPr kumimoji="0" lang="en-US" sz="1200" b="1" i="0" u="none" strike="noStrike" kern="1200" cap="none" spc="0" normalizeH="0" baseline="30000" noProof="0" dirty="0">
                <a:ln>
                  <a:noFill/>
                </a:ln>
                <a:solidFill>
                  <a:srgbClr val="FAF8F2"/>
                </a:solidFill>
                <a:effectLst/>
                <a:uLnTx/>
                <a:uFillTx/>
                <a:latin typeface="Arial"/>
                <a:cs typeface="+mn-cs"/>
              </a:rPr>
              <a:t>th</a:t>
            </a:r>
            <a:r>
              <a:rPr kumimoji="0" lang="en-US" sz="1200" b="1" i="0" u="none" strike="noStrike" kern="1200" cap="none" spc="0" normalizeH="0" baseline="0" noProof="0" dirty="0">
                <a:ln>
                  <a:noFill/>
                </a:ln>
                <a:solidFill>
                  <a:srgbClr val="FAF8F2"/>
                </a:solidFill>
                <a:effectLst/>
                <a:uLnTx/>
                <a:uFillTx/>
                <a:latin typeface="Arial"/>
                <a:cs typeface="+mn-cs"/>
              </a:rPr>
              <a:t>, 2024: </a:t>
            </a:r>
            <a:r>
              <a:rPr kumimoji="0" lang="en-US" sz="1200" b="0" i="0" u="none" strike="noStrike" kern="1200" cap="none" spc="0" normalizeH="0" baseline="0" noProof="0" dirty="0">
                <a:ln>
                  <a:noFill/>
                </a:ln>
                <a:solidFill>
                  <a:srgbClr val="FAF8F2"/>
                </a:solidFill>
                <a:effectLst/>
                <a:uLnTx/>
                <a:uFillTx/>
                <a:latin typeface="Arial"/>
                <a:cs typeface="+mn-cs"/>
              </a:rPr>
              <a:t>Publication of Third Quarter and Nine-Month 2024 Results</a:t>
            </a:r>
          </a:p>
          <a:p>
            <a:pPr marL="254000" marR="0" lvl="0" indent="-254000" algn="l" defTabSz="1219170" rtl="0" eaLnBrk="0" fontAlgn="auto" latinLnBrk="0" hangingPunct="0">
              <a:lnSpc>
                <a:spcPct val="100000"/>
              </a:lnSpc>
              <a:spcBef>
                <a:spcPts val="0"/>
              </a:spcBef>
              <a:spcAft>
                <a:spcPts val="0"/>
              </a:spcAft>
              <a:buClr>
                <a:srgbClr val="FFFFFF"/>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FAF8F2"/>
              </a:solidFill>
              <a:effectLst/>
              <a:uLnTx/>
              <a:uFillTx/>
              <a:latin typeface="Arial"/>
              <a:cs typeface="+mn-cs"/>
            </a:endParaRPr>
          </a:p>
          <a:p>
            <a:pPr marL="0" marR="0" lvl="0" indent="0" algn="l" defTabSz="1219170" rtl="0" eaLnBrk="0" fontAlgn="auto" latinLnBrk="0" hangingPunct="0">
              <a:lnSpc>
                <a:spcPct val="100000"/>
              </a:lnSpc>
              <a:spcBef>
                <a:spcPts val="0"/>
              </a:spcBef>
              <a:spcAft>
                <a:spcPts val="0"/>
              </a:spcAft>
              <a:buClr>
                <a:srgbClr val="172983"/>
              </a:buClr>
              <a:buSzTx/>
              <a:buFont typeface="Arial" pitchFamily="34" charset="0"/>
              <a:buNone/>
              <a:tabLst/>
              <a:defRPr/>
            </a:pPr>
            <a:endParaRPr kumimoji="0" lang="en-US" sz="1200" b="1" i="0" u="none" strike="noStrike" kern="1200" cap="none" spc="0" normalizeH="0" baseline="0" noProof="0" dirty="0">
              <a:ln>
                <a:noFill/>
              </a:ln>
              <a:solidFill>
                <a:srgbClr val="FAF8F2"/>
              </a:solidFill>
              <a:effectLst/>
              <a:uLnTx/>
              <a:uFillTx/>
              <a:latin typeface="Arial"/>
              <a:cs typeface="+mn-cs"/>
            </a:endParaRPr>
          </a:p>
          <a:p>
            <a:pPr marL="0" marR="0" lvl="0" indent="0" algn="l" defTabSz="1219170" rtl="0" eaLnBrk="0" fontAlgn="auto" latinLnBrk="0" hangingPunct="0">
              <a:lnSpc>
                <a:spcPct val="100000"/>
              </a:lnSpc>
              <a:spcBef>
                <a:spcPts val="0"/>
              </a:spcBef>
              <a:spcAft>
                <a:spcPts val="0"/>
              </a:spcAft>
              <a:buClr>
                <a:srgbClr val="172983"/>
              </a:buClr>
              <a:buSzTx/>
              <a:buFont typeface="Arial" pitchFamily="34" charset="0"/>
              <a:buNone/>
              <a:tabLst/>
              <a:defRPr/>
            </a:pPr>
            <a:r>
              <a:rPr kumimoji="0" lang="en-US" sz="1200" b="1" i="0" u="sng" strike="noStrike" kern="1200" cap="none" spc="0" normalizeH="0" baseline="0" noProof="0" dirty="0">
                <a:ln>
                  <a:noFill/>
                </a:ln>
                <a:solidFill>
                  <a:srgbClr val="FAF8F2"/>
                </a:solidFill>
                <a:effectLst/>
                <a:uLnTx/>
                <a:uFillTx/>
                <a:latin typeface="Arial"/>
                <a:cs typeface="+mn-cs"/>
              </a:rPr>
              <a:t>Upcoming Investor Events</a:t>
            </a:r>
          </a:p>
          <a:p>
            <a:pPr marL="254000" marR="0" lvl="0" indent="-254000" algn="l" defTabSz="1219170" rtl="0" eaLnBrk="0" fontAlgn="auto" latinLnBrk="0" hangingPunct="0">
              <a:lnSpc>
                <a:spcPct val="100000"/>
              </a:lnSpc>
              <a:spcBef>
                <a:spcPts val="0"/>
              </a:spcBef>
              <a:spcAft>
                <a:spcPts val="0"/>
              </a:spcAft>
              <a:buClr>
                <a:srgbClr val="FFFFFF"/>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FAF8F2"/>
                </a:solidFill>
                <a:effectLst/>
                <a:uLnTx/>
                <a:uFillTx/>
                <a:latin typeface="Arial"/>
                <a:cs typeface="+mn-cs"/>
              </a:rPr>
              <a:t>May 29</a:t>
            </a:r>
            <a:r>
              <a:rPr kumimoji="0" lang="en-US" sz="1200" b="1" i="0" u="none" strike="noStrike" kern="1200" cap="none" spc="0" normalizeH="0" baseline="30000" noProof="0" dirty="0">
                <a:ln>
                  <a:noFill/>
                </a:ln>
                <a:solidFill>
                  <a:srgbClr val="FAF8F2"/>
                </a:solidFill>
                <a:effectLst/>
                <a:uLnTx/>
                <a:uFillTx/>
                <a:latin typeface="Arial"/>
                <a:cs typeface="+mn-cs"/>
              </a:rPr>
              <a:t>th</a:t>
            </a:r>
            <a:r>
              <a:rPr kumimoji="0" lang="en-US" sz="1200" b="1" i="0" u="none" strike="noStrike" kern="1200" cap="none" spc="0" normalizeH="0" baseline="0" noProof="0" dirty="0">
                <a:ln>
                  <a:noFill/>
                </a:ln>
                <a:solidFill>
                  <a:srgbClr val="FAF8F2"/>
                </a:solidFill>
                <a:effectLst/>
                <a:uLnTx/>
                <a:uFillTx/>
                <a:latin typeface="Arial"/>
                <a:cs typeface="+mn-cs"/>
              </a:rPr>
              <a:t>, 2024: </a:t>
            </a:r>
            <a:r>
              <a:rPr kumimoji="0" lang="en-US" sz="1200" i="0" u="none" strike="noStrike" kern="1200" cap="none" spc="0" normalizeH="0" baseline="0" noProof="0" dirty="0">
                <a:ln>
                  <a:noFill/>
                </a:ln>
                <a:solidFill>
                  <a:srgbClr val="FAF8F2"/>
                </a:solidFill>
                <a:effectLst/>
                <a:uLnTx/>
                <a:uFillTx/>
                <a:latin typeface="Arial"/>
                <a:cs typeface="+mn-cs"/>
              </a:rPr>
              <a:t>Bernstein </a:t>
            </a:r>
            <a:r>
              <a:rPr kumimoji="0" lang="en-US" sz="1200" b="0" i="0" u="none" strike="noStrike" kern="1200" cap="none" spc="0" normalizeH="0" baseline="0" noProof="0" dirty="0">
                <a:ln>
                  <a:noFill/>
                </a:ln>
                <a:solidFill>
                  <a:srgbClr val="FAF8F2"/>
                </a:solidFill>
                <a:effectLst/>
                <a:uLnTx/>
                <a:uFillTx/>
                <a:latin typeface="Arial"/>
                <a:cs typeface="+mn-cs"/>
              </a:rPr>
              <a:t>Société Générale Nice Conference (Nice, France) </a:t>
            </a:r>
          </a:p>
          <a:p>
            <a:pPr marL="254000" marR="0" lvl="0" indent="-254000" algn="l" defTabSz="1219170" rtl="0" eaLnBrk="0" fontAlgn="auto" latinLnBrk="0" hangingPunct="0">
              <a:lnSpc>
                <a:spcPct val="100000"/>
              </a:lnSpc>
              <a:spcBef>
                <a:spcPts val="0"/>
              </a:spcBef>
              <a:spcAft>
                <a:spcPts val="0"/>
              </a:spcAft>
              <a:buClr>
                <a:srgbClr val="FFFFFF"/>
              </a:buClr>
              <a:buSzTx/>
              <a:buFont typeface="Arial" panose="020B0604020202020204" pitchFamily="34" charset="0"/>
              <a:buChar char="•"/>
              <a:tabLst/>
              <a:defRPr/>
            </a:pPr>
            <a:r>
              <a:rPr lang="en-US" sz="1200" b="1" dirty="0">
                <a:solidFill>
                  <a:srgbClr val="FAF8F2"/>
                </a:solidFill>
                <a:latin typeface="Arial"/>
              </a:rPr>
              <a:t>June 4th, 2024:</a:t>
            </a:r>
            <a:r>
              <a:rPr lang="en-US" sz="1200" dirty="0">
                <a:solidFill>
                  <a:srgbClr val="FAF8F2"/>
                </a:solidFill>
                <a:latin typeface="Arial"/>
              </a:rPr>
              <a:t> Vallourec One R&amp;D and New Energies Day (Aulnoye-Aymeries, France)</a:t>
            </a:r>
            <a:endParaRPr kumimoji="0" lang="en-US" sz="1200" b="0" i="0" u="none" strike="noStrike" kern="1200" cap="none" spc="0" normalizeH="0" baseline="0" noProof="0" dirty="0">
              <a:ln>
                <a:noFill/>
              </a:ln>
              <a:solidFill>
                <a:srgbClr val="FAF8F2"/>
              </a:solidFill>
              <a:effectLst/>
              <a:uLnTx/>
              <a:uFillTx/>
              <a:latin typeface="Arial"/>
              <a:cs typeface="+mn-cs"/>
            </a:endParaRPr>
          </a:p>
          <a:p>
            <a:pPr marL="254000" marR="0" lvl="0" indent="-254000" algn="l" defTabSz="1219170" rtl="0" eaLnBrk="0" fontAlgn="auto" latinLnBrk="0" hangingPunct="0">
              <a:lnSpc>
                <a:spcPct val="100000"/>
              </a:lnSpc>
              <a:spcBef>
                <a:spcPts val="0"/>
              </a:spcBef>
              <a:spcAft>
                <a:spcPts val="0"/>
              </a:spcAft>
              <a:buClr>
                <a:srgbClr val="FFFFFF"/>
              </a:buClr>
              <a:buSzTx/>
              <a:buFont typeface="Arial" panose="020B0604020202020204" pitchFamily="34" charset="0"/>
              <a:buChar char="•"/>
              <a:tabLst/>
              <a:defRPr/>
            </a:pPr>
            <a:r>
              <a:rPr lang="en-US" sz="1200" b="1" dirty="0">
                <a:solidFill>
                  <a:srgbClr val="FAF8F2"/>
                </a:solidFill>
                <a:latin typeface="Arial"/>
              </a:rPr>
              <a:t>July 1</a:t>
            </a:r>
            <a:r>
              <a:rPr lang="en-US" sz="1200" b="1" baseline="30000" dirty="0">
                <a:solidFill>
                  <a:srgbClr val="FAF8F2"/>
                </a:solidFill>
                <a:latin typeface="Arial"/>
              </a:rPr>
              <a:t>st</a:t>
            </a:r>
            <a:r>
              <a:rPr lang="en-US" sz="1200" b="1" dirty="0">
                <a:solidFill>
                  <a:srgbClr val="FAF8F2"/>
                </a:solidFill>
                <a:latin typeface="Arial"/>
              </a:rPr>
              <a:t> and 2</a:t>
            </a:r>
            <a:r>
              <a:rPr lang="en-US" sz="1200" b="1" baseline="30000" dirty="0">
                <a:solidFill>
                  <a:srgbClr val="FAF8F2"/>
                </a:solidFill>
                <a:latin typeface="Arial"/>
              </a:rPr>
              <a:t>nd</a:t>
            </a:r>
            <a:r>
              <a:rPr lang="en-US" sz="1200" b="1" dirty="0">
                <a:solidFill>
                  <a:srgbClr val="FAF8F2"/>
                </a:solidFill>
                <a:latin typeface="Arial"/>
              </a:rPr>
              <a:t>, 2024:</a:t>
            </a:r>
            <a:r>
              <a:rPr lang="en-US" sz="1200" dirty="0">
                <a:solidFill>
                  <a:srgbClr val="FAF8F2"/>
                </a:solidFill>
                <a:latin typeface="Arial"/>
              </a:rPr>
              <a:t> Exane Non-Deal Roadshow (London &amp; Frankfurt)</a:t>
            </a:r>
            <a:endParaRPr kumimoji="0" lang="en-US" sz="1200" b="1" i="0" u="none" strike="noStrike" kern="1200" cap="none" spc="0" normalizeH="0" baseline="0" noProof="0" dirty="0">
              <a:ln>
                <a:noFill/>
              </a:ln>
              <a:solidFill>
                <a:srgbClr val="FAF8F2"/>
              </a:solidFill>
              <a:effectLst/>
              <a:uLnTx/>
              <a:uFillTx/>
              <a:latin typeface="Arial"/>
              <a:cs typeface="+mn-cs"/>
            </a:endParaRPr>
          </a:p>
        </p:txBody>
      </p:sp>
    </p:spTree>
    <p:extLst>
      <p:ext uri="{BB962C8B-B14F-4D97-AF65-F5344CB8AC3E}">
        <p14:creationId xmlns:p14="http://schemas.microsoft.com/office/powerpoint/2010/main" val="38256478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45FC4A-FD8D-32E8-6A38-B4C0D704A9DC}"/>
              </a:ext>
            </a:extLst>
          </p:cNvPr>
          <p:cNvSpPr>
            <a:spLocks noGrp="1"/>
          </p:cNvSpPr>
          <p:nvPr>
            <p:ph type="title"/>
          </p:nvPr>
        </p:nvSpPr>
        <p:spPr/>
        <p:txBody>
          <a:bodyPr/>
          <a:lstStyle/>
          <a:p>
            <a:r>
              <a:rPr lang="en-US"/>
              <a:t>The Vallourec Investment Case</a:t>
            </a:r>
          </a:p>
        </p:txBody>
      </p:sp>
      <p:sp>
        <p:nvSpPr>
          <p:cNvPr id="10" name="Rectangle: Rounded Corners 9">
            <a:extLst>
              <a:ext uri="{FF2B5EF4-FFF2-40B4-BE49-F238E27FC236}">
                <a16:creationId xmlns:a16="http://schemas.microsoft.com/office/drawing/2014/main" id="{91A27B23-213C-E137-48BE-09254C709DDE}"/>
              </a:ext>
            </a:extLst>
          </p:cNvPr>
          <p:cNvSpPr/>
          <p:nvPr/>
        </p:nvSpPr>
        <p:spPr>
          <a:xfrm>
            <a:off x="621483" y="985685"/>
            <a:ext cx="4450581" cy="731520"/>
          </a:xfrm>
          <a:prstGeom prst="roundRect">
            <a:avLst/>
          </a:prstGeom>
          <a:solidFill>
            <a:schemeClr val="accent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57528" tIns="76201" rIns="142240" bIns="76201" numCol="1" spcCol="1270" anchor="ctr" anchorCtr="0">
            <a:noAutofit/>
          </a:bodyPr>
          <a:lstStyle/>
          <a:p>
            <a:pPr algn="ctr" defTabSz="889000">
              <a:lnSpc>
                <a:spcPct val="90000"/>
              </a:lnSpc>
              <a:spcBef>
                <a:spcPct val="0"/>
              </a:spcBef>
              <a:spcAft>
                <a:spcPct val="35000"/>
              </a:spcAft>
            </a:pPr>
            <a:r>
              <a:rPr lang="en-US" sz="1050"/>
              <a:t>Vallourec is a mission-critical supplier of complex steel tubular solutions supported by industry-leading R&amp;D and world-class production facilities.</a:t>
            </a:r>
          </a:p>
        </p:txBody>
      </p:sp>
      <p:sp>
        <p:nvSpPr>
          <p:cNvPr id="11" name="Oval 10">
            <a:extLst>
              <a:ext uri="{FF2B5EF4-FFF2-40B4-BE49-F238E27FC236}">
                <a16:creationId xmlns:a16="http://schemas.microsoft.com/office/drawing/2014/main" id="{8FFDD768-9A61-5E35-1C7E-4F36358F3341}"/>
              </a:ext>
            </a:extLst>
          </p:cNvPr>
          <p:cNvSpPr/>
          <p:nvPr/>
        </p:nvSpPr>
        <p:spPr>
          <a:xfrm>
            <a:off x="457199" y="985685"/>
            <a:ext cx="731520" cy="731520"/>
          </a:xfrm>
          <a:prstGeom prst="ellipse">
            <a:avLst/>
          </a:prstGeom>
          <a:solidFill>
            <a:schemeClr val="accent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tint val="50000"/>
              <a:hueOff val="0"/>
              <a:satOff val="0"/>
              <a:lumOff val="0"/>
              <a:alphaOff val="0"/>
            </a:schemeClr>
          </a:fillRef>
          <a:effectRef idx="0">
            <a:schemeClr val="accent2">
              <a:tint val="50000"/>
              <a:hueOff val="0"/>
              <a:satOff val="0"/>
              <a:lumOff val="0"/>
              <a:alphaOff val="0"/>
            </a:schemeClr>
          </a:effectRef>
          <a:fontRef idx="minor">
            <a:schemeClr val="lt1">
              <a:hueOff val="0"/>
              <a:satOff val="0"/>
              <a:lumOff val="0"/>
              <a:alphaOff val="0"/>
            </a:schemeClr>
          </a:fontRef>
        </p:style>
        <p:txBody>
          <a:bodyPr/>
          <a:lstStyle/>
          <a:p>
            <a:endParaRPr lang="en-US" sz="400"/>
          </a:p>
        </p:txBody>
      </p:sp>
      <p:sp>
        <p:nvSpPr>
          <p:cNvPr id="12" name="Rectangle: Rounded Corners 11">
            <a:extLst>
              <a:ext uri="{FF2B5EF4-FFF2-40B4-BE49-F238E27FC236}">
                <a16:creationId xmlns:a16="http://schemas.microsoft.com/office/drawing/2014/main" id="{5BDF4338-D218-D78A-D5DA-77569DEA2594}"/>
              </a:ext>
            </a:extLst>
          </p:cNvPr>
          <p:cNvSpPr/>
          <p:nvPr/>
        </p:nvSpPr>
        <p:spPr>
          <a:xfrm>
            <a:off x="621483" y="1818645"/>
            <a:ext cx="4450581" cy="731520"/>
          </a:xfrm>
          <a:prstGeom prst="roundRect">
            <a:avLst/>
          </a:prstGeom>
          <a:solidFill>
            <a:schemeClr val="accent2"/>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139912"/>
              <a:satOff val="-10288"/>
              <a:lumOff val="7255"/>
              <a:alphaOff val="0"/>
            </a:schemeClr>
          </a:fillRef>
          <a:effectRef idx="0">
            <a:schemeClr val="accent2">
              <a:hueOff val="-139912"/>
              <a:satOff val="-10288"/>
              <a:lumOff val="7255"/>
              <a:alphaOff val="0"/>
            </a:schemeClr>
          </a:effectRef>
          <a:fontRef idx="minor">
            <a:schemeClr val="lt1"/>
          </a:fontRef>
        </p:style>
        <p:txBody>
          <a:bodyPr spcFirstLastPara="0" vert="horz" wrap="square" lIns="657528" tIns="76200" rIns="142240" bIns="76201" numCol="1" spcCol="1270" anchor="ctr" anchorCtr="0">
            <a:noAutofit/>
          </a:bodyPr>
          <a:lstStyle/>
          <a:p>
            <a:pPr algn="ctr" defTabSz="889000">
              <a:lnSpc>
                <a:spcPct val="90000"/>
              </a:lnSpc>
              <a:spcBef>
                <a:spcPct val="0"/>
              </a:spcBef>
              <a:spcAft>
                <a:spcPct val="35000"/>
              </a:spcAft>
            </a:pPr>
            <a:r>
              <a:rPr lang="en-US" sz="1050"/>
              <a:t>We are making Vallourec more profitable, more resilient and more cash-generative while delivering on our ambitious ESG targets.</a:t>
            </a:r>
          </a:p>
        </p:txBody>
      </p:sp>
      <p:sp>
        <p:nvSpPr>
          <p:cNvPr id="13" name="Oval 12">
            <a:extLst>
              <a:ext uri="{FF2B5EF4-FFF2-40B4-BE49-F238E27FC236}">
                <a16:creationId xmlns:a16="http://schemas.microsoft.com/office/drawing/2014/main" id="{87D6AFA3-70F6-D36D-3E23-5CEA7AD8E63D}"/>
              </a:ext>
            </a:extLst>
          </p:cNvPr>
          <p:cNvSpPr/>
          <p:nvPr/>
        </p:nvSpPr>
        <p:spPr>
          <a:xfrm>
            <a:off x="457199" y="1818645"/>
            <a:ext cx="731520" cy="731520"/>
          </a:xfrm>
          <a:prstGeom prst="ellipse">
            <a:avLst/>
          </a:prstGeom>
          <a:solidFill>
            <a:schemeClr val="accent2"/>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tint val="50000"/>
              <a:hueOff val="-303777"/>
              <a:satOff val="13994"/>
              <a:lumOff val="1732"/>
              <a:alphaOff val="0"/>
            </a:schemeClr>
          </a:fillRef>
          <a:effectRef idx="0">
            <a:schemeClr val="accent2">
              <a:tint val="50000"/>
              <a:hueOff val="-303777"/>
              <a:satOff val="13994"/>
              <a:lumOff val="1732"/>
              <a:alphaOff val="0"/>
            </a:schemeClr>
          </a:effectRef>
          <a:fontRef idx="minor">
            <a:schemeClr val="lt1">
              <a:hueOff val="0"/>
              <a:satOff val="0"/>
              <a:lumOff val="0"/>
              <a:alphaOff val="0"/>
            </a:schemeClr>
          </a:fontRef>
        </p:style>
        <p:txBody>
          <a:bodyPr/>
          <a:lstStyle/>
          <a:p>
            <a:endParaRPr lang="en-US" sz="400"/>
          </a:p>
        </p:txBody>
      </p:sp>
      <p:sp>
        <p:nvSpPr>
          <p:cNvPr id="14" name="Rectangle: Rounded Corners 13">
            <a:extLst>
              <a:ext uri="{FF2B5EF4-FFF2-40B4-BE49-F238E27FC236}">
                <a16:creationId xmlns:a16="http://schemas.microsoft.com/office/drawing/2014/main" id="{2527A307-DC9A-8EE5-1FB3-5B8FBB583081}"/>
              </a:ext>
            </a:extLst>
          </p:cNvPr>
          <p:cNvSpPr/>
          <p:nvPr/>
        </p:nvSpPr>
        <p:spPr>
          <a:xfrm>
            <a:off x="621483" y="2644678"/>
            <a:ext cx="4450581" cy="731520"/>
          </a:xfrm>
          <a:prstGeom prst="roundRect">
            <a:avLst/>
          </a:prstGeom>
          <a:solidFill>
            <a:schemeClr val="accent3"/>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279825"/>
              <a:satOff val="-20576"/>
              <a:lumOff val="14510"/>
              <a:alphaOff val="0"/>
            </a:schemeClr>
          </a:fillRef>
          <a:effectRef idx="0">
            <a:schemeClr val="accent2">
              <a:hueOff val="-279825"/>
              <a:satOff val="-20576"/>
              <a:lumOff val="14510"/>
              <a:alphaOff val="0"/>
            </a:schemeClr>
          </a:effectRef>
          <a:fontRef idx="minor">
            <a:schemeClr val="lt1"/>
          </a:fontRef>
        </p:style>
        <p:txBody>
          <a:bodyPr spcFirstLastPara="0" vert="horz" wrap="square" lIns="657528" tIns="76201" rIns="142240" bIns="76200" numCol="1" spcCol="1270" anchor="ctr" anchorCtr="0">
            <a:noAutofit/>
          </a:bodyPr>
          <a:lstStyle/>
          <a:p>
            <a:pPr algn="ctr" defTabSz="889000">
              <a:lnSpc>
                <a:spcPct val="90000"/>
              </a:lnSpc>
              <a:spcBef>
                <a:spcPct val="0"/>
              </a:spcBef>
              <a:spcAft>
                <a:spcPct val="35000"/>
              </a:spcAft>
            </a:pPr>
            <a:r>
              <a:rPr lang="en-US" sz="1050"/>
              <a:t>We see multi-year tailwinds across Oil &amp; Gas and New Energies markets that will drive robust demand for our products and services.</a:t>
            </a:r>
          </a:p>
        </p:txBody>
      </p:sp>
      <p:sp>
        <p:nvSpPr>
          <p:cNvPr id="15" name="Oval 14">
            <a:extLst>
              <a:ext uri="{FF2B5EF4-FFF2-40B4-BE49-F238E27FC236}">
                <a16:creationId xmlns:a16="http://schemas.microsoft.com/office/drawing/2014/main" id="{5D3C2079-78D3-A280-2841-A81321B0BD79}"/>
              </a:ext>
            </a:extLst>
          </p:cNvPr>
          <p:cNvSpPr/>
          <p:nvPr/>
        </p:nvSpPr>
        <p:spPr>
          <a:xfrm>
            <a:off x="457199" y="2644678"/>
            <a:ext cx="731520" cy="731520"/>
          </a:xfrm>
          <a:prstGeom prst="ellipse">
            <a:avLst/>
          </a:prstGeom>
          <a:solidFill>
            <a:schemeClr val="accent3"/>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tint val="50000"/>
              <a:hueOff val="-607555"/>
              <a:satOff val="27987"/>
              <a:lumOff val="3464"/>
              <a:alphaOff val="0"/>
            </a:schemeClr>
          </a:fillRef>
          <a:effectRef idx="0">
            <a:schemeClr val="accent2">
              <a:tint val="50000"/>
              <a:hueOff val="-607555"/>
              <a:satOff val="27987"/>
              <a:lumOff val="3464"/>
              <a:alphaOff val="0"/>
            </a:schemeClr>
          </a:effectRef>
          <a:fontRef idx="minor">
            <a:schemeClr val="lt1">
              <a:hueOff val="0"/>
              <a:satOff val="0"/>
              <a:lumOff val="0"/>
              <a:alphaOff val="0"/>
            </a:schemeClr>
          </a:fontRef>
        </p:style>
        <p:txBody>
          <a:bodyPr/>
          <a:lstStyle/>
          <a:p>
            <a:endParaRPr lang="en-US" sz="400"/>
          </a:p>
        </p:txBody>
      </p:sp>
      <p:pic>
        <p:nvPicPr>
          <p:cNvPr id="21" name="Graphic 20" descr="Wrench with solid fill">
            <a:extLst>
              <a:ext uri="{FF2B5EF4-FFF2-40B4-BE49-F238E27FC236}">
                <a16:creationId xmlns:a16="http://schemas.microsoft.com/office/drawing/2014/main" id="{888AFD42-51AB-9D61-CDD8-D0B204DF46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4359" y="1955805"/>
            <a:ext cx="457200" cy="457200"/>
          </a:xfrm>
          <a:prstGeom prst="rect">
            <a:avLst/>
          </a:prstGeom>
          <a:effectLst>
            <a:outerShdw blurRad="50800" dist="38100" dir="2700000" algn="tl" rotWithShape="0">
              <a:prstClr val="black">
                <a:alpha val="40000"/>
              </a:prstClr>
            </a:outerShdw>
          </a:effectLst>
        </p:spPr>
      </p:pic>
      <p:pic>
        <p:nvPicPr>
          <p:cNvPr id="23" name="Graphic 22" descr="Scientist female with solid fill">
            <a:extLst>
              <a:ext uri="{FF2B5EF4-FFF2-40B4-BE49-F238E27FC236}">
                <a16:creationId xmlns:a16="http://schemas.microsoft.com/office/drawing/2014/main" id="{D6920419-5D69-7BBA-7EC1-85D130652D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1293" y="1097444"/>
            <a:ext cx="457200" cy="457200"/>
          </a:xfrm>
          <a:prstGeom prst="rect">
            <a:avLst/>
          </a:prstGeom>
          <a:effectLst>
            <a:outerShdw blurRad="50800" dist="38100" dir="2700000" algn="tl" rotWithShape="0">
              <a:prstClr val="black">
                <a:alpha val="40000"/>
              </a:prstClr>
            </a:outerShdw>
          </a:effectLst>
        </p:spPr>
      </p:pic>
      <p:pic>
        <p:nvPicPr>
          <p:cNvPr id="25" name="Graphic 24" descr="Hockey Stick Curve Graph with solid fill">
            <a:extLst>
              <a:ext uri="{FF2B5EF4-FFF2-40B4-BE49-F238E27FC236}">
                <a16:creationId xmlns:a16="http://schemas.microsoft.com/office/drawing/2014/main" id="{AE890106-3005-658C-F14B-6C5019FF36C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639" y="2736118"/>
            <a:ext cx="548640" cy="548640"/>
          </a:xfrm>
          <a:prstGeom prst="rect">
            <a:avLst/>
          </a:prstGeom>
          <a:effectLst>
            <a:outerShdw blurRad="50800" dist="38100" dir="2700000" algn="tl" rotWithShape="0">
              <a:prstClr val="black">
                <a:alpha val="40000"/>
              </a:prstClr>
            </a:outerShdw>
          </a:effectLst>
        </p:spPr>
      </p:pic>
      <p:sp>
        <p:nvSpPr>
          <p:cNvPr id="2" name="Rectangle: Rounded Corners 1">
            <a:extLst>
              <a:ext uri="{FF2B5EF4-FFF2-40B4-BE49-F238E27FC236}">
                <a16:creationId xmlns:a16="http://schemas.microsoft.com/office/drawing/2014/main" id="{F97F1E7E-D47C-088E-1467-72C61AF09C91}"/>
              </a:ext>
            </a:extLst>
          </p:cNvPr>
          <p:cNvSpPr/>
          <p:nvPr/>
        </p:nvSpPr>
        <p:spPr>
          <a:xfrm>
            <a:off x="621483" y="3470711"/>
            <a:ext cx="4450581" cy="731520"/>
          </a:xfrm>
          <a:prstGeom prst="roundRect">
            <a:avLst/>
          </a:prstGeom>
          <a:solidFill>
            <a:schemeClr val="accent6">
              <a:lumMod val="50000"/>
            </a:schemeClr>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279825"/>
              <a:satOff val="-20576"/>
              <a:lumOff val="14510"/>
              <a:alphaOff val="0"/>
            </a:schemeClr>
          </a:fillRef>
          <a:effectRef idx="0">
            <a:schemeClr val="accent2">
              <a:hueOff val="-279825"/>
              <a:satOff val="-20576"/>
              <a:lumOff val="14510"/>
              <a:alphaOff val="0"/>
            </a:schemeClr>
          </a:effectRef>
          <a:fontRef idx="minor">
            <a:schemeClr val="lt1"/>
          </a:fontRef>
        </p:style>
        <p:txBody>
          <a:bodyPr spcFirstLastPara="0" vert="horz" wrap="square" lIns="657528" tIns="76201" rIns="142240" bIns="76200" numCol="1" spcCol="1270" anchor="ctr" anchorCtr="0">
            <a:noAutofit/>
          </a:bodyPr>
          <a:lstStyle/>
          <a:p>
            <a:pPr algn="ctr" defTabSz="889000">
              <a:lnSpc>
                <a:spcPct val="90000"/>
              </a:lnSpc>
              <a:spcBef>
                <a:spcPct val="0"/>
              </a:spcBef>
              <a:spcAft>
                <a:spcPct val="35000"/>
              </a:spcAft>
            </a:pPr>
            <a:r>
              <a:rPr lang="en-US" sz="1050" dirty="0"/>
              <a:t>We aspire to be one of the most shareholder-friendly companies within our peer group, with cash distribution starting in 2025 at the latest.</a:t>
            </a:r>
          </a:p>
        </p:txBody>
      </p:sp>
      <p:sp>
        <p:nvSpPr>
          <p:cNvPr id="3" name="Oval 2">
            <a:extLst>
              <a:ext uri="{FF2B5EF4-FFF2-40B4-BE49-F238E27FC236}">
                <a16:creationId xmlns:a16="http://schemas.microsoft.com/office/drawing/2014/main" id="{1AA95DF0-1DF6-AFBF-BA1B-7E2BCBCF3A7A}"/>
              </a:ext>
            </a:extLst>
          </p:cNvPr>
          <p:cNvSpPr/>
          <p:nvPr/>
        </p:nvSpPr>
        <p:spPr>
          <a:xfrm>
            <a:off x="457199" y="3470711"/>
            <a:ext cx="731520" cy="731520"/>
          </a:xfrm>
          <a:prstGeom prst="ellipse">
            <a:avLst/>
          </a:prstGeom>
          <a:solidFill>
            <a:schemeClr val="accent6">
              <a:lumMod val="50000"/>
            </a:schemeClr>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tint val="50000"/>
              <a:hueOff val="-607555"/>
              <a:satOff val="27987"/>
              <a:lumOff val="3464"/>
              <a:alphaOff val="0"/>
            </a:schemeClr>
          </a:fillRef>
          <a:effectRef idx="0">
            <a:schemeClr val="accent2">
              <a:tint val="50000"/>
              <a:hueOff val="-607555"/>
              <a:satOff val="27987"/>
              <a:lumOff val="3464"/>
              <a:alphaOff val="0"/>
            </a:schemeClr>
          </a:effectRef>
          <a:fontRef idx="minor">
            <a:schemeClr val="lt1">
              <a:hueOff val="0"/>
              <a:satOff val="0"/>
              <a:lumOff val="0"/>
              <a:alphaOff val="0"/>
            </a:schemeClr>
          </a:fontRef>
        </p:style>
        <p:txBody>
          <a:bodyPr/>
          <a:lstStyle/>
          <a:p>
            <a:endParaRPr lang="en-US" sz="400"/>
          </a:p>
        </p:txBody>
      </p:sp>
      <p:pic>
        <p:nvPicPr>
          <p:cNvPr id="7" name="Graphic 6" descr="Money with solid fill">
            <a:extLst>
              <a:ext uri="{FF2B5EF4-FFF2-40B4-BE49-F238E27FC236}">
                <a16:creationId xmlns:a16="http://schemas.microsoft.com/office/drawing/2014/main" id="{1E441D90-B7BE-5A5B-A15C-1F15BAEC4BF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7418" y="3552626"/>
            <a:ext cx="548640" cy="548640"/>
          </a:xfrm>
          <a:prstGeom prst="rect">
            <a:avLst/>
          </a:prstGeom>
          <a:effectLst>
            <a:outerShdw blurRad="50800" dist="38100" dir="2700000" algn="tl" rotWithShape="0">
              <a:prstClr val="black">
                <a:alpha val="40000"/>
              </a:prstClr>
            </a:outerShdw>
          </a:effectLst>
        </p:spPr>
      </p:pic>
      <p:sp>
        <p:nvSpPr>
          <p:cNvPr id="16" name="Rectangle: Rounded Corners 15">
            <a:extLst>
              <a:ext uri="{FF2B5EF4-FFF2-40B4-BE49-F238E27FC236}">
                <a16:creationId xmlns:a16="http://schemas.microsoft.com/office/drawing/2014/main" id="{836401EB-3992-8721-E5F6-355D1C5D0A49}"/>
              </a:ext>
            </a:extLst>
          </p:cNvPr>
          <p:cNvSpPr/>
          <p:nvPr/>
        </p:nvSpPr>
        <p:spPr>
          <a:xfrm>
            <a:off x="5514976" y="985685"/>
            <a:ext cx="3223259" cy="396194"/>
          </a:xfrm>
          <a:prstGeom prst="roundRect">
            <a:avLst/>
          </a:prstGeom>
          <a:solidFill>
            <a:schemeClr val="bg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91440" rIns="0" bIns="91440" numCol="1" spcCol="1270" anchor="ctr" anchorCtr="0">
            <a:noAutofit/>
          </a:bodyPr>
          <a:lstStyle/>
          <a:p>
            <a:pPr algn="ctr" defTabSz="889000">
              <a:lnSpc>
                <a:spcPct val="90000"/>
              </a:lnSpc>
              <a:spcBef>
                <a:spcPct val="0"/>
              </a:spcBef>
              <a:spcAft>
                <a:spcPct val="35000"/>
              </a:spcAft>
            </a:pPr>
            <a:r>
              <a:rPr lang="en-US" sz="1400" b="1">
                <a:solidFill>
                  <a:schemeClr val="tx2"/>
                </a:solidFill>
              </a:rPr>
              <a:t>Financial Figures</a:t>
            </a:r>
            <a:endParaRPr lang="en-US" sz="1200">
              <a:solidFill>
                <a:schemeClr val="tx2"/>
              </a:solidFill>
            </a:endParaRPr>
          </a:p>
        </p:txBody>
      </p:sp>
      <p:sp>
        <p:nvSpPr>
          <p:cNvPr id="20" name="Rectangle: Rounded Corners 19">
            <a:extLst>
              <a:ext uri="{FF2B5EF4-FFF2-40B4-BE49-F238E27FC236}">
                <a16:creationId xmlns:a16="http://schemas.microsoft.com/office/drawing/2014/main" id="{CD8D9AAE-B267-3967-153C-75C0627136B2}"/>
              </a:ext>
            </a:extLst>
          </p:cNvPr>
          <p:cNvSpPr/>
          <p:nvPr/>
        </p:nvSpPr>
        <p:spPr>
          <a:xfrm>
            <a:off x="5514976" y="1480491"/>
            <a:ext cx="3223259" cy="609453"/>
          </a:xfrm>
          <a:prstGeom prst="roundRect">
            <a:avLst/>
          </a:prstGeom>
          <a:solidFill>
            <a:schemeClr val="bg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91440" rIns="0" bIns="91440" numCol="1" spcCol="1270" anchor="t" anchorCtr="0">
            <a:noAutofit/>
          </a:bodyPr>
          <a:lstStyle/>
          <a:p>
            <a:pPr algn="ctr" defTabSz="889000">
              <a:lnSpc>
                <a:spcPct val="90000"/>
              </a:lnSpc>
              <a:spcBef>
                <a:spcPct val="0"/>
              </a:spcBef>
              <a:spcAft>
                <a:spcPct val="35000"/>
              </a:spcAft>
            </a:pPr>
            <a:r>
              <a:rPr lang="en-US" sz="1400" b="1">
                <a:solidFill>
                  <a:schemeClr val="tx2"/>
                </a:solidFill>
              </a:rPr>
              <a:t>Zero Net Debt</a:t>
            </a:r>
            <a:r>
              <a:rPr lang="en-US" sz="1400">
                <a:solidFill>
                  <a:schemeClr val="tx2"/>
                </a:solidFill>
              </a:rPr>
              <a:t> </a:t>
            </a:r>
          </a:p>
          <a:p>
            <a:pPr algn="ctr" defTabSz="889000">
              <a:lnSpc>
                <a:spcPct val="90000"/>
              </a:lnSpc>
              <a:spcBef>
                <a:spcPct val="0"/>
              </a:spcBef>
              <a:spcAft>
                <a:spcPct val="35000"/>
              </a:spcAft>
            </a:pPr>
            <a:r>
              <a:rPr lang="en-US" sz="1000">
                <a:solidFill>
                  <a:schemeClr val="tx2"/>
                </a:solidFill>
              </a:rPr>
              <a:t>by year-end 2025 at the latest</a:t>
            </a:r>
          </a:p>
        </p:txBody>
      </p:sp>
      <p:sp>
        <p:nvSpPr>
          <p:cNvPr id="22" name="Rectangle: Rounded Corners 21">
            <a:extLst>
              <a:ext uri="{FF2B5EF4-FFF2-40B4-BE49-F238E27FC236}">
                <a16:creationId xmlns:a16="http://schemas.microsoft.com/office/drawing/2014/main" id="{BFFBFEF4-11BA-2C8C-A15C-9E5189AF8283}"/>
              </a:ext>
            </a:extLst>
          </p:cNvPr>
          <p:cNvSpPr/>
          <p:nvPr/>
        </p:nvSpPr>
        <p:spPr>
          <a:xfrm>
            <a:off x="5514976" y="2184587"/>
            <a:ext cx="3223259" cy="609453"/>
          </a:xfrm>
          <a:prstGeom prst="roundRect">
            <a:avLst/>
          </a:prstGeom>
          <a:solidFill>
            <a:schemeClr val="bg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91440" rIns="0" bIns="91440" numCol="1" spcCol="1270" anchor="t" anchorCtr="0">
            <a:noAutofit/>
          </a:bodyPr>
          <a:lstStyle/>
          <a:p>
            <a:pPr algn="ctr" defTabSz="889000">
              <a:lnSpc>
                <a:spcPct val="90000"/>
              </a:lnSpc>
              <a:spcBef>
                <a:spcPct val="0"/>
              </a:spcBef>
              <a:spcAft>
                <a:spcPct val="35000"/>
              </a:spcAft>
            </a:pPr>
            <a:r>
              <a:rPr lang="en-US" sz="1400" b="1">
                <a:solidFill>
                  <a:schemeClr val="tx2"/>
                </a:solidFill>
              </a:rPr>
              <a:t>€850m</a:t>
            </a:r>
          </a:p>
          <a:p>
            <a:pPr algn="ctr" defTabSz="889000">
              <a:lnSpc>
                <a:spcPct val="90000"/>
              </a:lnSpc>
              <a:spcBef>
                <a:spcPct val="0"/>
              </a:spcBef>
              <a:spcAft>
                <a:spcPct val="35000"/>
              </a:spcAft>
            </a:pPr>
            <a:r>
              <a:rPr lang="en-US" sz="1050">
                <a:solidFill>
                  <a:schemeClr val="tx2"/>
                </a:solidFill>
              </a:rPr>
              <a:t>Midcycle EBITDA</a:t>
            </a:r>
          </a:p>
        </p:txBody>
      </p:sp>
      <p:sp>
        <p:nvSpPr>
          <p:cNvPr id="26" name="Rectangle: Rounded Corners 25">
            <a:extLst>
              <a:ext uri="{FF2B5EF4-FFF2-40B4-BE49-F238E27FC236}">
                <a16:creationId xmlns:a16="http://schemas.microsoft.com/office/drawing/2014/main" id="{A49D21DF-9D41-9334-801A-481888EB18B7}"/>
              </a:ext>
            </a:extLst>
          </p:cNvPr>
          <p:cNvSpPr/>
          <p:nvPr/>
        </p:nvSpPr>
        <p:spPr>
          <a:xfrm>
            <a:off x="5514976" y="2888683"/>
            <a:ext cx="3223259" cy="609453"/>
          </a:xfrm>
          <a:prstGeom prst="roundRect">
            <a:avLst/>
          </a:prstGeom>
          <a:solidFill>
            <a:schemeClr val="bg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91440" rIns="0" bIns="91440" numCol="1" spcCol="1270" anchor="t" anchorCtr="0">
            <a:noAutofit/>
          </a:bodyPr>
          <a:lstStyle/>
          <a:p>
            <a:pPr algn="ctr" defTabSz="889000">
              <a:lnSpc>
                <a:spcPct val="90000"/>
              </a:lnSpc>
              <a:spcBef>
                <a:spcPct val="0"/>
              </a:spcBef>
              <a:spcAft>
                <a:spcPct val="35000"/>
              </a:spcAft>
            </a:pPr>
            <a:r>
              <a:rPr lang="en-US" sz="1400" b="1">
                <a:solidFill>
                  <a:schemeClr val="tx2"/>
                </a:solidFill>
              </a:rPr>
              <a:t>€450m</a:t>
            </a:r>
          </a:p>
          <a:p>
            <a:pPr algn="ctr" defTabSz="889000">
              <a:lnSpc>
                <a:spcPct val="90000"/>
              </a:lnSpc>
              <a:spcBef>
                <a:spcPct val="0"/>
              </a:spcBef>
              <a:spcAft>
                <a:spcPct val="35000"/>
              </a:spcAft>
            </a:pPr>
            <a:r>
              <a:rPr lang="en-US" sz="1050">
                <a:solidFill>
                  <a:schemeClr val="tx2"/>
                </a:solidFill>
              </a:rPr>
              <a:t>Midcycle total cash generation</a:t>
            </a:r>
          </a:p>
        </p:txBody>
      </p:sp>
      <p:sp>
        <p:nvSpPr>
          <p:cNvPr id="27" name="Rectangle: Rounded Corners 26">
            <a:extLst>
              <a:ext uri="{FF2B5EF4-FFF2-40B4-BE49-F238E27FC236}">
                <a16:creationId xmlns:a16="http://schemas.microsoft.com/office/drawing/2014/main" id="{F207B74F-BE32-FB82-09BF-CD99B1624EBD}"/>
              </a:ext>
            </a:extLst>
          </p:cNvPr>
          <p:cNvSpPr/>
          <p:nvPr/>
        </p:nvSpPr>
        <p:spPr>
          <a:xfrm>
            <a:off x="5514976" y="3592779"/>
            <a:ext cx="3223259" cy="609453"/>
          </a:xfrm>
          <a:prstGeom prst="roundRect">
            <a:avLst/>
          </a:prstGeom>
          <a:solidFill>
            <a:schemeClr val="bg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91440" rIns="0" bIns="91440" numCol="1" spcCol="1270" anchor="ctr" anchorCtr="0">
            <a:noAutofit/>
          </a:bodyPr>
          <a:lstStyle/>
          <a:p>
            <a:pPr algn="ctr" defTabSz="889000">
              <a:spcBef>
                <a:spcPct val="0"/>
              </a:spcBef>
            </a:pPr>
            <a:r>
              <a:rPr lang="en-US" sz="1050">
                <a:solidFill>
                  <a:schemeClr val="tx2"/>
                </a:solidFill>
              </a:rPr>
              <a:t>Aspiration to return</a:t>
            </a:r>
          </a:p>
          <a:p>
            <a:pPr algn="ctr" defTabSz="889000">
              <a:spcBef>
                <a:spcPct val="0"/>
              </a:spcBef>
            </a:pPr>
            <a:r>
              <a:rPr lang="en-US" sz="1400" b="1">
                <a:solidFill>
                  <a:schemeClr val="tx2"/>
                </a:solidFill>
              </a:rPr>
              <a:t>80% – 100%</a:t>
            </a:r>
          </a:p>
          <a:p>
            <a:pPr algn="ctr" defTabSz="889000">
              <a:spcBef>
                <a:spcPct val="0"/>
              </a:spcBef>
            </a:pPr>
            <a:r>
              <a:rPr lang="en-US" sz="1050">
                <a:solidFill>
                  <a:schemeClr val="tx2"/>
                </a:solidFill>
              </a:rPr>
              <a:t>of total cash generation to shareholders</a:t>
            </a:r>
          </a:p>
        </p:txBody>
      </p:sp>
      <p:sp>
        <p:nvSpPr>
          <p:cNvPr id="9" name="TextBox 8">
            <a:extLst>
              <a:ext uri="{FF2B5EF4-FFF2-40B4-BE49-F238E27FC236}">
                <a16:creationId xmlns:a16="http://schemas.microsoft.com/office/drawing/2014/main" id="{6C92CA62-CAE9-3C59-0747-F136B0FA5050}"/>
              </a:ext>
            </a:extLst>
          </p:cNvPr>
          <p:cNvSpPr txBox="1"/>
          <p:nvPr/>
        </p:nvSpPr>
        <p:spPr>
          <a:xfrm>
            <a:off x="457199" y="4346275"/>
            <a:ext cx="8281035" cy="247375"/>
          </a:xfrm>
          <a:prstGeom prst="rect">
            <a:avLst/>
          </a:prstGeom>
          <a:noFill/>
        </p:spPr>
        <p:txBody>
          <a:bodyPr vert="horz" wrap="square" lIns="0" tIns="0" rIns="0" bIns="0" rtlCol="0" anchor="t">
            <a:spAutoFit/>
          </a:bodyPr>
          <a:lstStyle/>
          <a:p>
            <a:pPr algn="l">
              <a:lnSpc>
                <a:spcPct val="110000"/>
              </a:lnSpc>
            </a:pPr>
            <a:r>
              <a:rPr lang="en-US" sz="500" i="1">
                <a:solidFill>
                  <a:schemeClr val="tx2"/>
                </a:solidFill>
              </a:rPr>
              <a:t>Notes: Vallourec’s dividend policy would in any event be conditional upon the Board’s decision taking into account Vallourec’s results, its financial position including the deleveraging target and the potential restrictions applicable to the payment of dividends. Dividends and share repurchases would also be subject to shareholders approval. The midcycle simulation shown in this presentation does NOT represent guidance, forecast, target or outlook of Vallourec for any particular financial year, but aims to represent an abstract average across cycles and across different circumstances to illustrate, in a volatile and unpredictable environment, the theoretical functioning of the New Vallourec.</a:t>
            </a:r>
          </a:p>
        </p:txBody>
      </p:sp>
    </p:spTree>
    <p:extLst>
      <p:ext uri="{BB962C8B-B14F-4D97-AF65-F5344CB8AC3E}">
        <p14:creationId xmlns:p14="http://schemas.microsoft.com/office/powerpoint/2010/main" val="11054686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61F55-1BE7-77FA-9283-163A47FAE1A4}"/>
              </a:ext>
            </a:extLst>
          </p:cNvPr>
          <p:cNvSpPr>
            <a:spLocks noGrp="1"/>
          </p:cNvSpPr>
          <p:nvPr>
            <p:ph type="title"/>
          </p:nvPr>
        </p:nvSpPr>
        <p:spPr/>
        <p:txBody>
          <a:bodyPr/>
          <a:lstStyle/>
          <a:p>
            <a:r>
              <a:rPr lang="en-GB"/>
              <a:t>The New Vallourec Plan</a:t>
            </a:r>
          </a:p>
        </p:txBody>
      </p:sp>
      <p:grpSp>
        <p:nvGrpSpPr>
          <p:cNvPr id="70" name="Group 69">
            <a:extLst>
              <a:ext uri="{FF2B5EF4-FFF2-40B4-BE49-F238E27FC236}">
                <a16:creationId xmlns:a16="http://schemas.microsoft.com/office/drawing/2014/main" id="{A75199AD-BCC4-61DE-6E92-239619968E24}"/>
              </a:ext>
            </a:extLst>
          </p:cNvPr>
          <p:cNvGrpSpPr/>
          <p:nvPr/>
        </p:nvGrpSpPr>
        <p:grpSpPr>
          <a:xfrm>
            <a:off x="537902" y="1582276"/>
            <a:ext cx="1828801" cy="2718496"/>
            <a:chOff x="537901" y="1186988"/>
            <a:chExt cx="1828801" cy="2718496"/>
          </a:xfrm>
        </p:grpSpPr>
        <p:grpSp>
          <p:nvGrpSpPr>
            <p:cNvPr id="14" name="Group 13">
              <a:extLst>
                <a:ext uri="{FF2B5EF4-FFF2-40B4-BE49-F238E27FC236}">
                  <a16:creationId xmlns:a16="http://schemas.microsoft.com/office/drawing/2014/main" id="{8FEB804E-8566-7A20-C6DF-7EA2BD054A63}"/>
                </a:ext>
              </a:extLst>
            </p:cNvPr>
            <p:cNvGrpSpPr/>
            <p:nvPr/>
          </p:nvGrpSpPr>
          <p:grpSpPr>
            <a:xfrm>
              <a:off x="537902" y="1839903"/>
              <a:ext cx="1828800" cy="960120"/>
              <a:chOff x="504825" y="1560249"/>
              <a:chExt cx="2739188" cy="960120"/>
            </a:xfrm>
            <a:effectLst>
              <a:outerShdw blurRad="50800" dist="38100" dir="2700000" algn="tl" rotWithShape="0">
                <a:prstClr val="black">
                  <a:alpha val="40000"/>
                </a:prstClr>
              </a:outerShdw>
            </a:effectLst>
          </p:grpSpPr>
          <p:sp>
            <p:nvSpPr>
              <p:cNvPr id="4" name="Rectangle: Rounded Corners 3">
                <a:extLst>
                  <a:ext uri="{FF2B5EF4-FFF2-40B4-BE49-F238E27FC236}">
                    <a16:creationId xmlns:a16="http://schemas.microsoft.com/office/drawing/2014/main" id="{1FEF35E5-2C10-3CA9-E8C3-8FC88F74A5E1}"/>
                  </a:ext>
                </a:extLst>
              </p:cNvPr>
              <p:cNvSpPr/>
              <p:nvPr/>
            </p:nvSpPr>
            <p:spPr>
              <a:xfrm>
                <a:off x="504825" y="1560249"/>
                <a:ext cx="2739188" cy="960120"/>
              </a:xfrm>
              <a:prstGeom prst="roundRect">
                <a:avLst/>
              </a:prstGeom>
              <a:solidFill>
                <a:srgbClr val="27338B"/>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b="1">
                  <a:solidFill>
                    <a:schemeClr val="bg1"/>
                  </a:solidFill>
                </a:endParaRPr>
              </a:p>
            </p:txBody>
          </p:sp>
          <p:sp>
            <p:nvSpPr>
              <p:cNvPr id="5" name="TextBox 4">
                <a:extLst>
                  <a:ext uri="{FF2B5EF4-FFF2-40B4-BE49-F238E27FC236}">
                    <a16:creationId xmlns:a16="http://schemas.microsoft.com/office/drawing/2014/main" id="{4816C2AA-AFDD-889D-F81F-A717CFA2927C}"/>
                  </a:ext>
                </a:extLst>
              </p:cNvPr>
              <p:cNvSpPr txBox="1"/>
              <p:nvPr/>
            </p:nvSpPr>
            <p:spPr>
              <a:xfrm>
                <a:off x="504826" y="1751769"/>
                <a:ext cx="2739184" cy="577081"/>
              </a:xfrm>
              <a:prstGeom prst="rect">
                <a:avLst/>
              </a:prstGeom>
              <a:noFill/>
            </p:spPr>
            <p:txBody>
              <a:bodyPr wrap="square" rtlCol="0">
                <a:spAutoFit/>
              </a:bodyPr>
              <a:lstStyle/>
              <a:p>
                <a:pPr algn="ctr"/>
                <a:r>
                  <a:rPr lang="en-GB" sz="1050" b="1">
                    <a:solidFill>
                      <a:schemeClr val="bg1"/>
                    </a:solidFill>
                  </a:rPr>
                  <a:t>Deliver </a:t>
                </a:r>
              </a:p>
              <a:p>
                <a:pPr algn="ctr"/>
                <a:r>
                  <a:rPr lang="en-GB" sz="1050" b="1">
                    <a:solidFill>
                      <a:schemeClr val="bg1"/>
                    </a:solidFill>
                  </a:rPr>
                  <a:t>Best-in-Class </a:t>
                </a:r>
              </a:p>
              <a:p>
                <a:pPr algn="ctr"/>
                <a:r>
                  <a:rPr lang="en-GB" sz="1050" b="1">
                    <a:solidFill>
                      <a:schemeClr val="bg1"/>
                    </a:solidFill>
                  </a:rPr>
                  <a:t>Profitability</a:t>
                </a:r>
              </a:p>
            </p:txBody>
          </p:sp>
        </p:grpSp>
        <p:grpSp>
          <p:nvGrpSpPr>
            <p:cNvPr id="38" name="Group 37">
              <a:extLst>
                <a:ext uri="{FF2B5EF4-FFF2-40B4-BE49-F238E27FC236}">
                  <a16:creationId xmlns:a16="http://schemas.microsoft.com/office/drawing/2014/main" id="{8C3BF753-D76E-47D4-1457-F2E6125E8B80}"/>
                </a:ext>
              </a:extLst>
            </p:cNvPr>
            <p:cNvGrpSpPr/>
            <p:nvPr/>
          </p:nvGrpSpPr>
          <p:grpSpPr>
            <a:xfrm>
              <a:off x="537901" y="2949296"/>
              <a:ext cx="1828797" cy="956188"/>
              <a:chOff x="4824410" y="1716165"/>
              <a:chExt cx="2785860" cy="956188"/>
            </a:xfrm>
            <a:effectLst>
              <a:outerShdw blurRad="50800" dist="38100" dir="2700000" algn="tl" rotWithShape="0">
                <a:prstClr val="black">
                  <a:alpha val="40000"/>
                </a:prstClr>
              </a:outerShdw>
            </a:effectLst>
          </p:grpSpPr>
          <p:sp>
            <p:nvSpPr>
              <p:cNvPr id="11" name="Rectangle: Rounded Corners 10">
                <a:extLst>
                  <a:ext uri="{FF2B5EF4-FFF2-40B4-BE49-F238E27FC236}">
                    <a16:creationId xmlns:a16="http://schemas.microsoft.com/office/drawing/2014/main" id="{05D82B3D-E529-0AFB-61C8-3E9227D335F0}"/>
                  </a:ext>
                </a:extLst>
              </p:cNvPr>
              <p:cNvSpPr/>
              <p:nvPr/>
            </p:nvSpPr>
            <p:spPr>
              <a:xfrm>
                <a:off x="4824413" y="1716165"/>
                <a:ext cx="2785857" cy="956188"/>
              </a:xfrm>
              <a:prstGeom prst="roundRect">
                <a:avLst/>
              </a:pr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b="1">
                  <a:solidFill>
                    <a:schemeClr val="bg1"/>
                  </a:solidFill>
                </a:endParaRPr>
              </a:p>
            </p:txBody>
          </p:sp>
          <p:sp>
            <p:nvSpPr>
              <p:cNvPr id="12" name="TextBox 11">
                <a:extLst>
                  <a:ext uri="{FF2B5EF4-FFF2-40B4-BE49-F238E27FC236}">
                    <a16:creationId xmlns:a16="http://schemas.microsoft.com/office/drawing/2014/main" id="{4CD30912-2F16-DB53-2293-708E64889FBC}"/>
                  </a:ext>
                </a:extLst>
              </p:cNvPr>
              <p:cNvSpPr txBox="1"/>
              <p:nvPr/>
            </p:nvSpPr>
            <p:spPr>
              <a:xfrm>
                <a:off x="4824410" y="1905719"/>
                <a:ext cx="2785858" cy="577081"/>
              </a:xfrm>
              <a:prstGeom prst="rect">
                <a:avLst/>
              </a:prstGeom>
              <a:noFill/>
            </p:spPr>
            <p:txBody>
              <a:bodyPr wrap="square" rtlCol="0">
                <a:spAutoFit/>
              </a:bodyPr>
              <a:lstStyle/>
              <a:p>
                <a:pPr algn="ctr"/>
                <a:r>
                  <a:rPr lang="en-GB" sz="1050" b="1">
                    <a:solidFill>
                      <a:schemeClr val="bg1"/>
                    </a:solidFill>
                  </a:rPr>
                  <a:t>Make </a:t>
                </a:r>
              </a:p>
              <a:p>
                <a:pPr algn="ctr"/>
                <a:r>
                  <a:rPr lang="en-GB" sz="1050" b="1">
                    <a:solidFill>
                      <a:schemeClr val="bg1"/>
                    </a:solidFill>
                  </a:rPr>
                  <a:t>Vallourec </a:t>
                </a:r>
              </a:p>
              <a:p>
                <a:pPr algn="ctr"/>
                <a:r>
                  <a:rPr lang="en-GB" sz="1050" b="1">
                    <a:solidFill>
                      <a:schemeClr val="bg1"/>
                    </a:solidFill>
                  </a:rPr>
                  <a:t>Cycle-Proof</a:t>
                </a:r>
              </a:p>
            </p:txBody>
          </p:sp>
        </p:grpSp>
        <p:sp>
          <p:nvSpPr>
            <p:cNvPr id="35" name="TextBox 34">
              <a:extLst>
                <a:ext uri="{FF2B5EF4-FFF2-40B4-BE49-F238E27FC236}">
                  <a16:creationId xmlns:a16="http://schemas.microsoft.com/office/drawing/2014/main" id="{8B6C96B2-E440-9CF2-9270-7DD6246AEA16}"/>
                </a:ext>
              </a:extLst>
            </p:cNvPr>
            <p:cNvSpPr txBox="1"/>
            <p:nvPr/>
          </p:nvSpPr>
          <p:spPr>
            <a:xfrm>
              <a:off x="537902" y="1186988"/>
              <a:ext cx="1828800" cy="510778"/>
            </a:xfrm>
            <a:prstGeom prst="roundRect">
              <a:avLst/>
            </a:prstGeom>
            <a:solidFill>
              <a:schemeClr val="accent1"/>
            </a:solidFill>
            <a:effectLst>
              <a:outerShdw blurRad="50800" dist="38100" dir="2700000" algn="tl" rotWithShape="0">
                <a:prstClr val="black">
                  <a:alpha val="40000"/>
                </a:prstClr>
              </a:outerShdw>
            </a:effectLst>
          </p:spPr>
          <p:txBody>
            <a:bodyPr wrap="square" lIns="0" rIns="0" rtlCol="0" anchor="ctr" anchorCtr="0">
              <a:spAutoFit/>
            </a:bodyPr>
            <a:lstStyle/>
            <a:p>
              <a:pPr algn="ctr"/>
              <a:r>
                <a:rPr lang="en-GB" sz="1200" b="1">
                  <a:solidFill>
                    <a:srgbClr val="FFFFFF"/>
                  </a:solidFill>
                </a:rPr>
                <a:t>Primary </a:t>
              </a:r>
            </a:p>
            <a:p>
              <a:pPr algn="ctr"/>
              <a:r>
                <a:rPr lang="en-GB" sz="1200" b="1">
                  <a:solidFill>
                    <a:srgbClr val="FFFFFF"/>
                  </a:solidFill>
                </a:rPr>
                <a:t>Strategic Goals</a:t>
              </a:r>
            </a:p>
          </p:txBody>
        </p:sp>
      </p:grpSp>
      <p:grpSp>
        <p:nvGrpSpPr>
          <p:cNvPr id="68" name="Group 67">
            <a:extLst>
              <a:ext uri="{FF2B5EF4-FFF2-40B4-BE49-F238E27FC236}">
                <a16:creationId xmlns:a16="http://schemas.microsoft.com/office/drawing/2014/main" id="{67738948-698B-6A6F-6AB9-C3FB7FE77C58}"/>
              </a:ext>
            </a:extLst>
          </p:cNvPr>
          <p:cNvGrpSpPr/>
          <p:nvPr/>
        </p:nvGrpSpPr>
        <p:grpSpPr>
          <a:xfrm>
            <a:off x="4891073" y="1582276"/>
            <a:ext cx="1828803" cy="2728250"/>
            <a:chOff x="2754998" y="1186988"/>
            <a:chExt cx="1828803" cy="2728250"/>
          </a:xfrm>
        </p:grpSpPr>
        <p:sp>
          <p:nvSpPr>
            <p:cNvPr id="3" name="Rectangle: Rounded Corners 2">
              <a:extLst>
                <a:ext uri="{FF2B5EF4-FFF2-40B4-BE49-F238E27FC236}">
                  <a16:creationId xmlns:a16="http://schemas.microsoft.com/office/drawing/2014/main" id="{F4C3AC24-8AD9-5AEB-7433-DEA7662328D6}"/>
                </a:ext>
              </a:extLst>
            </p:cNvPr>
            <p:cNvSpPr/>
            <p:nvPr/>
          </p:nvSpPr>
          <p:spPr>
            <a:xfrm>
              <a:off x="2754999" y="1869200"/>
              <a:ext cx="1828802" cy="589157"/>
            </a:xfrm>
            <a:prstGeom prst="roundRect">
              <a:avLst/>
            </a:prstGeom>
            <a:solidFill>
              <a:schemeClr val="accent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bg1"/>
                  </a:solidFill>
                </a:rPr>
                <a:t>Realigning Our </a:t>
              </a:r>
            </a:p>
            <a:p>
              <a:pPr algn="ctr"/>
              <a:r>
                <a:rPr lang="en-US" sz="1050" b="1">
                  <a:solidFill>
                    <a:schemeClr val="bg1"/>
                  </a:solidFill>
                </a:rPr>
                <a:t>Industrial Footprint</a:t>
              </a:r>
            </a:p>
          </p:txBody>
        </p:sp>
        <p:sp>
          <p:nvSpPr>
            <p:cNvPr id="21" name="Rectangle: Rounded Corners 20">
              <a:extLst>
                <a:ext uri="{FF2B5EF4-FFF2-40B4-BE49-F238E27FC236}">
                  <a16:creationId xmlns:a16="http://schemas.microsoft.com/office/drawing/2014/main" id="{DB35BDC0-D06D-0AAC-7CD2-24834DD02674}"/>
                </a:ext>
              </a:extLst>
            </p:cNvPr>
            <p:cNvSpPr/>
            <p:nvPr/>
          </p:nvSpPr>
          <p:spPr>
            <a:xfrm>
              <a:off x="2754999" y="2598512"/>
              <a:ext cx="1828802" cy="589157"/>
            </a:xfrm>
            <a:prstGeom prst="roundRect">
              <a:avLst/>
            </a:prstGeom>
            <a:solidFill>
              <a:schemeClr val="accent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bg1"/>
                  </a:solidFill>
                </a:rPr>
                <a:t>Emphasizing </a:t>
              </a:r>
            </a:p>
            <a:p>
              <a:pPr algn="ctr"/>
              <a:r>
                <a:rPr lang="en-US" sz="1050" b="1">
                  <a:solidFill>
                    <a:schemeClr val="bg1"/>
                  </a:solidFill>
                </a:rPr>
                <a:t>Value over Volume</a:t>
              </a:r>
            </a:p>
          </p:txBody>
        </p:sp>
        <p:sp>
          <p:nvSpPr>
            <p:cNvPr id="22" name="Rectangle: Rounded Corners 21">
              <a:extLst>
                <a:ext uri="{FF2B5EF4-FFF2-40B4-BE49-F238E27FC236}">
                  <a16:creationId xmlns:a16="http://schemas.microsoft.com/office/drawing/2014/main" id="{6FF519A8-48BC-CC82-D4B7-1CF82E44CF42}"/>
                </a:ext>
              </a:extLst>
            </p:cNvPr>
            <p:cNvSpPr/>
            <p:nvPr/>
          </p:nvSpPr>
          <p:spPr>
            <a:xfrm>
              <a:off x="2754998" y="3326081"/>
              <a:ext cx="1828802" cy="589157"/>
            </a:xfrm>
            <a:prstGeom prst="roundRect">
              <a:avLst/>
            </a:prstGeom>
            <a:solidFill>
              <a:schemeClr val="accent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bg1"/>
                  </a:solidFill>
                </a:rPr>
                <a:t>Improving Our </a:t>
              </a:r>
            </a:p>
            <a:p>
              <a:pPr algn="ctr"/>
              <a:r>
                <a:rPr lang="en-US" sz="1050" b="1">
                  <a:solidFill>
                    <a:schemeClr val="bg1"/>
                  </a:solidFill>
                </a:rPr>
                <a:t>Pricing Strategy</a:t>
              </a:r>
            </a:p>
          </p:txBody>
        </p:sp>
        <p:sp>
          <p:nvSpPr>
            <p:cNvPr id="15" name="TextBox 14">
              <a:extLst>
                <a:ext uri="{FF2B5EF4-FFF2-40B4-BE49-F238E27FC236}">
                  <a16:creationId xmlns:a16="http://schemas.microsoft.com/office/drawing/2014/main" id="{6F883545-A45B-5E9E-750F-027404E7EFFC}"/>
                </a:ext>
              </a:extLst>
            </p:cNvPr>
            <p:cNvSpPr txBox="1"/>
            <p:nvPr/>
          </p:nvSpPr>
          <p:spPr>
            <a:xfrm>
              <a:off x="2755000" y="1186988"/>
              <a:ext cx="1828800" cy="510778"/>
            </a:xfrm>
            <a:prstGeom prst="roundRect">
              <a:avLst/>
            </a:prstGeom>
            <a:solidFill>
              <a:schemeClr val="accent2"/>
            </a:solidFill>
            <a:effectLst>
              <a:outerShdw blurRad="50800" dist="38100" dir="2700000" algn="tl" rotWithShape="0">
                <a:prstClr val="black">
                  <a:alpha val="40000"/>
                </a:prstClr>
              </a:outerShdw>
            </a:effectLst>
          </p:spPr>
          <p:txBody>
            <a:bodyPr wrap="square" lIns="0" rIns="0" rtlCol="0" anchor="ctr" anchorCtr="0">
              <a:spAutoFit/>
            </a:bodyPr>
            <a:lstStyle/>
            <a:p>
              <a:pPr algn="ctr"/>
              <a:r>
                <a:rPr lang="en-GB" sz="1200" b="1">
                  <a:solidFill>
                    <a:srgbClr val="FFFFFF"/>
                  </a:solidFill>
                </a:rPr>
                <a:t>Operational</a:t>
              </a:r>
            </a:p>
            <a:p>
              <a:pPr algn="ctr"/>
              <a:r>
                <a:rPr lang="en-GB" sz="1200" b="1">
                  <a:solidFill>
                    <a:srgbClr val="FFFFFF"/>
                  </a:solidFill>
                </a:rPr>
                <a:t>Initiatives</a:t>
              </a:r>
            </a:p>
          </p:txBody>
        </p:sp>
      </p:grpSp>
      <p:grpSp>
        <p:nvGrpSpPr>
          <p:cNvPr id="69" name="Group 68">
            <a:extLst>
              <a:ext uri="{FF2B5EF4-FFF2-40B4-BE49-F238E27FC236}">
                <a16:creationId xmlns:a16="http://schemas.microsoft.com/office/drawing/2014/main" id="{F9CC8498-5D17-1404-C27C-53016B0ACFE3}"/>
              </a:ext>
            </a:extLst>
          </p:cNvPr>
          <p:cNvGrpSpPr/>
          <p:nvPr/>
        </p:nvGrpSpPr>
        <p:grpSpPr>
          <a:xfrm>
            <a:off x="6909398" y="1582277"/>
            <a:ext cx="1828836" cy="2746389"/>
            <a:chOff x="4904554" y="1186988"/>
            <a:chExt cx="1828836" cy="2746389"/>
          </a:xfrm>
        </p:grpSpPr>
        <p:sp>
          <p:nvSpPr>
            <p:cNvPr id="48" name="Rectangle: Rounded Corners 47">
              <a:extLst>
                <a:ext uri="{FF2B5EF4-FFF2-40B4-BE49-F238E27FC236}">
                  <a16:creationId xmlns:a16="http://schemas.microsoft.com/office/drawing/2014/main" id="{390A841B-2EE1-538E-836F-91F6F676F573}"/>
                </a:ext>
              </a:extLst>
            </p:cNvPr>
            <p:cNvSpPr/>
            <p:nvPr/>
          </p:nvSpPr>
          <p:spPr>
            <a:xfrm>
              <a:off x="4904554" y="1858664"/>
              <a:ext cx="1828802" cy="960120"/>
            </a:xfrm>
            <a:prstGeom prst="roundRect">
              <a:avLst/>
            </a:prstGeom>
            <a:solidFill>
              <a:schemeClr val="accent4"/>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bg1"/>
                  </a:solidFill>
                </a:rPr>
                <a:t>Reshaping Our Management Team</a:t>
              </a:r>
            </a:p>
          </p:txBody>
        </p:sp>
        <p:sp>
          <p:nvSpPr>
            <p:cNvPr id="50" name="Rectangle: Rounded Corners 49">
              <a:extLst>
                <a:ext uri="{FF2B5EF4-FFF2-40B4-BE49-F238E27FC236}">
                  <a16:creationId xmlns:a16="http://schemas.microsoft.com/office/drawing/2014/main" id="{D155CE57-1438-21FA-0AFD-2D6879750D3B}"/>
                </a:ext>
              </a:extLst>
            </p:cNvPr>
            <p:cNvSpPr/>
            <p:nvPr/>
          </p:nvSpPr>
          <p:spPr>
            <a:xfrm>
              <a:off x="4904555" y="2973257"/>
              <a:ext cx="1828802" cy="960120"/>
            </a:xfrm>
            <a:prstGeom prst="roundRect">
              <a:avLst/>
            </a:prstGeom>
            <a:solidFill>
              <a:schemeClr val="accent4"/>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bg1"/>
                  </a:solidFill>
                </a:rPr>
                <a:t>Setting </a:t>
              </a:r>
            </a:p>
            <a:p>
              <a:pPr algn="ctr"/>
              <a:r>
                <a:rPr lang="en-US" sz="1050" b="1">
                  <a:solidFill>
                    <a:schemeClr val="bg1"/>
                  </a:solidFill>
                </a:rPr>
                <a:t>Ambitious </a:t>
              </a:r>
            </a:p>
            <a:p>
              <a:pPr algn="ctr"/>
              <a:r>
                <a:rPr lang="en-US" sz="1050" b="1">
                  <a:solidFill>
                    <a:schemeClr val="bg1"/>
                  </a:solidFill>
                </a:rPr>
                <a:t>ESG Targets</a:t>
              </a:r>
            </a:p>
          </p:txBody>
        </p:sp>
        <p:sp>
          <p:nvSpPr>
            <p:cNvPr id="16" name="TextBox 15">
              <a:extLst>
                <a:ext uri="{FF2B5EF4-FFF2-40B4-BE49-F238E27FC236}">
                  <a16:creationId xmlns:a16="http://schemas.microsoft.com/office/drawing/2014/main" id="{E52F5CA6-6CA3-2AEE-7728-C132825C2164}"/>
                </a:ext>
              </a:extLst>
            </p:cNvPr>
            <p:cNvSpPr txBox="1"/>
            <p:nvPr/>
          </p:nvSpPr>
          <p:spPr>
            <a:xfrm>
              <a:off x="4904590" y="1186988"/>
              <a:ext cx="1828800" cy="510778"/>
            </a:xfrm>
            <a:prstGeom prst="roundRect">
              <a:avLst/>
            </a:prstGeom>
            <a:solidFill>
              <a:schemeClr val="accent4"/>
            </a:solidFill>
            <a:effectLst>
              <a:outerShdw blurRad="50800" dist="38100" dir="2700000" algn="tl" rotWithShape="0">
                <a:prstClr val="black">
                  <a:alpha val="40000"/>
                </a:prstClr>
              </a:outerShdw>
            </a:effectLst>
          </p:spPr>
          <p:txBody>
            <a:bodyPr wrap="square" lIns="0" rIns="0" rtlCol="0" anchor="ctr" anchorCtr="0">
              <a:spAutoFit/>
            </a:bodyPr>
            <a:lstStyle/>
            <a:p>
              <a:pPr algn="ctr"/>
              <a:r>
                <a:rPr lang="en-GB" sz="1200" b="1">
                  <a:solidFill>
                    <a:srgbClr val="FFFFFF"/>
                  </a:solidFill>
                </a:rPr>
                <a:t>Governance Improvements</a:t>
              </a:r>
            </a:p>
          </p:txBody>
        </p:sp>
      </p:grpSp>
      <p:sp>
        <p:nvSpPr>
          <p:cNvPr id="61" name="TextBox 60">
            <a:extLst>
              <a:ext uri="{FF2B5EF4-FFF2-40B4-BE49-F238E27FC236}">
                <a16:creationId xmlns:a16="http://schemas.microsoft.com/office/drawing/2014/main" id="{9C19C9EA-8FA1-9453-2985-AEA46ECB7457}"/>
              </a:ext>
            </a:extLst>
          </p:cNvPr>
          <p:cNvSpPr txBox="1"/>
          <p:nvPr/>
        </p:nvSpPr>
        <p:spPr>
          <a:xfrm>
            <a:off x="2551639" y="1582276"/>
            <a:ext cx="1828800" cy="510778"/>
          </a:xfrm>
          <a:prstGeom prst="roundRect">
            <a:avLst/>
          </a:prstGeom>
          <a:solidFill>
            <a:schemeClr val="accent3"/>
          </a:solidFill>
          <a:effectLst>
            <a:outerShdw blurRad="50800" dist="38100" dir="2700000" algn="tl" rotWithShape="0">
              <a:prstClr val="black">
                <a:alpha val="40000"/>
              </a:prstClr>
            </a:outerShdw>
          </a:effectLst>
        </p:spPr>
        <p:txBody>
          <a:bodyPr wrap="square" lIns="0" rIns="0" rtlCol="0" anchor="ctr" anchorCtr="0">
            <a:spAutoFit/>
          </a:bodyPr>
          <a:lstStyle/>
          <a:p>
            <a:pPr algn="ctr"/>
            <a:r>
              <a:rPr lang="en-GB" sz="1200" b="1">
                <a:solidFill>
                  <a:srgbClr val="FFFFFF"/>
                </a:solidFill>
              </a:rPr>
              <a:t>Financial</a:t>
            </a:r>
          </a:p>
          <a:p>
            <a:pPr algn="ctr"/>
            <a:r>
              <a:rPr lang="en-GB" sz="1200" b="1">
                <a:solidFill>
                  <a:srgbClr val="FFFFFF"/>
                </a:solidFill>
              </a:rPr>
              <a:t>Targets</a:t>
            </a:r>
          </a:p>
        </p:txBody>
      </p:sp>
      <p:sp>
        <p:nvSpPr>
          <p:cNvPr id="72" name="TextBox 71">
            <a:extLst>
              <a:ext uri="{FF2B5EF4-FFF2-40B4-BE49-F238E27FC236}">
                <a16:creationId xmlns:a16="http://schemas.microsoft.com/office/drawing/2014/main" id="{8AF32B76-27F0-C87D-B498-4F4F7F8598A3}"/>
              </a:ext>
            </a:extLst>
          </p:cNvPr>
          <p:cNvSpPr txBox="1"/>
          <p:nvPr/>
        </p:nvSpPr>
        <p:spPr>
          <a:xfrm>
            <a:off x="537901" y="1101012"/>
            <a:ext cx="3847122" cy="306467"/>
          </a:xfrm>
          <a:prstGeom prst="roundRect">
            <a:avLst/>
          </a:prstGeom>
          <a:solidFill>
            <a:schemeClr val="bg1"/>
          </a:solidFill>
          <a:effectLst>
            <a:outerShdw blurRad="50800" dist="38100" dir="2700000" algn="tl" rotWithShape="0">
              <a:prstClr val="black">
                <a:alpha val="40000"/>
              </a:prstClr>
            </a:outerShdw>
          </a:effectLst>
        </p:spPr>
        <p:txBody>
          <a:bodyPr wrap="square" lIns="0" rIns="0" rtlCol="0" anchor="ctr" anchorCtr="0">
            <a:spAutoFit/>
          </a:bodyPr>
          <a:lstStyle/>
          <a:p>
            <a:pPr algn="ctr"/>
            <a:r>
              <a:rPr lang="en-GB" sz="1200" b="1"/>
              <a:t>Key Objectives</a:t>
            </a:r>
          </a:p>
        </p:txBody>
      </p:sp>
      <p:sp>
        <p:nvSpPr>
          <p:cNvPr id="73" name="TextBox 72">
            <a:extLst>
              <a:ext uri="{FF2B5EF4-FFF2-40B4-BE49-F238E27FC236}">
                <a16:creationId xmlns:a16="http://schemas.microsoft.com/office/drawing/2014/main" id="{8CAFE888-DC07-E04F-B088-62AA3D0D93B5}"/>
              </a:ext>
            </a:extLst>
          </p:cNvPr>
          <p:cNvSpPr txBox="1"/>
          <p:nvPr/>
        </p:nvSpPr>
        <p:spPr>
          <a:xfrm>
            <a:off x="4891074" y="1101012"/>
            <a:ext cx="3847122" cy="306467"/>
          </a:xfrm>
          <a:prstGeom prst="roundRect">
            <a:avLst/>
          </a:prstGeom>
          <a:solidFill>
            <a:schemeClr val="bg1"/>
          </a:solidFill>
          <a:effectLst>
            <a:outerShdw blurRad="50800" dist="38100" dir="2700000" algn="tl" rotWithShape="0">
              <a:prstClr val="black">
                <a:alpha val="40000"/>
              </a:prstClr>
            </a:outerShdw>
          </a:effectLst>
        </p:spPr>
        <p:txBody>
          <a:bodyPr wrap="square" lIns="0" rIns="0" rtlCol="0" anchor="ctr" anchorCtr="0">
            <a:spAutoFit/>
          </a:bodyPr>
          <a:lstStyle/>
          <a:p>
            <a:pPr algn="ctr"/>
            <a:r>
              <a:rPr lang="en-GB" sz="1200" b="1"/>
              <a:t>Tools Utilized </a:t>
            </a:r>
          </a:p>
        </p:txBody>
      </p:sp>
      <p:sp>
        <p:nvSpPr>
          <p:cNvPr id="8" name="Rectangle: Rounded Corners 7">
            <a:extLst>
              <a:ext uri="{FF2B5EF4-FFF2-40B4-BE49-F238E27FC236}">
                <a16:creationId xmlns:a16="http://schemas.microsoft.com/office/drawing/2014/main" id="{5A87710E-F545-573A-000C-1567B854F9F2}"/>
              </a:ext>
            </a:extLst>
          </p:cNvPr>
          <p:cNvSpPr/>
          <p:nvPr/>
        </p:nvSpPr>
        <p:spPr>
          <a:xfrm>
            <a:off x="2547040" y="2231599"/>
            <a:ext cx="1838001" cy="41148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50" b="1">
                <a:solidFill>
                  <a:schemeClr val="bg1"/>
                </a:solidFill>
              </a:rPr>
              <a:t>€230m EBITDA / €250m FCF Improvement</a:t>
            </a:r>
            <a:r>
              <a:rPr lang="en-US" sz="950" b="1" baseline="30000">
                <a:solidFill>
                  <a:schemeClr val="bg1"/>
                </a:solidFill>
              </a:rPr>
              <a:t>1</a:t>
            </a:r>
          </a:p>
        </p:txBody>
      </p:sp>
      <p:sp>
        <p:nvSpPr>
          <p:cNvPr id="17" name="Rectangle: Rounded Corners 16">
            <a:extLst>
              <a:ext uri="{FF2B5EF4-FFF2-40B4-BE49-F238E27FC236}">
                <a16:creationId xmlns:a16="http://schemas.microsoft.com/office/drawing/2014/main" id="{02297FDF-951B-A7B9-5885-3C7D9B9A64D0}"/>
              </a:ext>
            </a:extLst>
          </p:cNvPr>
          <p:cNvSpPr/>
          <p:nvPr/>
        </p:nvSpPr>
        <p:spPr>
          <a:xfrm>
            <a:off x="2547039" y="3344584"/>
            <a:ext cx="1838000" cy="41148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50" b="1">
                <a:solidFill>
                  <a:schemeClr val="bg1"/>
                </a:solidFill>
              </a:rPr>
              <a:t>Positive FCF</a:t>
            </a:r>
          </a:p>
          <a:p>
            <a:pPr algn="ctr"/>
            <a:r>
              <a:rPr lang="en-US" sz="950" b="1">
                <a:solidFill>
                  <a:schemeClr val="bg1"/>
                </a:solidFill>
              </a:rPr>
              <a:t>through the Cycle</a:t>
            </a:r>
            <a:r>
              <a:rPr lang="en-US" sz="950" b="1" baseline="30000">
                <a:solidFill>
                  <a:schemeClr val="bg1"/>
                </a:solidFill>
              </a:rPr>
              <a:t>2</a:t>
            </a:r>
          </a:p>
        </p:txBody>
      </p:sp>
      <p:sp>
        <p:nvSpPr>
          <p:cNvPr id="18" name="Rectangle: Rounded Corners 17">
            <a:extLst>
              <a:ext uri="{FF2B5EF4-FFF2-40B4-BE49-F238E27FC236}">
                <a16:creationId xmlns:a16="http://schemas.microsoft.com/office/drawing/2014/main" id="{B815926D-7E89-A4A7-65D3-7ACB853012F7}"/>
              </a:ext>
            </a:extLst>
          </p:cNvPr>
          <p:cNvSpPr/>
          <p:nvPr/>
        </p:nvSpPr>
        <p:spPr>
          <a:xfrm>
            <a:off x="2547038" y="2784713"/>
            <a:ext cx="1838002" cy="41148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50" b="1">
                <a:solidFill>
                  <a:schemeClr val="bg1"/>
                </a:solidFill>
              </a:rPr>
              <a:t>Close Profitability Gap with Primary Peer</a:t>
            </a:r>
            <a:endParaRPr lang="en-US" sz="950" b="1" baseline="30000">
              <a:solidFill>
                <a:schemeClr val="bg1"/>
              </a:solidFill>
            </a:endParaRPr>
          </a:p>
        </p:txBody>
      </p:sp>
      <p:sp>
        <p:nvSpPr>
          <p:cNvPr id="19" name="Rectangle: Rounded Corners 18">
            <a:extLst>
              <a:ext uri="{FF2B5EF4-FFF2-40B4-BE49-F238E27FC236}">
                <a16:creationId xmlns:a16="http://schemas.microsoft.com/office/drawing/2014/main" id="{E33162F2-0330-74F8-3A5C-067EF7E55541}"/>
              </a:ext>
            </a:extLst>
          </p:cNvPr>
          <p:cNvSpPr/>
          <p:nvPr/>
        </p:nvSpPr>
        <p:spPr>
          <a:xfrm>
            <a:off x="2547039" y="3889292"/>
            <a:ext cx="1838000" cy="41148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50" b="1">
                <a:solidFill>
                  <a:schemeClr val="bg1"/>
                </a:solidFill>
              </a:rPr>
              <a:t>Achieve Zero Net Debt by Year-End 2025 at the Latest</a:t>
            </a:r>
          </a:p>
        </p:txBody>
      </p:sp>
      <p:sp>
        <p:nvSpPr>
          <p:cNvPr id="27" name="TextBox 26">
            <a:extLst>
              <a:ext uri="{FF2B5EF4-FFF2-40B4-BE49-F238E27FC236}">
                <a16:creationId xmlns:a16="http://schemas.microsoft.com/office/drawing/2014/main" id="{765958E3-C9AE-3534-988D-40AE94EA34F2}"/>
              </a:ext>
            </a:extLst>
          </p:cNvPr>
          <p:cNvSpPr txBox="1"/>
          <p:nvPr/>
        </p:nvSpPr>
        <p:spPr>
          <a:xfrm>
            <a:off x="457200" y="4436428"/>
            <a:ext cx="8281035" cy="195246"/>
          </a:xfrm>
          <a:prstGeom prst="rect">
            <a:avLst/>
          </a:prstGeom>
          <a:noFill/>
        </p:spPr>
        <p:txBody>
          <a:bodyPr vert="horz" wrap="square" lIns="0" tIns="0" rIns="0" bIns="0" rtlCol="0" anchor="t">
            <a:spAutoFit/>
          </a:bodyPr>
          <a:lstStyle/>
          <a:p>
            <a:pPr algn="l">
              <a:lnSpc>
                <a:spcPct val="110000"/>
              </a:lnSpc>
            </a:pPr>
            <a:r>
              <a:rPr lang="en-US" sz="600" i="1" baseline="30000">
                <a:solidFill>
                  <a:schemeClr val="tx2"/>
                </a:solidFill>
              </a:rPr>
              <a:t>1</a:t>
            </a:r>
            <a:r>
              <a:rPr lang="en-US" sz="600" i="1">
                <a:solidFill>
                  <a:schemeClr val="tx2"/>
                </a:solidFill>
              </a:rPr>
              <a:t> Measured versus 2021 baseline, consistent with New Vallourec plan announced in May 2022. Full effect expected in Q2 2024. FCF is aligned with prior definition of free cash flow.</a:t>
            </a:r>
          </a:p>
          <a:p>
            <a:pPr algn="l">
              <a:lnSpc>
                <a:spcPct val="110000"/>
              </a:lnSpc>
            </a:pPr>
            <a:r>
              <a:rPr lang="en-US" sz="600" i="1" baseline="30000">
                <a:solidFill>
                  <a:schemeClr val="tx2"/>
                </a:solidFill>
              </a:rPr>
              <a:t>2</a:t>
            </a:r>
            <a:r>
              <a:rPr lang="en-US" sz="600" i="1">
                <a:solidFill>
                  <a:schemeClr val="tx2"/>
                </a:solidFill>
              </a:rPr>
              <a:t> Aligned with prior definition of free cash flow. See “Definitions of Non-GAAP Financial Data.” Target excludes the impact of working capital.</a:t>
            </a:r>
          </a:p>
        </p:txBody>
      </p:sp>
    </p:spTree>
    <p:custDataLst>
      <p:tags r:id="rId1"/>
    </p:custDataLst>
    <p:extLst>
      <p:ext uri="{BB962C8B-B14F-4D97-AF65-F5344CB8AC3E}">
        <p14:creationId xmlns:p14="http://schemas.microsoft.com/office/powerpoint/2010/main" val="24117545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44801-1E8B-EE2E-AA2F-56B67D2EBACF}"/>
              </a:ext>
            </a:extLst>
          </p:cNvPr>
          <p:cNvSpPr>
            <a:spLocks noGrp="1"/>
          </p:cNvSpPr>
          <p:nvPr>
            <p:ph type="title"/>
          </p:nvPr>
        </p:nvSpPr>
        <p:spPr/>
        <p:txBody>
          <a:bodyPr/>
          <a:lstStyle/>
          <a:p>
            <a:r>
              <a:rPr lang="en-GB"/>
              <a:t>Significantly Reshaped Production Footprint</a:t>
            </a:r>
            <a:endParaRPr lang="en-US"/>
          </a:p>
        </p:txBody>
      </p:sp>
      <p:sp>
        <p:nvSpPr>
          <p:cNvPr id="3" name="Subtitle 2">
            <a:extLst>
              <a:ext uri="{FF2B5EF4-FFF2-40B4-BE49-F238E27FC236}">
                <a16:creationId xmlns:a16="http://schemas.microsoft.com/office/drawing/2014/main" id="{BA9C7246-2983-161D-8C8F-FF021F4EB0B3}"/>
              </a:ext>
            </a:extLst>
          </p:cNvPr>
          <p:cNvSpPr>
            <a:spLocks noGrp="1"/>
          </p:cNvSpPr>
          <p:nvPr>
            <p:ph type="subTitle" idx="10"/>
          </p:nvPr>
        </p:nvSpPr>
        <p:spPr/>
        <p:txBody>
          <a:bodyPr/>
          <a:lstStyle/>
          <a:p>
            <a:r>
              <a:rPr lang="en-US"/>
              <a:t>Changes resulting from the New Vallourec plan</a:t>
            </a:r>
          </a:p>
        </p:txBody>
      </p:sp>
      <p:sp>
        <p:nvSpPr>
          <p:cNvPr id="13" name="Oval 805">
            <a:extLst>
              <a:ext uri="{FF2B5EF4-FFF2-40B4-BE49-F238E27FC236}">
                <a16:creationId xmlns:a16="http://schemas.microsoft.com/office/drawing/2014/main" id="{238CBA62-0914-4CC3-8D58-A307296658E0}"/>
              </a:ext>
            </a:extLst>
          </p:cNvPr>
          <p:cNvSpPr/>
          <p:nvPr/>
        </p:nvSpPr>
        <p:spPr>
          <a:xfrm>
            <a:off x="7248358" y="3385596"/>
            <a:ext cx="182880" cy="182880"/>
          </a:xfrm>
          <a:prstGeom prst="ellipse">
            <a:avLst/>
          </a:prstGeom>
          <a:solidFill>
            <a:schemeClr val="bg2"/>
          </a:solidFill>
          <a:ln w="6350"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400">
              <a:defRPr/>
            </a:pPr>
            <a:endParaRPr lang="en-US" sz="700" b="1">
              <a:solidFill>
                <a:srgbClr val="FFFFFF"/>
              </a:solidFill>
              <a:latin typeface="Arial"/>
            </a:endParaRPr>
          </a:p>
        </p:txBody>
      </p:sp>
      <p:sp>
        <p:nvSpPr>
          <p:cNvPr id="14" name="TextBox 861">
            <a:extLst>
              <a:ext uri="{FF2B5EF4-FFF2-40B4-BE49-F238E27FC236}">
                <a16:creationId xmlns:a16="http://schemas.microsoft.com/office/drawing/2014/main" id="{AEB00F08-FAD3-BFDE-AF0F-D8B72A710495}"/>
              </a:ext>
            </a:extLst>
          </p:cNvPr>
          <p:cNvSpPr txBox="1"/>
          <p:nvPr/>
        </p:nvSpPr>
        <p:spPr>
          <a:xfrm>
            <a:off x="7452673" y="3361620"/>
            <a:ext cx="1043876" cy="230832"/>
          </a:xfrm>
          <a:prstGeom prst="rect">
            <a:avLst/>
          </a:prstGeom>
          <a:noFill/>
        </p:spPr>
        <p:txBody>
          <a:bodyPr wrap="none" rtlCol="0">
            <a:spAutoFit/>
          </a:bodyPr>
          <a:lstStyle/>
          <a:p>
            <a:r>
              <a:rPr lang="en-US" sz="900" b="1" dirty="0">
                <a:solidFill>
                  <a:schemeClr val="bg2"/>
                </a:solidFill>
              </a:rPr>
              <a:t>Fully Integrated</a:t>
            </a:r>
            <a:endParaRPr lang="en-US" sz="900" b="1" baseline="30000" dirty="0">
              <a:solidFill>
                <a:schemeClr val="bg2"/>
              </a:solidFill>
            </a:endParaRPr>
          </a:p>
        </p:txBody>
      </p:sp>
      <p:sp>
        <p:nvSpPr>
          <p:cNvPr id="15" name="Oval 805">
            <a:extLst>
              <a:ext uri="{FF2B5EF4-FFF2-40B4-BE49-F238E27FC236}">
                <a16:creationId xmlns:a16="http://schemas.microsoft.com/office/drawing/2014/main" id="{C9DDCD18-34C2-2F3D-B811-4CE2980BC5A0}"/>
              </a:ext>
            </a:extLst>
          </p:cNvPr>
          <p:cNvSpPr/>
          <p:nvPr/>
        </p:nvSpPr>
        <p:spPr>
          <a:xfrm>
            <a:off x="7248358" y="4002124"/>
            <a:ext cx="182880" cy="182880"/>
          </a:xfrm>
          <a:prstGeom prst="ellipse">
            <a:avLst/>
          </a:prstGeom>
          <a:solidFill>
            <a:schemeClr val="accent3"/>
          </a:solidFill>
          <a:ln w="6350"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400">
              <a:defRPr/>
            </a:pPr>
            <a:endParaRPr lang="en-US" sz="700" b="1">
              <a:solidFill>
                <a:srgbClr val="FFFFFF"/>
              </a:solidFill>
              <a:latin typeface="Arial"/>
            </a:endParaRPr>
          </a:p>
        </p:txBody>
      </p:sp>
      <p:sp>
        <p:nvSpPr>
          <p:cNvPr id="16" name="TextBox 861">
            <a:extLst>
              <a:ext uri="{FF2B5EF4-FFF2-40B4-BE49-F238E27FC236}">
                <a16:creationId xmlns:a16="http://schemas.microsoft.com/office/drawing/2014/main" id="{672BBCBA-99FC-7D9E-F350-662A060106AC}"/>
              </a:ext>
            </a:extLst>
          </p:cNvPr>
          <p:cNvSpPr txBox="1"/>
          <p:nvPr/>
        </p:nvSpPr>
        <p:spPr>
          <a:xfrm>
            <a:off x="7452673" y="3978148"/>
            <a:ext cx="986167" cy="230832"/>
          </a:xfrm>
          <a:prstGeom prst="rect">
            <a:avLst/>
          </a:prstGeom>
          <a:noFill/>
        </p:spPr>
        <p:txBody>
          <a:bodyPr wrap="none" rtlCol="0">
            <a:spAutoFit/>
          </a:bodyPr>
          <a:lstStyle/>
          <a:p>
            <a:r>
              <a:rPr lang="en-US" sz="900" b="1" dirty="0">
                <a:solidFill>
                  <a:schemeClr val="accent3"/>
                </a:solidFill>
              </a:rPr>
              <a:t>Finishing Only</a:t>
            </a:r>
          </a:p>
        </p:txBody>
      </p:sp>
      <p:sp>
        <p:nvSpPr>
          <p:cNvPr id="18" name="Oval 805">
            <a:extLst>
              <a:ext uri="{FF2B5EF4-FFF2-40B4-BE49-F238E27FC236}">
                <a16:creationId xmlns:a16="http://schemas.microsoft.com/office/drawing/2014/main" id="{D4E85861-4F64-AC72-AABE-E9D5DE7E3C07}"/>
              </a:ext>
            </a:extLst>
          </p:cNvPr>
          <p:cNvSpPr/>
          <p:nvPr/>
        </p:nvSpPr>
        <p:spPr>
          <a:xfrm>
            <a:off x="7248358" y="3691302"/>
            <a:ext cx="182880" cy="182880"/>
          </a:xfrm>
          <a:prstGeom prst="ellipse">
            <a:avLst/>
          </a:prstGeom>
          <a:solidFill>
            <a:schemeClr val="accent4"/>
          </a:solidFill>
          <a:ln w="6350"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914400">
              <a:defRPr/>
            </a:pPr>
            <a:endParaRPr lang="en-US" sz="700" b="1">
              <a:solidFill>
                <a:srgbClr val="FFFFFF"/>
              </a:solidFill>
              <a:latin typeface="Arial"/>
            </a:endParaRPr>
          </a:p>
        </p:txBody>
      </p:sp>
      <p:sp>
        <p:nvSpPr>
          <p:cNvPr id="19" name="TextBox 861">
            <a:extLst>
              <a:ext uri="{FF2B5EF4-FFF2-40B4-BE49-F238E27FC236}">
                <a16:creationId xmlns:a16="http://schemas.microsoft.com/office/drawing/2014/main" id="{8968039C-4035-DD82-E060-4441026F7032}"/>
              </a:ext>
            </a:extLst>
          </p:cNvPr>
          <p:cNvSpPr txBox="1"/>
          <p:nvPr/>
        </p:nvSpPr>
        <p:spPr>
          <a:xfrm>
            <a:off x="7452673" y="3669884"/>
            <a:ext cx="1236236" cy="230832"/>
          </a:xfrm>
          <a:prstGeom prst="rect">
            <a:avLst/>
          </a:prstGeom>
          <a:noFill/>
        </p:spPr>
        <p:txBody>
          <a:bodyPr wrap="none" rtlCol="0">
            <a:spAutoFit/>
          </a:bodyPr>
          <a:lstStyle/>
          <a:p>
            <a:r>
              <a:rPr lang="en-US" sz="900" b="1" dirty="0">
                <a:solidFill>
                  <a:schemeClr val="accent4"/>
                </a:solidFill>
              </a:rPr>
              <a:t>Rolling &amp; Finishing</a:t>
            </a:r>
          </a:p>
        </p:txBody>
      </p:sp>
      <p:sp>
        <p:nvSpPr>
          <p:cNvPr id="5" name="TextBox 4">
            <a:extLst>
              <a:ext uri="{FF2B5EF4-FFF2-40B4-BE49-F238E27FC236}">
                <a16:creationId xmlns:a16="http://schemas.microsoft.com/office/drawing/2014/main" id="{74C869F4-FC85-4118-6FEE-92BEC1131610}"/>
              </a:ext>
            </a:extLst>
          </p:cNvPr>
          <p:cNvSpPr txBox="1"/>
          <p:nvPr/>
        </p:nvSpPr>
        <p:spPr>
          <a:xfrm>
            <a:off x="472555" y="4557884"/>
            <a:ext cx="8281035" cy="93680"/>
          </a:xfrm>
          <a:prstGeom prst="rect">
            <a:avLst/>
          </a:prstGeom>
          <a:noFill/>
        </p:spPr>
        <p:txBody>
          <a:bodyPr vert="horz" wrap="square" lIns="0" tIns="0" rIns="0" bIns="0" rtlCol="0" anchor="t">
            <a:spAutoFit/>
          </a:bodyPr>
          <a:lstStyle/>
          <a:p>
            <a:pPr algn="l">
              <a:lnSpc>
                <a:spcPct val="110000"/>
              </a:lnSpc>
            </a:pPr>
            <a:r>
              <a:rPr lang="en-US" sz="600" i="1" dirty="0">
                <a:solidFill>
                  <a:schemeClr val="tx2"/>
                </a:solidFill>
              </a:rPr>
              <a:t>Note: Product flow arrows represent finished product sales, but do not account for intermediate flows to local finishing capacity. </a:t>
            </a:r>
            <a:r>
              <a:rPr lang="en-US" sz="600" i="1" dirty="0" err="1">
                <a:solidFill>
                  <a:schemeClr val="tx2"/>
                </a:solidFill>
              </a:rPr>
              <a:t>Aulnoye</a:t>
            </a:r>
            <a:r>
              <a:rPr lang="en-US" sz="600" i="1" dirty="0">
                <a:solidFill>
                  <a:schemeClr val="tx2"/>
                </a:solidFill>
              </a:rPr>
              <a:t> Forge not included as “rolling &amp; finishing” in diagram.</a:t>
            </a:r>
          </a:p>
        </p:txBody>
      </p:sp>
      <p:sp>
        <p:nvSpPr>
          <p:cNvPr id="1216" name="Freeform 165">
            <a:extLst>
              <a:ext uri="{FF2B5EF4-FFF2-40B4-BE49-F238E27FC236}">
                <a16:creationId xmlns:a16="http://schemas.microsoft.com/office/drawing/2014/main" id="{5C42EDE4-7188-8446-AC59-606A7ECB93B6}"/>
              </a:ext>
            </a:extLst>
          </p:cNvPr>
          <p:cNvSpPr>
            <a:spLocks noEditPoints="1"/>
          </p:cNvSpPr>
          <p:nvPr/>
        </p:nvSpPr>
        <p:spPr bwMode="auto">
          <a:xfrm>
            <a:off x="1330084" y="1317566"/>
            <a:ext cx="5833660" cy="3181415"/>
          </a:xfrm>
          <a:custGeom>
            <a:avLst/>
            <a:gdLst>
              <a:gd name="T0" fmla="*/ 1179 w 4564"/>
              <a:gd name="T1" fmla="*/ 1421 h 2489"/>
              <a:gd name="T2" fmla="*/ 838 w 4564"/>
              <a:gd name="T3" fmla="*/ 1281 h 2489"/>
              <a:gd name="T4" fmla="*/ 1001 w 4564"/>
              <a:gd name="T5" fmla="*/ 1184 h 2489"/>
              <a:gd name="T6" fmla="*/ 1298 w 4564"/>
              <a:gd name="T7" fmla="*/ 753 h 2489"/>
              <a:gd name="T8" fmla="*/ 1011 w 4564"/>
              <a:gd name="T9" fmla="*/ 670 h 2489"/>
              <a:gd name="T10" fmla="*/ 953 w 4564"/>
              <a:gd name="T11" fmla="*/ 314 h 2489"/>
              <a:gd name="T12" fmla="*/ 268 w 4564"/>
              <a:gd name="T13" fmla="*/ 348 h 2489"/>
              <a:gd name="T14" fmla="*/ 75 w 4564"/>
              <a:gd name="T15" fmla="*/ 682 h 2489"/>
              <a:gd name="T16" fmla="*/ 510 w 4564"/>
              <a:gd name="T17" fmla="*/ 1068 h 2489"/>
              <a:gd name="T18" fmla="*/ 1002 w 4564"/>
              <a:gd name="T19" fmla="*/ 1473 h 2489"/>
              <a:gd name="T20" fmla="*/ 1237 w 4564"/>
              <a:gd name="T21" fmla="*/ 2239 h 2489"/>
              <a:gd name="T22" fmla="*/ 1377 w 4564"/>
              <a:gd name="T23" fmla="*/ 803 h 2489"/>
              <a:gd name="T24" fmla="*/ 1179 w 4564"/>
              <a:gd name="T25" fmla="*/ 1289 h 2489"/>
              <a:gd name="T26" fmla="*/ 1190 w 4564"/>
              <a:gd name="T27" fmla="*/ 2489 h 2489"/>
              <a:gd name="T28" fmla="*/ 1020 w 4564"/>
              <a:gd name="T29" fmla="*/ 271 h 2489"/>
              <a:gd name="T30" fmla="*/ 1120 w 4564"/>
              <a:gd name="T31" fmla="*/ 242 h 2489"/>
              <a:gd name="T32" fmla="*/ 828 w 4564"/>
              <a:gd name="T33" fmla="*/ 320 h 2489"/>
              <a:gd name="T34" fmla="*/ 792 w 4564"/>
              <a:gd name="T35" fmla="*/ 232 h 2489"/>
              <a:gd name="T36" fmla="*/ 930 w 4564"/>
              <a:gd name="T37" fmla="*/ 200 h 2489"/>
              <a:gd name="T38" fmla="*/ 1024 w 4564"/>
              <a:gd name="T39" fmla="*/ 62 h 2489"/>
              <a:gd name="T40" fmla="*/ 1072 w 4564"/>
              <a:gd name="T41" fmla="*/ 40 h 2489"/>
              <a:gd name="T42" fmla="*/ 1719 w 4564"/>
              <a:gd name="T43" fmla="*/ 10 h 2489"/>
              <a:gd name="T44" fmla="*/ 1535 w 4564"/>
              <a:gd name="T45" fmla="*/ 518 h 2489"/>
              <a:gd name="T46" fmla="*/ 3340 w 4564"/>
              <a:gd name="T47" fmla="*/ 1480 h 2489"/>
              <a:gd name="T48" fmla="*/ 3540 w 4564"/>
              <a:gd name="T49" fmla="*/ 1487 h 2489"/>
              <a:gd name="T50" fmla="*/ 3684 w 4564"/>
              <a:gd name="T51" fmla="*/ 1685 h 2489"/>
              <a:gd name="T52" fmla="*/ 3720 w 4564"/>
              <a:gd name="T53" fmla="*/ 1286 h 2489"/>
              <a:gd name="T54" fmla="*/ 3899 w 4564"/>
              <a:gd name="T55" fmla="*/ 1407 h 2489"/>
              <a:gd name="T56" fmla="*/ 3854 w 4564"/>
              <a:gd name="T57" fmla="*/ 1710 h 2489"/>
              <a:gd name="T58" fmla="*/ 4226 w 4564"/>
              <a:gd name="T59" fmla="*/ 1689 h 2489"/>
              <a:gd name="T60" fmla="*/ 4080 w 4564"/>
              <a:gd name="T61" fmla="*/ 1817 h 2489"/>
              <a:gd name="T62" fmla="*/ 4013 w 4564"/>
              <a:gd name="T63" fmla="*/ 2117 h 2489"/>
              <a:gd name="T64" fmla="*/ 4499 w 4564"/>
              <a:gd name="T65" fmla="*/ 2237 h 2489"/>
              <a:gd name="T66" fmla="*/ 3974 w 4564"/>
              <a:gd name="T67" fmla="*/ 1034 h 2489"/>
              <a:gd name="T68" fmla="*/ 4076 w 4564"/>
              <a:gd name="T69" fmla="*/ 826 h 2489"/>
              <a:gd name="T70" fmla="*/ 2521 w 4564"/>
              <a:gd name="T71" fmla="*/ 157 h 2489"/>
              <a:gd name="T72" fmla="*/ 2998 w 4564"/>
              <a:gd name="T73" fmla="*/ 177 h 2489"/>
              <a:gd name="T74" fmla="*/ 3320 w 4564"/>
              <a:gd name="T75" fmla="*/ 88 h 2489"/>
              <a:gd name="T76" fmla="*/ 4373 w 4564"/>
              <a:gd name="T77" fmla="*/ 323 h 2489"/>
              <a:gd name="T78" fmla="*/ 2148 w 4564"/>
              <a:gd name="T79" fmla="*/ 718 h 2489"/>
              <a:gd name="T80" fmla="*/ 2219 w 4564"/>
              <a:gd name="T81" fmla="*/ 621 h 2489"/>
              <a:gd name="T82" fmla="*/ 4404 w 4564"/>
              <a:gd name="T83" fmla="*/ 449 h 2489"/>
              <a:gd name="T84" fmla="*/ 3726 w 4564"/>
              <a:gd name="T85" fmla="*/ 284 h 2489"/>
              <a:gd name="T86" fmla="*/ 3150 w 4564"/>
              <a:gd name="T87" fmla="*/ 320 h 2489"/>
              <a:gd name="T88" fmla="*/ 3011 w 4564"/>
              <a:gd name="T89" fmla="*/ 350 h 2489"/>
              <a:gd name="T90" fmla="*/ 2659 w 4564"/>
              <a:gd name="T91" fmla="*/ 354 h 2489"/>
              <a:gd name="T92" fmla="*/ 2443 w 4564"/>
              <a:gd name="T93" fmla="*/ 636 h 2489"/>
              <a:gd name="T94" fmla="*/ 2526 w 4564"/>
              <a:gd name="T95" fmla="*/ 598 h 2489"/>
              <a:gd name="T96" fmla="*/ 2238 w 4564"/>
              <a:gd name="T97" fmla="*/ 760 h 2489"/>
              <a:gd name="T98" fmla="*/ 2256 w 4564"/>
              <a:gd name="T99" fmla="*/ 926 h 2489"/>
              <a:gd name="T100" fmla="*/ 2497 w 4564"/>
              <a:gd name="T101" fmla="*/ 933 h 2489"/>
              <a:gd name="T102" fmla="*/ 2634 w 4564"/>
              <a:gd name="T103" fmla="*/ 849 h 2489"/>
              <a:gd name="T104" fmla="*/ 2628 w 4564"/>
              <a:gd name="T105" fmla="*/ 1002 h 2489"/>
              <a:gd name="T106" fmla="*/ 2395 w 4564"/>
              <a:gd name="T107" fmla="*/ 985 h 2489"/>
              <a:gd name="T108" fmla="*/ 2095 w 4564"/>
              <a:gd name="T109" fmla="*/ 1459 h 2489"/>
              <a:gd name="T110" fmla="*/ 2428 w 4564"/>
              <a:gd name="T111" fmla="*/ 1703 h 2489"/>
              <a:gd name="T112" fmla="*/ 2782 w 4564"/>
              <a:gd name="T113" fmla="*/ 1719 h 2489"/>
              <a:gd name="T114" fmla="*/ 2693 w 4564"/>
              <a:gd name="T115" fmla="*/ 1114 h 2489"/>
              <a:gd name="T116" fmla="*/ 2960 w 4564"/>
              <a:gd name="T117" fmla="*/ 1195 h 2489"/>
              <a:gd name="T118" fmla="*/ 3404 w 4564"/>
              <a:gd name="T119" fmla="*/ 1244 h 2489"/>
              <a:gd name="T120" fmla="*/ 3589 w 4564"/>
              <a:gd name="T121" fmla="*/ 1375 h 2489"/>
              <a:gd name="T122" fmla="*/ 3866 w 4564"/>
              <a:gd name="T123" fmla="*/ 959 h 2489"/>
              <a:gd name="T124" fmla="*/ 4194 w 4564"/>
              <a:gd name="T125" fmla="*/ 528 h 2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64" h="2489">
                <a:moveTo>
                  <a:pt x="1537" y="1620"/>
                </a:moveTo>
                <a:lnTo>
                  <a:pt x="1463" y="1620"/>
                </a:lnTo>
                <a:lnTo>
                  <a:pt x="1436" y="1592"/>
                </a:lnTo>
                <a:lnTo>
                  <a:pt x="1436" y="1592"/>
                </a:lnTo>
                <a:lnTo>
                  <a:pt x="1403" y="1592"/>
                </a:lnTo>
                <a:lnTo>
                  <a:pt x="1394" y="1601"/>
                </a:lnTo>
                <a:lnTo>
                  <a:pt x="1387" y="1601"/>
                </a:lnTo>
                <a:lnTo>
                  <a:pt x="1397" y="1591"/>
                </a:lnTo>
                <a:lnTo>
                  <a:pt x="1397" y="1585"/>
                </a:lnTo>
                <a:lnTo>
                  <a:pt x="1397" y="1585"/>
                </a:lnTo>
                <a:lnTo>
                  <a:pt x="1375" y="1585"/>
                </a:lnTo>
                <a:lnTo>
                  <a:pt x="1358" y="1603"/>
                </a:lnTo>
                <a:lnTo>
                  <a:pt x="1349" y="1603"/>
                </a:lnTo>
                <a:lnTo>
                  <a:pt x="1372" y="1579"/>
                </a:lnTo>
                <a:lnTo>
                  <a:pt x="1372" y="1541"/>
                </a:lnTo>
                <a:lnTo>
                  <a:pt x="1361" y="1528"/>
                </a:lnTo>
                <a:lnTo>
                  <a:pt x="1338" y="1506"/>
                </a:lnTo>
                <a:lnTo>
                  <a:pt x="1331" y="1499"/>
                </a:lnTo>
                <a:lnTo>
                  <a:pt x="1315" y="1483"/>
                </a:lnTo>
                <a:lnTo>
                  <a:pt x="1299" y="1483"/>
                </a:lnTo>
                <a:lnTo>
                  <a:pt x="1289" y="1495"/>
                </a:lnTo>
                <a:lnTo>
                  <a:pt x="1280" y="1495"/>
                </a:lnTo>
                <a:lnTo>
                  <a:pt x="1280" y="1482"/>
                </a:lnTo>
                <a:lnTo>
                  <a:pt x="1231" y="1431"/>
                </a:lnTo>
                <a:lnTo>
                  <a:pt x="1231" y="1431"/>
                </a:lnTo>
                <a:lnTo>
                  <a:pt x="1231" y="1431"/>
                </a:lnTo>
                <a:lnTo>
                  <a:pt x="1231" y="1431"/>
                </a:lnTo>
                <a:lnTo>
                  <a:pt x="1231" y="1431"/>
                </a:lnTo>
                <a:lnTo>
                  <a:pt x="1214" y="1414"/>
                </a:lnTo>
                <a:lnTo>
                  <a:pt x="1224" y="1424"/>
                </a:lnTo>
                <a:lnTo>
                  <a:pt x="1214" y="1414"/>
                </a:lnTo>
                <a:lnTo>
                  <a:pt x="1187" y="1414"/>
                </a:lnTo>
                <a:lnTo>
                  <a:pt x="1179" y="1421"/>
                </a:lnTo>
                <a:lnTo>
                  <a:pt x="1148" y="1421"/>
                </a:lnTo>
                <a:lnTo>
                  <a:pt x="1120" y="1394"/>
                </a:lnTo>
                <a:lnTo>
                  <a:pt x="1082" y="1394"/>
                </a:lnTo>
                <a:lnTo>
                  <a:pt x="1082" y="1394"/>
                </a:lnTo>
                <a:lnTo>
                  <a:pt x="1082" y="1394"/>
                </a:lnTo>
                <a:lnTo>
                  <a:pt x="1073" y="1394"/>
                </a:lnTo>
                <a:lnTo>
                  <a:pt x="1064" y="1402"/>
                </a:lnTo>
                <a:lnTo>
                  <a:pt x="1051" y="1402"/>
                </a:lnTo>
                <a:lnTo>
                  <a:pt x="1010" y="1444"/>
                </a:lnTo>
                <a:lnTo>
                  <a:pt x="1005" y="1444"/>
                </a:lnTo>
                <a:lnTo>
                  <a:pt x="998" y="1444"/>
                </a:lnTo>
                <a:lnTo>
                  <a:pt x="991" y="1437"/>
                </a:lnTo>
                <a:lnTo>
                  <a:pt x="991" y="1437"/>
                </a:lnTo>
                <a:lnTo>
                  <a:pt x="943" y="1437"/>
                </a:lnTo>
                <a:lnTo>
                  <a:pt x="943" y="1424"/>
                </a:lnTo>
                <a:lnTo>
                  <a:pt x="932" y="1412"/>
                </a:lnTo>
                <a:lnTo>
                  <a:pt x="932" y="1345"/>
                </a:lnTo>
                <a:lnTo>
                  <a:pt x="930" y="1342"/>
                </a:lnTo>
                <a:lnTo>
                  <a:pt x="923" y="1335"/>
                </a:lnTo>
                <a:lnTo>
                  <a:pt x="880" y="1335"/>
                </a:lnTo>
                <a:lnTo>
                  <a:pt x="880" y="1335"/>
                </a:lnTo>
                <a:lnTo>
                  <a:pt x="880" y="1306"/>
                </a:lnTo>
                <a:lnTo>
                  <a:pt x="880" y="1296"/>
                </a:lnTo>
                <a:lnTo>
                  <a:pt x="889" y="1287"/>
                </a:lnTo>
                <a:lnTo>
                  <a:pt x="889" y="1287"/>
                </a:lnTo>
                <a:lnTo>
                  <a:pt x="889" y="1253"/>
                </a:lnTo>
                <a:lnTo>
                  <a:pt x="889" y="1253"/>
                </a:lnTo>
                <a:lnTo>
                  <a:pt x="858" y="1253"/>
                </a:lnTo>
                <a:lnTo>
                  <a:pt x="858" y="1253"/>
                </a:lnTo>
                <a:lnTo>
                  <a:pt x="856" y="1256"/>
                </a:lnTo>
                <a:lnTo>
                  <a:pt x="848" y="1263"/>
                </a:lnTo>
                <a:lnTo>
                  <a:pt x="848" y="1271"/>
                </a:lnTo>
                <a:lnTo>
                  <a:pt x="838" y="1281"/>
                </a:lnTo>
                <a:lnTo>
                  <a:pt x="833" y="1286"/>
                </a:lnTo>
                <a:lnTo>
                  <a:pt x="772" y="1286"/>
                </a:lnTo>
                <a:lnTo>
                  <a:pt x="766" y="1280"/>
                </a:lnTo>
                <a:lnTo>
                  <a:pt x="766" y="1254"/>
                </a:lnTo>
                <a:lnTo>
                  <a:pt x="758" y="1245"/>
                </a:lnTo>
                <a:lnTo>
                  <a:pt x="758" y="1178"/>
                </a:lnTo>
                <a:lnTo>
                  <a:pt x="758" y="1178"/>
                </a:lnTo>
                <a:lnTo>
                  <a:pt x="758" y="1176"/>
                </a:lnTo>
                <a:lnTo>
                  <a:pt x="758" y="1156"/>
                </a:lnTo>
                <a:lnTo>
                  <a:pt x="768" y="1156"/>
                </a:lnTo>
                <a:lnTo>
                  <a:pt x="768" y="1156"/>
                </a:lnTo>
                <a:lnTo>
                  <a:pt x="812" y="1112"/>
                </a:lnTo>
                <a:lnTo>
                  <a:pt x="820" y="1112"/>
                </a:lnTo>
                <a:lnTo>
                  <a:pt x="830" y="1120"/>
                </a:lnTo>
                <a:lnTo>
                  <a:pt x="834" y="1120"/>
                </a:lnTo>
                <a:lnTo>
                  <a:pt x="834" y="1120"/>
                </a:lnTo>
                <a:lnTo>
                  <a:pt x="834" y="1110"/>
                </a:lnTo>
                <a:lnTo>
                  <a:pt x="843" y="1110"/>
                </a:lnTo>
                <a:lnTo>
                  <a:pt x="843" y="1123"/>
                </a:lnTo>
                <a:lnTo>
                  <a:pt x="869" y="1123"/>
                </a:lnTo>
                <a:lnTo>
                  <a:pt x="874" y="1117"/>
                </a:lnTo>
                <a:lnTo>
                  <a:pt x="874" y="1117"/>
                </a:lnTo>
                <a:lnTo>
                  <a:pt x="874" y="1109"/>
                </a:lnTo>
                <a:lnTo>
                  <a:pt x="936" y="1109"/>
                </a:lnTo>
                <a:lnTo>
                  <a:pt x="959" y="1132"/>
                </a:lnTo>
                <a:lnTo>
                  <a:pt x="959" y="1169"/>
                </a:lnTo>
                <a:lnTo>
                  <a:pt x="971" y="1181"/>
                </a:lnTo>
                <a:lnTo>
                  <a:pt x="971" y="1188"/>
                </a:lnTo>
                <a:lnTo>
                  <a:pt x="988" y="1205"/>
                </a:lnTo>
                <a:lnTo>
                  <a:pt x="994" y="1205"/>
                </a:lnTo>
                <a:lnTo>
                  <a:pt x="998" y="1199"/>
                </a:lnTo>
                <a:lnTo>
                  <a:pt x="1001" y="1198"/>
                </a:lnTo>
                <a:lnTo>
                  <a:pt x="1001" y="1184"/>
                </a:lnTo>
                <a:lnTo>
                  <a:pt x="989" y="1172"/>
                </a:lnTo>
                <a:lnTo>
                  <a:pt x="989" y="1130"/>
                </a:lnTo>
                <a:lnTo>
                  <a:pt x="981" y="1122"/>
                </a:lnTo>
                <a:lnTo>
                  <a:pt x="981" y="1081"/>
                </a:lnTo>
                <a:lnTo>
                  <a:pt x="1028" y="1035"/>
                </a:lnTo>
                <a:lnTo>
                  <a:pt x="1050" y="1035"/>
                </a:lnTo>
                <a:lnTo>
                  <a:pt x="1061" y="1022"/>
                </a:lnTo>
                <a:lnTo>
                  <a:pt x="1061" y="993"/>
                </a:lnTo>
                <a:lnTo>
                  <a:pt x="1070" y="983"/>
                </a:lnTo>
                <a:lnTo>
                  <a:pt x="1141" y="914"/>
                </a:lnTo>
                <a:lnTo>
                  <a:pt x="1141" y="881"/>
                </a:lnTo>
                <a:lnTo>
                  <a:pt x="1146" y="875"/>
                </a:lnTo>
                <a:lnTo>
                  <a:pt x="1154" y="868"/>
                </a:lnTo>
                <a:lnTo>
                  <a:pt x="1171" y="868"/>
                </a:lnTo>
                <a:lnTo>
                  <a:pt x="1171" y="868"/>
                </a:lnTo>
                <a:lnTo>
                  <a:pt x="1179" y="860"/>
                </a:lnTo>
                <a:lnTo>
                  <a:pt x="1191" y="848"/>
                </a:lnTo>
                <a:lnTo>
                  <a:pt x="1215" y="824"/>
                </a:lnTo>
                <a:lnTo>
                  <a:pt x="1230" y="824"/>
                </a:lnTo>
                <a:lnTo>
                  <a:pt x="1230" y="835"/>
                </a:lnTo>
                <a:lnTo>
                  <a:pt x="1208" y="855"/>
                </a:lnTo>
                <a:lnTo>
                  <a:pt x="1198" y="865"/>
                </a:lnTo>
                <a:lnTo>
                  <a:pt x="1207" y="874"/>
                </a:lnTo>
                <a:lnTo>
                  <a:pt x="1251" y="829"/>
                </a:lnTo>
                <a:lnTo>
                  <a:pt x="1251" y="819"/>
                </a:lnTo>
                <a:lnTo>
                  <a:pt x="1228" y="798"/>
                </a:lnTo>
                <a:lnTo>
                  <a:pt x="1228" y="783"/>
                </a:lnTo>
                <a:lnTo>
                  <a:pt x="1220" y="773"/>
                </a:lnTo>
                <a:lnTo>
                  <a:pt x="1204" y="789"/>
                </a:lnTo>
                <a:lnTo>
                  <a:pt x="1177" y="789"/>
                </a:lnTo>
                <a:lnTo>
                  <a:pt x="1177" y="779"/>
                </a:lnTo>
                <a:lnTo>
                  <a:pt x="1203" y="753"/>
                </a:lnTo>
                <a:lnTo>
                  <a:pt x="1298" y="753"/>
                </a:lnTo>
                <a:lnTo>
                  <a:pt x="1306" y="746"/>
                </a:lnTo>
                <a:lnTo>
                  <a:pt x="1312" y="740"/>
                </a:lnTo>
                <a:lnTo>
                  <a:pt x="1341" y="740"/>
                </a:lnTo>
                <a:lnTo>
                  <a:pt x="1348" y="733"/>
                </a:lnTo>
                <a:lnTo>
                  <a:pt x="1348" y="695"/>
                </a:lnTo>
                <a:lnTo>
                  <a:pt x="1348" y="695"/>
                </a:lnTo>
                <a:lnTo>
                  <a:pt x="1325" y="695"/>
                </a:lnTo>
                <a:lnTo>
                  <a:pt x="1302" y="674"/>
                </a:lnTo>
                <a:lnTo>
                  <a:pt x="1290" y="662"/>
                </a:lnTo>
                <a:lnTo>
                  <a:pt x="1290" y="618"/>
                </a:lnTo>
                <a:lnTo>
                  <a:pt x="1267" y="595"/>
                </a:lnTo>
                <a:lnTo>
                  <a:pt x="1267" y="570"/>
                </a:lnTo>
                <a:lnTo>
                  <a:pt x="1257" y="570"/>
                </a:lnTo>
                <a:lnTo>
                  <a:pt x="1233" y="593"/>
                </a:lnTo>
                <a:lnTo>
                  <a:pt x="1201" y="593"/>
                </a:lnTo>
                <a:lnTo>
                  <a:pt x="1201" y="551"/>
                </a:lnTo>
                <a:lnTo>
                  <a:pt x="1187" y="551"/>
                </a:lnTo>
                <a:lnTo>
                  <a:pt x="1159" y="524"/>
                </a:lnTo>
                <a:lnTo>
                  <a:pt x="1159" y="524"/>
                </a:lnTo>
                <a:lnTo>
                  <a:pt x="1128" y="524"/>
                </a:lnTo>
                <a:lnTo>
                  <a:pt x="1112" y="508"/>
                </a:lnTo>
                <a:lnTo>
                  <a:pt x="1103" y="508"/>
                </a:lnTo>
                <a:lnTo>
                  <a:pt x="1103" y="576"/>
                </a:lnTo>
                <a:lnTo>
                  <a:pt x="1086" y="595"/>
                </a:lnTo>
                <a:lnTo>
                  <a:pt x="1086" y="657"/>
                </a:lnTo>
                <a:lnTo>
                  <a:pt x="1080" y="662"/>
                </a:lnTo>
                <a:lnTo>
                  <a:pt x="1072" y="671"/>
                </a:lnTo>
                <a:lnTo>
                  <a:pt x="1072" y="729"/>
                </a:lnTo>
                <a:lnTo>
                  <a:pt x="1060" y="740"/>
                </a:lnTo>
                <a:lnTo>
                  <a:pt x="1027" y="740"/>
                </a:lnTo>
                <a:lnTo>
                  <a:pt x="1018" y="730"/>
                </a:lnTo>
                <a:lnTo>
                  <a:pt x="1018" y="677"/>
                </a:lnTo>
                <a:lnTo>
                  <a:pt x="1011" y="670"/>
                </a:lnTo>
                <a:lnTo>
                  <a:pt x="998" y="670"/>
                </a:lnTo>
                <a:lnTo>
                  <a:pt x="955" y="626"/>
                </a:lnTo>
                <a:lnTo>
                  <a:pt x="955" y="626"/>
                </a:lnTo>
                <a:lnTo>
                  <a:pt x="913" y="626"/>
                </a:lnTo>
                <a:lnTo>
                  <a:pt x="907" y="621"/>
                </a:lnTo>
                <a:lnTo>
                  <a:pt x="905" y="618"/>
                </a:lnTo>
                <a:lnTo>
                  <a:pt x="905" y="599"/>
                </a:lnTo>
                <a:lnTo>
                  <a:pt x="889" y="599"/>
                </a:lnTo>
                <a:lnTo>
                  <a:pt x="889" y="564"/>
                </a:lnTo>
                <a:lnTo>
                  <a:pt x="968" y="485"/>
                </a:lnTo>
                <a:lnTo>
                  <a:pt x="992" y="485"/>
                </a:lnTo>
                <a:lnTo>
                  <a:pt x="992" y="485"/>
                </a:lnTo>
                <a:lnTo>
                  <a:pt x="992" y="461"/>
                </a:lnTo>
                <a:lnTo>
                  <a:pt x="992" y="461"/>
                </a:lnTo>
                <a:lnTo>
                  <a:pt x="975" y="461"/>
                </a:lnTo>
                <a:lnTo>
                  <a:pt x="975" y="449"/>
                </a:lnTo>
                <a:lnTo>
                  <a:pt x="1012" y="449"/>
                </a:lnTo>
                <a:lnTo>
                  <a:pt x="1023" y="439"/>
                </a:lnTo>
                <a:lnTo>
                  <a:pt x="1025" y="435"/>
                </a:lnTo>
                <a:lnTo>
                  <a:pt x="1053" y="435"/>
                </a:lnTo>
                <a:lnTo>
                  <a:pt x="1076" y="412"/>
                </a:lnTo>
                <a:lnTo>
                  <a:pt x="1076" y="370"/>
                </a:lnTo>
                <a:lnTo>
                  <a:pt x="1067" y="360"/>
                </a:lnTo>
                <a:lnTo>
                  <a:pt x="1046" y="360"/>
                </a:lnTo>
                <a:lnTo>
                  <a:pt x="1020" y="386"/>
                </a:lnTo>
                <a:lnTo>
                  <a:pt x="1010" y="386"/>
                </a:lnTo>
                <a:lnTo>
                  <a:pt x="1007" y="383"/>
                </a:lnTo>
                <a:lnTo>
                  <a:pt x="1002" y="379"/>
                </a:lnTo>
                <a:lnTo>
                  <a:pt x="987" y="379"/>
                </a:lnTo>
                <a:lnTo>
                  <a:pt x="965" y="359"/>
                </a:lnTo>
                <a:lnTo>
                  <a:pt x="965" y="327"/>
                </a:lnTo>
                <a:lnTo>
                  <a:pt x="965" y="327"/>
                </a:lnTo>
                <a:lnTo>
                  <a:pt x="953" y="314"/>
                </a:lnTo>
                <a:lnTo>
                  <a:pt x="943" y="314"/>
                </a:lnTo>
                <a:lnTo>
                  <a:pt x="930" y="327"/>
                </a:lnTo>
                <a:lnTo>
                  <a:pt x="917" y="340"/>
                </a:lnTo>
                <a:lnTo>
                  <a:pt x="917" y="359"/>
                </a:lnTo>
                <a:lnTo>
                  <a:pt x="917" y="359"/>
                </a:lnTo>
                <a:lnTo>
                  <a:pt x="935" y="374"/>
                </a:lnTo>
                <a:lnTo>
                  <a:pt x="935" y="390"/>
                </a:lnTo>
                <a:lnTo>
                  <a:pt x="920" y="405"/>
                </a:lnTo>
                <a:lnTo>
                  <a:pt x="795" y="405"/>
                </a:lnTo>
                <a:lnTo>
                  <a:pt x="795" y="405"/>
                </a:lnTo>
                <a:lnTo>
                  <a:pt x="785" y="415"/>
                </a:lnTo>
                <a:lnTo>
                  <a:pt x="761" y="415"/>
                </a:lnTo>
                <a:lnTo>
                  <a:pt x="738" y="392"/>
                </a:lnTo>
                <a:lnTo>
                  <a:pt x="726" y="380"/>
                </a:lnTo>
                <a:lnTo>
                  <a:pt x="664" y="380"/>
                </a:lnTo>
                <a:lnTo>
                  <a:pt x="660" y="376"/>
                </a:lnTo>
                <a:lnTo>
                  <a:pt x="648" y="366"/>
                </a:lnTo>
                <a:lnTo>
                  <a:pt x="578" y="366"/>
                </a:lnTo>
                <a:lnTo>
                  <a:pt x="575" y="363"/>
                </a:lnTo>
                <a:lnTo>
                  <a:pt x="562" y="350"/>
                </a:lnTo>
                <a:lnTo>
                  <a:pt x="562" y="350"/>
                </a:lnTo>
                <a:lnTo>
                  <a:pt x="501" y="350"/>
                </a:lnTo>
                <a:lnTo>
                  <a:pt x="501" y="350"/>
                </a:lnTo>
                <a:lnTo>
                  <a:pt x="490" y="361"/>
                </a:lnTo>
                <a:lnTo>
                  <a:pt x="476" y="376"/>
                </a:lnTo>
                <a:lnTo>
                  <a:pt x="476" y="386"/>
                </a:lnTo>
                <a:lnTo>
                  <a:pt x="450" y="386"/>
                </a:lnTo>
                <a:lnTo>
                  <a:pt x="431" y="367"/>
                </a:lnTo>
                <a:lnTo>
                  <a:pt x="386" y="367"/>
                </a:lnTo>
                <a:lnTo>
                  <a:pt x="386" y="367"/>
                </a:lnTo>
                <a:lnTo>
                  <a:pt x="382" y="367"/>
                </a:lnTo>
                <a:lnTo>
                  <a:pt x="363" y="348"/>
                </a:lnTo>
                <a:lnTo>
                  <a:pt x="268" y="348"/>
                </a:lnTo>
                <a:lnTo>
                  <a:pt x="257" y="335"/>
                </a:lnTo>
                <a:lnTo>
                  <a:pt x="190" y="335"/>
                </a:lnTo>
                <a:lnTo>
                  <a:pt x="182" y="346"/>
                </a:lnTo>
                <a:lnTo>
                  <a:pt x="173" y="354"/>
                </a:lnTo>
                <a:lnTo>
                  <a:pt x="144" y="354"/>
                </a:lnTo>
                <a:lnTo>
                  <a:pt x="118" y="379"/>
                </a:lnTo>
                <a:lnTo>
                  <a:pt x="94" y="403"/>
                </a:lnTo>
                <a:lnTo>
                  <a:pt x="94" y="403"/>
                </a:lnTo>
                <a:lnTo>
                  <a:pt x="94" y="415"/>
                </a:lnTo>
                <a:lnTo>
                  <a:pt x="127" y="415"/>
                </a:lnTo>
                <a:lnTo>
                  <a:pt x="142" y="429"/>
                </a:lnTo>
                <a:lnTo>
                  <a:pt x="142" y="438"/>
                </a:lnTo>
                <a:lnTo>
                  <a:pt x="57" y="438"/>
                </a:lnTo>
                <a:lnTo>
                  <a:pt x="49" y="445"/>
                </a:lnTo>
                <a:lnTo>
                  <a:pt x="45" y="449"/>
                </a:lnTo>
                <a:lnTo>
                  <a:pt x="45" y="466"/>
                </a:lnTo>
                <a:lnTo>
                  <a:pt x="62" y="484"/>
                </a:lnTo>
                <a:lnTo>
                  <a:pt x="110" y="484"/>
                </a:lnTo>
                <a:lnTo>
                  <a:pt x="110" y="497"/>
                </a:lnTo>
                <a:lnTo>
                  <a:pt x="100" y="507"/>
                </a:lnTo>
                <a:lnTo>
                  <a:pt x="54" y="507"/>
                </a:lnTo>
                <a:lnTo>
                  <a:pt x="31" y="530"/>
                </a:lnTo>
                <a:lnTo>
                  <a:pt x="31" y="563"/>
                </a:lnTo>
                <a:lnTo>
                  <a:pt x="35" y="567"/>
                </a:lnTo>
                <a:lnTo>
                  <a:pt x="68" y="600"/>
                </a:lnTo>
                <a:lnTo>
                  <a:pt x="101" y="600"/>
                </a:lnTo>
                <a:lnTo>
                  <a:pt x="101" y="621"/>
                </a:lnTo>
                <a:lnTo>
                  <a:pt x="85" y="636"/>
                </a:lnTo>
                <a:lnTo>
                  <a:pt x="54" y="668"/>
                </a:lnTo>
                <a:lnTo>
                  <a:pt x="0" y="668"/>
                </a:lnTo>
                <a:lnTo>
                  <a:pt x="0" y="668"/>
                </a:lnTo>
                <a:lnTo>
                  <a:pt x="0" y="682"/>
                </a:lnTo>
                <a:lnTo>
                  <a:pt x="75" y="682"/>
                </a:lnTo>
                <a:lnTo>
                  <a:pt x="166" y="590"/>
                </a:lnTo>
                <a:lnTo>
                  <a:pt x="209" y="547"/>
                </a:lnTo>
                <a:lnTo>
                  <a:pt x="221" y="559"/>
                </a:lnTo>
                <a:lnTo>
                  <a:pt x="195" y="585"/>
                </a:lnTo>
                <a:lnTo>
                  <a:pt x="195" y="585"/>
                </a:lnTo>
                <a:lnTo>
                  <a:pt x="195" y="585"/>
                </a:lnTo>
                <a:lnTo>
                  <a:pt x="209" y="599"/>
                </a:lnTo>
                <a:lnTo>
                  <a:pt x="247" y="560"/>
                </a:lnTo>
                <a:lnTo>
                  <a:pt x="280" y="560"/>
                </a:lnTo>
                <a:lnTo>
                  <a:pt x="290" y="572"/>
                </a:lnTo>
                <a:lnTo>
                  <a:pt x="296" y="577"/>
                </a:lnTo>
                <a:lnTo>
                  <a:pt x="334" y="577"/>
                </a:lnTo>
                <a:lnTo>
                  <a:pt x="398" y="641"/>
                </a:lnTo>
                <a:lnTo>
                  <a:pt x="419" y="662"/>
                </a:lnTo>
                <a:lnTo>
                  <a:pt x="401" y="644"/>
                </a:lnTo>
                <a:lnTo>
                  <a:pt x="419" y="662"/>
                </a:lnTo>
                <a:lnTo>
                  <a:pt x="425" y="668"/>
                </a:lnTo>
                <a:lnTo>
                  <a:pt x="425" y="706"/>
                </a:lnTo>
                <a:lnTo>
                  <a:pt x="444" y="706"/>
                </a:lnTo>
                <a:lnTo>
                  <a:pt x="444" y="740"/>
                </a:lnTo>
                <a:lnTo>
                  <a:pt x="493" y="790"/>
                </a:lnTo>
                <a:lnTo>
                  <a:pt x="493" y="799"/>
                </a:lnTo>
                <a:lnTo>
                  <a:pt x="478" y="799"/>
                </a:lnTo>
                <a:lnTo>
                  <a:pt x="474" y="803"/>
                </a:lnTo>
                <a:lnTo>
                  <a:pt x="463" y="815"/>
                </a:lnTo>
                <a:lnTo>
                  <a:pt x="463" y="854"/>
                </a:lnTo>
                <a:lnTo>
                  <a:pt x="445" y="871"/>
                </a:lnTo>
                <a:lnTo>
                  <a:pt x="445" y="975"/>
                </a:lnTo>
                <a:lnTo>
                  <a:pt x="481" y="1011"/>
                </a:lnTo>
                <a:lnTo>
                  <a:pt x="481" y="1040"/>
                </a:lnTo>
                <a:lnTo>
                  <a:pt x="481" y="1040"/>
                </a:lnTo>
                <a:lnTo>
                  <a:pt x="488" y="1047"/>
                </a:lnTo>
                <a:lnTo>
                  <a:pt x="510" y="1068"/>
                </a:lnTo>
                <a:lnTo>
                  <a:pt x="510" y="1106"/>
                </a:lnTo>
                <a:lnTo>
                  <a:pt x="566" y="1162"/>
                </a:lnTo>
                <a:lnTo>
                  <a:pt x="566" y="1204"/>
                </a:lnTo>
                <a:lnTo>
                  <a:pt x="583" y="1221"/>
                </a:lnTo>
                <a:lnTo>
                  <a:pt x="589" y="1227"/>
                </a:lnTo>
                <a:lnTo>
                  <a:pt x="601" y="1227"/>
                </a:lnTo>
                <a:lnTo>
                  <a:pt x="601" y="1208"/>
                </a:lnTo>
                <a:lnTo>
                  <a:pt x="578" y="1185"/>
                </a:lnTo>
                <a:lnTo>
                  <a:pt x="578" y="1146"/>
                </a:lnTo>
                <a:lnTo>
                  <a:pt x="549" y="1117"/>
                </a:lnTo>
                <a:lnTo>
                  <a:pt x="549" y="1099"/>
                </a:lnTo>
                <a:lnTo>
                  <a:pt x="563" y="1112"/>
                </a:lnTo>
                <a:lnTo>
                  <a:pt x="588" y="1136"/>
                </a:lnTo>
                <a:lnTo>
                  <a:pt x="588" y="1162"/>
                </a:lnTo>
                <a:lnTo>
                  <a:pt x="648" y="1222"/>
                </a:lnTo>
                <a:lnTo>
                  <a:pt x="648" y="1271"/>
                </a:lnTo>
                <a:lnTo>
                  <a:pt x="697" y="1320"/>
                </a:lnTo>
                <a:lnTo>
                  <a:pt x="781" y="1320"/>
                </a:lnTo>
                <a:lnTo>
                  <a:pt x="808" y="1349"/>
                </a:lnTo>
                <a:lnTo>
                  <a:pt x="822" y="1364"/>
                </a:lnTo>
                <a:lnTo>
                  <a:pt x="834" y="1374"/>
                </a:lnTo>
                <a:lnTo>
                  <a:pt x="850" y="1374"/>
                </a:lnTo>
                <a:lnTo>
                  <a:pt x="850" y="1374"/>
                </a:lnTo>
                <a:lnTo>
                  <a:pt x="866" y="1374"/>
                </a:lnTo>
                <a:lnTo>
                  <a:pt x="877" y="1385"/>
                </a:lnTo>
                <a:lnTo>
                  <a:pt x="877" y="1385"/>
                </a:lnTo>
                <a:lnTo>
                  <a:pt x="902" y="1410"/>
                </a:lnTo>
                <a:lnTo>
                  <a:pt x="902" y="1412"/>
                </a:lnTo>
                <a:lnTo>
                  <a:pt x="902" y="1435"/>
                </a:lnTo>
                <a:lnTo>
                  <a:pt x="906" y="1440"/>
                </a:lnTo>
                <a:lnTo>
                  <a:pt x="930" y="1466"/>
                </a:lnTo>
                <a:lnTo>
                  <a:pt x="994" y="1466"/>
                </a:lnTo>
                <a:lnTo>
                  <a:pt x="1002" y="1473"/>
                </a:lnTo>
                <a:lnTo>
                  <a:pt x="1005" y="1476"/>
                </a:lnTo>
                <a:lnTo>
                  <a:pt x="1005" y="1536"/>
                </a:lnTo>
                <a:lnTo>
                  <a:pt x="962" y="1579"/>
                </a:lnTo>
                <a:lnTo>
                  <a:pt x="962" y="1649"/>
                </a:lnTo>
                <a:lnTo>
                  <a:pt x="962" y="1682"/>
                </a:lnTo>
                <a:lnTo>
                  <a:pt x="1004" y="1723"/>
                </a:lnTo>
                <a:lnTo>
                  <a:pt x="1004" y="1765"/>
                </a:lnTo>
                <a:lnTo>
                  <a:pt x="1103" y="1865"/>
                </a:lnTo>
                <a:lnTo>
                  <a:pt x="1103" y="1865"/>
                </a:lnTo>
                <a:lnTo>
                  <a:pt x="1105" y="1866"/>
                </a:lnTo>
                <a:lnTo>
                  <a:pt x="1105" y="2158"/>
                </a:lnTo>
                <a:lnTo>
                  <a:pt x="1090" y="2173"/>
                </a:lnTo>
                <a:lnTo>
                  <a:pt x="1090" y="2272"/>
                </a:lnTo>
                <a:lnTo>
                  <a:pt x="1103" y="2285"/>
                </a:lnTo>
                <a:lnTo>
                  <a:pt x="1103" y="2403"/>
                </a:lnTo>
                <a:lnTo>
                  <a:pt x="1167" y="2468"/>
                </a:lnTo>
                <a:lnTo>
                  <a:pt x="1172" y="2468"/>
                </a:lnTo>
                <a:lnTo>
                  <a:pt x="1172" y="2458"/>
                </a:lnTo>
                <a:lnTo>
                  <a:pt x="1185" y="2445"/>
                </a:lnTo>
                <a:lnTo>
                  <a:pt x="1185" y="2399"/>
                </a:lnTo>
                <a:lnTo>
                  <a:pt x="1197" y="2399"/>
                </a:lnTo>
                <a:lnTo>
                  <a:pt x="1197" y="2399"/>
                </a:lnTo>
                <a:lnTo>
                  <a:pt x="1197" y="2367"/>
                </a:lnTo>
                <a:lnTo>
                  <a:pt x="1208" y="2357"/>
                </a:lnTo>
                <a:lnTo>
                  <a:pt x="1208" y="2338"/>
                </a:lnTo>
                <a:lnTo>
                  <a:pt x="1195" y="2325"/>
                </a:lnTo>
                <a:lnTo>
                  <a:pt x="1195" y="2308"/>
                </a:lnTo>
                <a:lnTo>
                  <a:pt x="1234" y="2268"/>
                </a:lnTo>
                <a:lnTo>
                  <a:pt x="1234" y="2246"/>
                </a:lnTo>
                <a:lnTo>
                  <a:pt x="1221" y="2233"/>
                </a:lnTo>
                <a:lnTo>
                  <a:pt x="1226" y="2227"/>
                </a:lnTo>
                <a:lnTo>
                  <a:pt x="1237" y="2239"/>
                </a:lnTo>
                <a:lnTo>
                  <a:pt x="1237" y="2239"/>
                </a:lnTo>
                <a:lnTo>
                  <a:pt x="1246" y="2239"/>
                </a:lnTo>
                <a:lnTo>
                  <a:pt x="1246" y="2239"/>
                </a:lnTo>
                <a:lnTo>
                  <a:pt x="1246" y="2199"/>
                </a:lnTo>
                <a:lnTo>
                  <a:pt x="1287" y="2199"/>
                </a:lnTo>
                <a:lnTo>
                  <a:pt x="1306" y="2180"/>
                </a:lnTo>
                <a:lnTo>
                  <a:pt x="1306" y="2134"/>
                </a:lnTo>
                <a:lnTo>
                  <a:pt x="1292" y="2134"/>
                </a:lnTo>
                <a:lnTo>
                  <a:pt x="1292" y="2124"/>
                </a:lnTo>
                <a:lnTo>
                  <a:pt x="1292" y="2124"/>
                </a:lnTo>
                <a:lnTo>
                  <a:pt x="1342" y="2124"/>
                </a:lnTo>
                <a:lnTo>
                  <a:pt x="1374" y="2092"/>
                </a:lnTo>
                <a:lnTo>
                  <a:pt x="1374" y="2060"/>
                </a:lnTo>
                <a:lnTo>
                  <a:pt x="1393" y="2043"/>
                </a:lnTo>
                <a:lnTo>
                  <a:pt x="1410" y="2026"/>
                </a:lnTo>
                <a:lnTo>
                  <a:pt x="1410" y="1970"/>
                </a:lnTo>
                <a:lnTo>
                  <a:pt x="1429" y="1951"/>
                </a:lnTo>
                <a:lnTo>
                  <a:pt x="1446" y="1934"/>
                </a:lnTo>
                <a:lnTo>
                  <a:pt x="1502" y="1934"/>
                </a:lnTo>
                <a:lnTo>
                  <a:pt x="1502" y="1934"/>
                </a:lnTo>
                <a:lnTo>
                  <a:pt x="1502" y="1902"/>
                </a:lnTo>
                <a:lnTo>
                  <a:pt x="1513" y="1890"/>
                </a:lnTo>
                <a:lnTo>
                  <a:pt x="1525" y="1879"/>
                </a:lnTo>
                <a:lnTo>
                  <a:pt x="1525" y="1781"/>
                </a:lnTo>
                <a:lnTo>
                  <a:pt x="1574" y="1734"/>
                </a:lnTo>
                <a:lnTo>
                  <a:pt x="1574" y="1656"/>
                </a:lnTo>
                <a:lnTo>
                  <a:pt x="1537" y="1620"/>
                </a:lnTo>
                <a:close/>
                <a:moveTo>
                  <a:pt x="1329" y="753"/>
                </a:moveTo>
                <a:lnTo>
                  <a:pt x="1293" y="789"/>
                </a:lnTo>
                <a:lnTo>
                  <a:pt x="1293" y="809"/>
                </a:lnTo>
                <a:lnTo>
                  <a:pt x="1331" y="809"/>
                </a:lnTo>
                <a:lnTo>
                  <a:pt x="1331" y="824"/>
                </a:lnTo>
                <a:lnTo>
                  <a:pt x="1358" y="824"/>
                </a:lnTo>
                <a:lnTo>
                  <a:pt x="1377" y="803"/>
                </a:lnTo>
                <a:lnTo>
                  <a:pt x="1377" y="776"/>
                </a:lnTo>
                <a:lnTo>
                  <a:pt x="1352" y="776"/>
                </a:lnTo>
                <a:lnTo>
                  <a:pt x="1352" y="753"/>
                </a:lnTo>
                <a:lnTo>
                  <a:pt x="1329" y="753"/>
                </a:lnTo>
                <a:close/>
                <a:moveTo>
                  <a:pt x="1057" y="1263"/>
                </a:moveTo>
                <a:lnTo>
                  <a:pt x="1038" y="1263"/>
                </a:lnTo>
                <a:lnTo>
                  <a:pt x="1008" y="1231"/>
                </a:lnTo>
                <a:lnTo>
                  <a:pt x="933" y="1231"/>
                </a:lnTo>
                <a:lnTo>
                  <a:pt x="933" y="1244"/>
                </a:lnTo>
                <a:lnTo>
                  <a:pt x="991" y="1244"/>
                </a:lnTo>
                <a:lnTo>
                  <a:pt x="1010" y="1263"/>
                </a:lnTo>
                <a:lnTo>
                  <a:pt x="1010" y="1277"/>
                </a:lnTo>
                <a:lnTo>
                  <a:pt x="1057" y="1277"/>
                </a:lnTo>
                <a:lnTo>
                  <a:pt x="1057" y="1263"/>
                </a:lnTo>
                <a:close/>
                <a:moveTo>
                  <a:pt x="1038" y="1289"/>
                </a:moveTo>
                <a:lnTo>
                  <a:pt x="1010" y="1289"/>
                </a:lnTo>
                <a:lnTo>
                  <a:pt x="1010" y="1302"/>
                </a:lnTo>
                <a:lnTo>
                  <a:pt x="1038" y="1302"/>
                </a:lnTo>
                <a:lnTo>
                  <a:pt x="1038" y="1289"/>
                </a:lnTo>
                <a:close/>
                <a:moveTo>
                  <a:pt x="1129" y="1302"/>
                </a:moveTo>
                <a:lnTo>
                  <a:pt x="1138" y="1293"/>
                </a:lnTo>
                <a:lnTo>
                  <a:pt x="1138" y="1284"/>
                </a:lnTo>
                <a:lnTo>
                  <a:pt x="1119" y="1264"/>
                </a:lnTo>
                <a:lnTo>
                  <a:pt x="1082" y="1264"/>
                </a:lnTo>
                <a:lnTo>
                  <a:pt x="1082" y="1289"/>
                </a:lnTo>
                <a:lnTo>
                  <a:pt x="1057" y="1289"/>
                </a:lnTo>
                <a:lnTo>
                  <a:pt x="1057" y="1302"/>
                </a:lnTo>
                <a:lnTo>
                  <a:pt x="1086" y="1302"/>
                </a:lnTo>
                <a:lnTo>
                  <a:pt x="1129" y="1302"/>
                </a:lnTo>
                <a:close/>
                <a:moveTo>
                  <a:pt x="1156" y="1302"/>
                </a:moveTo>
                <a:lnTo>
                  <a:pt x="1172" y="1302"/>
                </a:lnTo>
                <a:lnTo>
                  <a:pt x="1179" y="1294"/>
                </a:lnTo>
                <a:lnTo>
                  <a:pt x="1179" y="1289"/>
                </a:lnTo>
                <a:lnTo>
                  <a:pt x="1156" y="1289"/>
                </a:lnTo>
                <a:lnTo>
                  <a:pt x="1156" y="1302"/>
                </a:lnTo>
                <a:close/>
                <a:moveTo>
                  <a:pt x="848" y="255"/>
                </a:moveTo>
                <a:lnTo>
                  <a:pt x="825" y="255"/>
                </a:lnTo>
                <a:lnTo>
                  <a:pt x="825" y="268"/>
                </a:lnTo>
                <a:lnTo>
                  <a:pt x="841" y="268"/>
                </a:lnTo>
                <a:lnTo>
                  <a:pt x="848" y="261"/>
                </a:lnTo>
                <a:lnTo>
                  <a:pt x="848" y="255"/>
                </a:lnTo>
                <a:close/>
                <a:moveTo>
                  <a:pt x="1156" y="397"/>
                </a:moveTo>
                <a:lnTo>
                  <a:pt x="1123" y="397"/>
                </a:lnTo>
                <a:lnTo>
                  <a:pt x="1123" y="416"/>
                </a:lnTo>
                <a:lnTo>
                  <a:pt x="1145" y="416"/>
                </a:lnTo>
                <a:lnTo>
                  <a:pt x="1156" y="405"/>
                </a:lnTo>
                <a:lnTo>
                  <a:pt x="1156" y="397"/>
                </a:lnTo>
                <a:close/>
                <a:moveTo>
                  <a:pt x="714" y="207"/>
                </a:moveTo>
                <a:lnTo>
                  <a:pt x="709" y="207"/>
                </a:lnTo>
                <a:lnTo>
                  <a:pt x="709" y="230"/>
                </a:lnTo>
                <a:lnTo>
                  <a:pt x="722" y="230"/>
                </a:lnTo>
                <a:lnTo>
                  <a:pt x="722" y="215"/>
                </a:lnTo>
                <a:lnTo>
                  <a:pt x="714" y="207"/>
                </a:lnTo>
                <a:close/>
                <a:moveTo>
                  <a:pt x="1120" y="367"/>
                </a:moveTo>
                <a:lnTo>
                  <a:pt x="1112" y="360"/>
                </a:lnTo>
                <a:lnTo>
                  <a:pt x="1108" y="360"/>
                </a:lnTo>
                <a:lnTo>
                  <a:pt x="1108" y="383"/>
                </a:lnTo>
                <a:lnTo>
                  <a:pt x="1120" y="383"/>
                </a:lnTo>
                <a:lnTo>
                  <a:pt x="1120" y="367"/>
                </a:lnTo>
                <a:close/>
                <a:moveTo>
                  <a:pt x="1213" y="2459"/>
                </a:moveTo>
                <a:lnTo>
                  <a:pt x="1201" y="2459"/>
                </a:lnTo>
                <a:lnTo>
                  <a:pt x="1201" y="2459"/>
                </a:lnTo>
                <a:lnTo>
                  <a:pt x="1192" y="2459"/>
                </a:lnTo>
                <a:lnTo>
                  <a:pt x="1175" y="2476"/>
                </a:lnTo>
                <a:lnTo>
                  <a:pt x="1182" y="2484"/>
                </a:lnTo>
                <a:lnTo>
                  <a:pt x="1190" y="2489"/>
                </a:lnTo>
                <a:lnTo>
                  <a:pt x="1207" y="2489"/>
                </a:lnTo>
                <a:lnTo>
                  <a:pt x="1213" y="2484"/>
                </a:lnTo>
                <a:lnTo>
                  <a:pt x="1237" y="2484"/>
                </a:lnTo>
                <a:lnTo>
                  <a:pt x="1237" y="2484"/>
                </a:lnTo>
                <a:lnTo>
                  <a:pt x="1226" y="2472"/>
                </a:lnTo>
                <a:lnTo>
                  <a:pt x="1213" y="2459"/>
                </a:lnTo>
                <a:close/>
                <a:moveTo>
                  <a:pt x="1277" y="2417"/>
                </a:moveTo>
                <a:lnTo>
                  <a:pt x="1277" y="2440"/>
                </a:lnTo>
                <a:lnTo>
                  <a:pt x="1286" y="2440"/>
                </a:lnTo>
                <a:lnTo>
                  <a:pt x="1292" y="2433"/>
                </a:lnTo>
                <a:lnTo>
                  <a:pt x="1323" y="2433"/>
                </a:lnTo>
                <a:lnTo>
                  <a:pt x="1323" y="2425"/>
                </a:lnTo>
                <a:lnTo>
                  <a:pt x="1315" y="2417"/>
                </a:lnTo>
                <a:lnTo>
                  <a:pt x="1277" y="2417"/>
                </a:lnTo>
                <a:close/>
                <a:moveTo>
                  <a:pt x="1008" y="461"/>
                </a:moveTo>
                <a:lnTo>
                  <a:pt x="1008" y="485"/>
                </a:lnTo>
                <a:lnTo>
                  <a:pt x="1025" y="501"/>
                </a:lnTo>
                <a:lnTo>
                  <a:pt x="1044" y="482"/>
                </a:lnTo>
                <a:lnTo>
                  <a:pt x="1061" y="482"/>
                </a:lnTo>
                <a:lnTo>
                  <a:pt x="1061" y="472"/>
                </a:lnTo>
                <a:lnTo>
                  <a:pt x="1050" y="461"/>
                </a:lnTo>
                <a:lnTo>
                  <a:pt x="1008" y="461"/>
                </a:lnTo>
                <a:close/>
                <a:moveTo>
                  <a:pt x="1226" y="314"/>
                </a:moveTo>
                <a:lnTo>
                  <a:pt x="1182" y="314"/>
                </a:lnTo>
                <a:lnTo>
                  <a:pt x="1152" y="284"/>
                </a:lnTo>
                <a:lnTo>
                  <a:pt x="1109" y="284"/>
                </a:lnTo>
                <a:lnTo>
                  <a:pt x="1109" y="259"/>
                </a:lnTo>
                <a:lnTo>
                  <a:pt x="1077" y="259"/>
                </a:lnTo>
                <a:lnTo>
                  <a:pt x="1061" y="275"/>
                </a:lnTo>
                <a:lnTo>
                  <a:pt x="1061" y="289"/>
                </a:lnTo>
                <a:lnTo>
                  <a:pt x="1051" y="289"/>
                </a:lnTo>
                <a:lnTo>
                  <a:pt x="1051" y="271"/>
                </a:lnTo>
                <a:lnTo>
                  <a:pt x="1020" y="271"/>
                </a:lnTo>
                <a:lnTo>
                  <a:pt x="1005" y="285"/>
                </a:lnTo>
                <a:lnTo>
                  <a:pt x="1005" y="321"/>
                </a:lnTo>
                <a:lnTo>
                  <a:pt x="1031" y="346"/>
                </a:lnTo>
                <a:lnTo>
                  <a:pt x="1132" y="346"/>
                </a:lnTo>
                <a:lnTo>
                  <a:pt x="1148" y="361"/>
                </a:lnTo>
                <a:lnTo>
                  <a:pt x="1148" y="377"/>
                </a:lnTo>
                <a:lnTo>
                  <a:pt x="1165" y="377"/>
                </a:lnTo>
                <a:lnTo>
                  <a:pt x="1179" y="392"/>
                </a:lnTo>
                <a:lnTo>
                  <a:pt x="1179" y="419"/>
                </a:lnTo>
                <a:lnTo>
                  <a:pt x="1159" y="439"/>
                </a:lnTo>
                <a:lnTo>
                  <a:pt x="1120" y="439"/>
                </a:lnTo>
                <a:lnTo>
                  <a:pt x="1109" y="449"/>
                </a:lnTo>
                <a:lnTo>
                  <a:pt x="1109" y="469"/>
                </a:lnTo>
                <a:lnTo>
                  <a:pt x="1123" y="484"/>
                </a:lnTo>
                <a:lnTo>
                  <a:pt x="1175" y="484"/>
                </a:lnTo>
                <a:lnTo>
                  <a:pt x="1211" y="520"/>
                </a:lnTo>
                <a:lnTo>
                  <a:pt x="1237" y="520"/>
                </a:lnTo>
                <a:lnTo>
                  <a:pt x="1237" y="507"/>
                </a:lnTo>
                <a:lnTo>
                  <a:pt x="1262" y="507"/>
                </a:lnTo>
                <a:lnTo>
                  <a:pt x="1262" y="459"/>
                </a:lnTo>
                <a:lnTo>
                  <a:pt x="1240" y="459"/>
                </a:lnTo>
                <a:lnTo>
                  <a:pt x="1240" y="432"/>
                </a:lnTo>
                <a:lnTo>
                  <a:pt x="1259" y="432"/>
                </a:lnTo>
                <a:lnTo>
                  <a:pt x="1286" y="459"/>
                </a:lnTo>
                <a:lnTo>
                  <a:pt x="1295" y="459"/>
                </a:lnTo>
                <a:lnTo>
                  <a:pt x="1312" y="443"/>
                </a:lnTo>
                <a:lnTo>
                  <a:pt x="1312" y="420"/>
                </a:lnTo>
                <a:lnTo>
                  <a:pt x="1289" y="399"/>
                </a:lnTo>
                <a:lnTo>
                  <a:pt x="1264" y="399"/>
                </a:lnTo>
                <a:lnTo>
                  <a:pt x="1246" y="380"/>
                </a:lnTo>
                <a:lnTo>
                  <a:pt x="1246" y="334"/>
                </a:lnTo>
                <a:lnTo>
                  <a:pt x="1226" y="314"/>
                </a:lnTo>
                <a:close/>
                <a:moveTo>
                  <a:pt x="1120" y="242"/>
                </a:moveTo>
                <a:lnTo>
                  <a:pt x="1120" y="215"/>
                </a:lnTo>
                <a:lnTo>
                  <a:pt x="1041" y="215"/>
                </a:lnTo>
                <a:lnTo>
                  <a:pt x="1025" y="199"/>
                </a:lnTo>
                <a:lnTo>
                  <a:pt x="1025" y="183"/>
                </a:lnTo>
                <a:lnTo>
                  <a:pt x="984" y="183"/>
                </a:lnTo>
                <a:lnTo>
                  <a:pt x="984" y="194"/>
                </a:lnTo>
                <a:lnTo>
                  <a:pt x="1031" y="242"/>
                </a:lnTo>
                <a:lnTo>
                  <a:pt x="1120" y="242"/>
                </a:lnTo>
                <a:close/>
                <a:moveTo>
                  <a:pt x="945" y="276"/>
                </a:moveTo>
                <a:lnTo>
                  <a:pt x="945" y="298"/>
                </a:lnTo>
                <a:lnTo>
                  <a:pt x="961" y="298"/>
                </a:lnTo>
                <a:lnTo>
                  <a:pt x="961" y="289"/>
                </a:lnTo>
                <a:lnTo>
                  <a:pt x="979" y="289"/>
                </a:lnTo>
                <a:lnTo>
                  <a:pt x="998" y="269"/>
                </a:lnTo>
                <a:lnTo>
                  <a:pt x="998" y="252"/>
                </a:lnTo>
                <a:lnTo>
                  <a:pt x="971" y="252"/>
                </a:lnTo>
                <a:lnTo>
                  <a:pt x="945" y="276"/>
                </a:lnTo>
                <a:close/>
                <a:moveTo>
                  <a:pt x="920" y="299"/>
                </a:moveTo>
                <a:lnTo>
                  <a:pt x="920" y="258"/>
                </a:lnTo>
                <a:lnTo>
                  <a:pt x="886" y="258"/>
                </a:lnTo>
                <a:lnTo>
                  <a:pt x="886" y="276"/>
                </a:lnTo>
                <a:lnTo>
                  <a:pt x="870" y="276"/>
                </a:lnTo>
                <a:lnTo>
                  <a:pt x="870" y="291"/>
                </a:lnTo>
                <a:lnTo>
                  <a:pt x="893" y="314"/>
                </a:lnTo>
                <a:lnTo>
                  <a:pt x="906" y="314"/>
                </a:lnTo>
                <a:lnTo>
                  <a:pt x="920" y="299"/>
                </a:lnTo>
                <a:close/>
                <a:moveTo>
                  <a:pt x="687" y="335"/>
                </a:moveTo>
                <a:lnTo>
                  <a:pt x="687" y="347"/>
                </a:lnTo>
                <a:lnTo>
                  <a:pt x="714" y="373"/>
                </a:lnTo>
                <a:lnTo>
                  <a:pt x="833" y="373"/>
                </a:lnTo>
                <a:lnTo>
                  <a:pt x="844" y="360"/>
                </a:lnTo>
                <a:lnTo>
                  <a:pt x="844" y="335"/>
                </a:lnTo>
                <a:lnTo>
                  <a:pt x="828" y="320"/>
                </a:lnTo>
                <a:lnTo>
                  <a:pt x="828" y="284"/>
                </a:lnTo>
                <a:lnTo>
                  <a:pt x="805" y="284"/>
                </a:lnTo>
                <a:lnTo>
                  <a:pt x="805" y="292"/>
                </a:lnTo>
                <a:lnTo>
                  <a:pt x="794" y="292"/>
                </a:lnTo>
                <a:lnTo>
                  <a:pt x="794" y="282"/>
                </a:lnTo>
                <a:lnTo>
                  <a:pt x="704" y="282"/>
                </a:lnTo>
                <a:lnTo>
                  <a:pt x="676" y="312"/>
                </a:lnTo>
                <a:lnTo>
                  <a:pt x="676" y="325"/>
                </a:lnTo>
                <a:lnTo>
                  <a:pt x="706" y="325"/>
                </a:lnTo>
                <a:lnTo>
                  <a:pt x="706" y="335"/>
                </a:lnTo>
                <a:lnTo>
                  <a:pt x="687" y="335"/>
                </a:lnTo>
                <a:close/>
                <a:moveTo>
                  <a:pt x="631" y="323"/>
                </a:moveTo>
                <a:lnTo>
                  <a:pt x="643" y="311"/>
                </a:lnTo>
                <a:lnTo>
                  <a:pt x="660" y="311"/>
                </a:lnTo>
                <a:lnTo>
                  <a:pt x="696" y="275"/>
                </a:lnTo>
                <a:lnTo>
                  <a:pt x="696" y="251"/>
                </a:lnTo>
                <a:lnTo>
                  <a:pt x="680" y="251"/>
                </a:lnTo>
                <a:lnTo>
                  <a:pt x="671" y="242"/>
                </a:lnTo>
                <a:lnTo>
                  <a:pt x="641" y="242"/>
                </a:lnTo>
                <a:lnTo>
                  <a:pt x="592" y="289"/>
                </a:lnTo>
                <a:lnTo>
                  <a:pt x="592" y="310"/>
                </a:lnTo>
                <a:lnTo>
                  <a:pt x="605" y="323"/>
                </a:lnTo>
                <a:lnTo>
                  <a:pt x="631" y="323"/>
                </a:lnTo>
                <a:close/>
                <a:moveTo>
                  <a:pt x="710" y="191"/>
                </a:moveTo>
                <a:lnTo>
                  <a:pt x="733" y="191"/>
                </a:lnTo>
                <a:lnTo>
                  <a:pt x="733" y="173"/>
                </a:lnTo>
                <a:lnTo>
                  <a:pt x="707" y="173"/>
                </a:lnTo>
                <a:lnTo>
                  <a:pt x="690" y="190"/>
                </a:lnTo>
                <a:lnTo>
                  <a:pt x="660" y="190"/>
                </a:lnTo>
                <a:lnTo>
                  <a:pt x="660" y="209"/>
                </a:lnTo>
                <a:lnTo>
                  <a:pt x="693" y="209"/>
                </a:lnTo>
                <a:lnTo>
                  <a:pt x="710" y="191"/>
                </a:lnTo>
                <a:close/>
                <a:moveTo>
                  <a:pt x="792" y="232"/>
                </a:moveTo>
                <a:lnTo>
                  <a:pt x="847" y="232"/>
                </a:lnTo>
                <a:lnTo>
                  <a:pt x="847" y="217"/>
                </a:lnTo>
                <a:lnTo>
                  <a:pt x="830" y="200"/>
                </a:lnTo>
                <a:lnTo>
                  <a:pt x="814" y="200"/>
                </a:lnTo>
                <a:lnTo>
                  <a:pt x="814" y="190"/>
                </a:lnTo>
                <a:lnTo>
                  <a:pt x="789" y="190"/>
                </a:lnTo>
                <a:lnTo>
                  <a:pt x="762" y="217"/>
                </a:lnTo>
                <a:lnTo>
                  <a:pt x="735" y="217"/>
                </a:lnTo>
                <a:lnTo>
                  <a:pt x="735" y="246"/>
                </a:lnTo>
                <a:lnTo>
                  <a:pt x="779" y="246"/>
                </a:lnTo>
                <a:lnTo>
                  <a:pt x="792" y="232"/>
                </a:lnTo>
                <a:close/>
                <a:moveTo>
                  <a:pt x="779" y="177"/>
                </a:moveTo>
                <a:lnTo>
                  <a:pt x="814" y="177"/>
                </a:lnTo>
                <a:lnTo>
                  <a:pt x="814" y="166"/>
                </a:lnTo>
                <a:lnTo>
                  <a:pt x="792" y="166"/>
                </a:lnTo>
                <a:lnTo>
                  <a:pt x="779" y="177"/>
                </a:lnTo>
                <a:close/>
                <a:moveTo>
                  <a:pt x="814" y="130"/>
                </a:moveTo>
                <a:lnTo>
                  <a:pt x="808" y="125"/>
                </a:lnTo>
                <a:lnTo>
                  <a:pt x="792" y="125"/>
                </a:lnTo>
                <a:lnTo>
                  <a:pt x="771" y="147"/>
                </a:lnTo>
                <a:lnTo>
                  <a:pt x="797" y="147"/>
                </a:lnTo>
                <a:lnTo>
                  <a:pt x="814" y="130"/>
                </a:lnTo>
                <a:close/>
                <a:moveTo>
                  <a:pt x="900" y="157"/>
                </a:moveTo>
                <a:lnTo>
                  <a:pt x="925" y="157"/>
                </a:lnTo>
                <a:lnTo>
                  <a:pt x="925" y="145"/>
                </a:lnTo>
                <a:lnTo>
                  <a:pt x="903" y="124"/>
                </a:lnTo>
                <a:lnTo>
                  <a:pt x="869" y="124"/>
                </a:lnTo>
                <a:lnTo>
                  <a:pt x="869" y="145"/>
                </a:lnTo>
                <a:lnTo>
                  <a:pt x="889" y="145"/>
                </a:lnTo>
                <a:lnTo>
                  <a:pt x="900" y="157"/>
                </a:lnTo>
                <a:close/>
                <a:moveTo>
                  <a:pt x="920" y="226"/>
                </a:moveTo>
                <a:lnTo>
                  <a:pt x="930" y="216"/>
                </a:lnTo>
                <a:lnTo>
                  <a:pt x="930" y="200"/>
                </a:lnTo>
                <a:lnTo>
                  <a:pt x="897" y="200"/>
                </a:lnTo>
                <a:lnTo>
                  <a:pt x="880" y="183"/>
                </a:lnTo>
                <a:lnTo>
                  <a:pt x="866" y="199"/>
                </a:lnTo>
                <a:lnTo>
                  <a:pt x="893" y="226"/>
                </a:lnTo>
                <a:lnTo>
                  <a:pt x="920" y="226"/>
                </a:lnTo>
                <a:close/>
                <a:moveTo>
                  <a:pt x="876" y="354"/>
                </a:moveTo>
                <a:lnTo>
                  <a:pt x="876" y="364"/>
                </a:lnTo>
                <a:lnTo>
                  <a:pt x="905" y="364"/>
                </a:lnTo>
                <a:lnTo>
                  <a:pt x="905" y="348"/>
                </a:lnTo>
                <a:lnTo>
                  <a:pt x="883" y="348"/>
                </a:lnTo>
                <a:lnTo>
                  <a:pt x="876" y="354"/>
                </a:lnTo>
                <a:close/>
                <a:moveTo>
                  <a:pt x="946" y="219"/>
                </a:moveTo>
                <a:lnTo>
                  <a:pt x="946" y="233"/>
                </a:lnTo>
                <a:lnTo>
                  <a:pt x="972" y="233"/>
                </a:lnTo>
                <a:lnTo>
                  <a:pt x="978" y="229"/>
                </a:lnTo>
                <a:lnTo>
                  <a:pt x="968" y="219"/>
                </a:lnTo>
                <a:lnTo>
                  <a:pt x="946" y="219"/>
                </a:lnTo>
                <a:close/>
                <a:moveTo>
                  <a:pt x="951" y="153"/>
                </a:moveTo>
                <a:lnTo>
                  <a:pt x="961" y="163"/>
                </a:lnTo>
                <a:lnTo>
                  <a:pt x="972" y="163"/>
                </a:lnTo>
                <a:lnTo>
                  <a:pt x="972" y="135"/>
                </a:lnTo>
                <a:lnTo>
                  <a:pt x="951" y="135"/>
                </a:lnTo>
                <a:lnTo>
                  <a:pt x="951" y="153"/>
                </a:lnTo>
                <a:close/>
                <a:moveTo>
                  <a:pt x="962" y="101"/>
                </a:moveTo>
                <a:lnTo>
                  <a:pt x="943" y="101"/>
                </a:lnTo>
                <a:lnTo>
                  <a:pt x="943" y="112"/>
                </a:lnTo>
                <a:lnTo>
                  <a:pt x="962" y="112"/>
                </a:lnTo>
                <a:lnTo>
                  <a:pt x="962" y="101"/>
                </a:lnTo>
                <a:close/>
                <a:moveTo>
                  <a:pt x="1010" y="143"/>
                </a:moveTo>
                <a:lnTo>
                  <a:pt x="1051" y="143"/>
                </a:lnTo>
                <a:lnTo>
                  <a:pt x="1064" y="130"/>
                </a:lnTo>
                <a:lnTo>
                  <a:pt x="1064" y="101"/>
                </a:lnTo>
                <a:lnTo>
                  <a:pt x="1024" y="62"/>
                </a:lnTo>
                <a:lnTo>
                  <a:pt x="991" y="94"/>
                </a:lnTo>
                <a:lnTo>
                  <a:pt x="991" y="114"/>
                </a:lnTo>
                <a:lnTo>
                  <a:pt x="1010" y="114"/>
                </a:lnTo>
                <a:lnTo>
                  <a:pt x="1010" y="143"/>
                </a:lnTo>
                <a:close/>
                <a:moveTo>
                  <a:pt x="1149" y="84"/>
                </a:moveTo>
                <a:lnTo>
                  <a:pt x="1149" y="91"/>
                </a:lnTo>
                <a:lnTo>
                  <a:pt x="1136" y="104"/>
                </a:lnTo>
                <a:lnTo>
                  <a:pt x="1092" y="104"/>
                </a:lnTo>
                <a:lnTo>
                  <a:pt x="1092" y="125"/>
                </a:lnTo>
                <a:lnTo>
                  <a:pt x="1100" y="134"/>
                </a:lnTo>
                <a:lnTo>
                  <a:pt x="1063" y="171"/>
                </a:lnTo>
                <a:lnTo>
                  <a:pt x="1038" y="171"/>
                </a:lnTo>
                <a:lnTo>
                  <a:pt x="1038" y="179"/>
                </a:lnTo>
                <a:lnTo>
                  <a:pt x="1056" y="196"/>
                </a:lnTo>
                <a:lnTo>
                  <a:pt x="1148" y="196"/>
                </a:lnTo>
                <a:lnTo>
                  <a:pt x="1168" y="177"/>
                </a:lnTo>
                <a:lnTo>
                  <a:pt x="1155" y="164"/>
                </a:lnTo>
                <a:lnTo>
                  <a:pt x="1155" y="154"/>
                </a:lnTo>
                <a:lnTo>
                  <a:pt x="1172" y="154"/>
                </a:lnTo>
                <a:lnTo>
                  <a:pt x="1215" y="109"/>
                </a:lnTo>
                <a:lnTo>
                  <a:pt x="1264" y="109"/>
                </a:lnTo>
                <a:lnTo>
                  <a:pt x="1302" y="72"/>
                </a:lnTo>
                <a:lnTo>
                  <a:pt x="1292" y="62"/>
                </a:lnTo>
                <a:lnTo>
                  <a:pt x="1305" y="49"/>
                </a:lnTo>
                <a:lnTo>
                  <a:pt x="1354" y="49"/>
                </a:lnTo>
                <a:lnTo>
                  <a:pt x="1362" y="42"/>
                </a:lnTo>
                <a:lnTo>
                  <a:pt x="1362" y="30"/>
                </a:lnTo>
                <a:lnTo>
                  <a:pt x="1349" y="17"/>
                </a:lnTo>
                <a:lnTo>
                  <a:pt x="1254" y="17"/>
                </a:lnTo>
                <a:lnTo>
                  <a:pt x="1246" y="27"/>
                </a:lnTo>
                <a:lnTo>
                  <a:pt x="1158" y="27"/>
                </a:lnTo>
                <a:lnTo>
                  <a:pt x="1145" y="40"/>
                </a:lnTo>
                <a:lnTo>
                  <a:pt x="1072" y="40"/>
                </a:lnTo>
                <a:lnTo>
                  <a:pt x="1072" y="65"/>
                </a:lnTo>
                <a:lnTo>
                  <a:pt x="1089" y="84"/>
                </a:lnTo>
                <a:lnTo>
                  <a:pt x="1149" y="84"/>
                </a:lnTo>
                <a:close/>
                <a:moveTo>
                  <a:pt x="1751" y="335"/>
                </a:moveTo>
                <a:lnTo>
                  <a:pt x="1724" y="335"/>
                </a:lnTo>
                <a:lnTo>
                  <a:pt x="1724" y="323"/>
                </a:lnTo>
                <a:lnTo>
                  <a:pt x="1770" y="323"/>
                </a:lnTo>
                <a:lnTo>
                  <a:pt x="1793" y="301"/>
                </a:lnTo>
                <a:lnTo>
                  <a:pt x="1778" y="287"/>
                </a:lnTo>
                <a:lnTo>
                  <a:pt x="1757" y="287"/>
                </a:lnTo>
                <a:lnTo>
                  <a:pt x="1757" y="276"/>
                </a:lnTo>
                <a:lnTo>
                  <a:pt x="1778" y="276"/>
                </a:lnTo>
                <a:lnTo>
                  <a:pt x="1826" y="227"/>
                </a:lnTo>
                <a:lnTo>
                  <a:pt x="1810" y="212"/>
                </a:lnTo>
                <a:lnTo>
                  <a:pt x="1810" y="196"/>
                </a:lnTo>
                <a:lnTo>
                  <a:pt x="1826" y="181"/>
                </a:lnTo>
                <a:lnTo>
                  <a:pt x="1826" y="155"/>
                </a:lnTo>
                <a:lnTo>
                  <a:pt x="1797" y="155"/>
                </a:lnTo>
                <a:lnTo>
                  <a:pt x="1797" y="137"/>
                </a:lnTo>
                <a:lnTo>
                  <a:pt x="1823" y="112"/>
                </a:lnTo>
                <a:lnTo>
                  <a:pt x="1813" y="101"/>
                </a:lnTo>
                <a:lnTo>
                  <a:pt x="1813" y="89"/>
                </a:lnTo>
                <a:lnTo>
                  <a:pt x="1869" y="89"/>
                </a:lnTo>
                <a:lnTo>
                  <a:pt x="1892" y="68"/>
                </a:lnTo>
                <a:lnTo>
                  <a:pt x="1892" y="56"/>
                </a:lnTo>
                <a:lnTo>
                  <a:pt x="1745" y="56"/>
                </a:lnTo>
                <a:lnTo>
                  <a:pt x="1745" y="40"/>
                </a:lnTo>
                <a:lnTo>
                  <a:pt x="1724" y="40"/>
                </a:lnTo>
                <a:lnTo>
                  <a:pt x="1724" y="29"/>
                </a:lnTo>
                <a:lnTo>
                  <a:pt x="1778" y="29"/>
                </a:lnTo>
                <a:lnTo>
                  <a:pt x="1778" y="20"/>
                </a:lnTo>
                <a:lnTo>
                  <a:pt x="1767" y="10"/>
                </a:lnTo>
                <a:lnTo>
                  <a:pt x="1719" y="10"/>
                </a:lnTo>
                <a:lnTo>
                  <a:pt x="1711" y="0"/>
                </a:lnTo>
                <a:lnTo>
                  <a:pt x="1613" y="0"/>
                </a:lnTo>
                <a:lnTo>
                  <a:pt x="1593" y="19"/>
                </a:lnTo>
                <a:lnTo>
                  <a:pt x="1558" y="19"/>
                </a:lnTo>
                <a:lnTo>
                  <a:pt x="1539" y="39"/>
                </a:lnTo>
                <a:lnTo>
                  <a:pt x="1493" y="39"/>
                </a:lnTo>
                <a:lnTo>
                  <a:pt x="1493" y="53"/>
                </a:lnTo>
                <a:lnTo>
                  <a:pt x="1469" y="53"/>
                </a:lnTo>
                <a:lnTo>
                  <a:pt x="1469" y="40"/>
                </a:lnTo>
                <a:lnTo>
                  <a:pt x="1401" y="40"/>
                </a:lnTo>
                <a:lnTo>
                  <a:pt x="1361" y="79"/>
                </a:lnTo>
                <a:lnTo>
                  <a:pt x="1315" y="79"/>
                </a:lnTo>
                <a:lnTo>
                  <a:pt x="1315" y="94"/>
                </a:lnTo>
                <a:lnTo>
                  <a:pt x="1259" y="150"/>
                </a:lnTo>
                <a:lnTo>
                  <a:pt x="1243" y="150"/>
                </a:lnTo>
                <a:lnTo>
                  <a:pt x="1243" y="164"/>
                </a:lnTo>
                <a:lnTo>
                  <a:pt x="1292" y="164"/>
                </a:lnTo>
                <a:lnTo>
                  <a:pt x="1292" y="176"/>
                </a:lnTo>
                <a:lnTo>
                  <a:pt x="1269" y="176"/>
                </a:lnTo>
                <a:lnTo>
                  <a:pt x="1269" y="184"/>
                </a:lnTo>
                <a:lnTo>
                  <a:pt x="1293" y="209"/>
                </a:lnTo>
                <a:lnTo>
                  <a:pt x="1364" y="209"/>
                </a:lnTo>
                <a:lnTo>
                  <a:pt x="1418" y="263"/>
                </a:lnTo>
                <a:lnTo>
                  <a:pt x="1418" y="328"/>
                </a:lnTo>
                <a:lnTo>
                  <a:pt x="1437" y="348"/>
                </a:lnTo>
                <a:lnTo>
                  <a:pt x="1437" y="369"/>
                </a:lnTo>
                <a:lnTo>
                  <a:pt x="1418" y="387"/>
                </a:lnTo>
                <a:lnTo>
                  <a:pt x="1418" y="505"/>
                </a:lnTo>
                <a:lnTo>
                  <a:pt x="1457" y="544"/>
                </a:lnTo>
                <a:lnTo>
                  <a:pt x="1476" y="544"/>
                </a:lnTo>
                <a:lnTo>
                  <a:pt x="1486" y="554"/>
                </a:lnTo>
                <a:lnTo>
                  <a:pt x="1499" y="554"/>
                </a:lnTo>
                <a:lnTo>
                  <a:pt x="1535" y="518"/>
                </a:lnTo>
                <a:lnTo>
                  <a:pt x="1535" y="500"/>
                </a:lnTo>
                <a:lnTo>
                  <a:pt x="1548" y="485"/>
                </a:lnTo>
                <a:lnTo>
                  <a:pt x="1548" y="442"/>
                </a:lnTo>
                <a:lnTo>
                  <a:pt x="1560" y="431"/>
                </a:lnTo>
                <a:lnTo>
                  <a:pt x="1614" y="431"/>
                </a:lnTo>
                <a:lnTo>
                  <a:pt x="1653" y="392"/>
                </a:lnTo>
                <a:lnTo>
                  <a:pt x="1716" y="392"/>
                </a:lnTo>
                <a:lnTo>
                  <a:pt x="1761" y="347"/>
                </a:lnTo>
                <a:lnTo>
                  <a:pt x="1751" y="335"/>
                </a:lnTo>
                <a:close/>
                <a:moveTo>
                  <a:pt x="1421" y="360"/>
                </a:moveTo>
                <a:lnTo>
                  <a:pt x="1421" y="351"/>
                </a:lnTo>
                <a:lnTo>
                  <a:pt x="1404" y="351"/>
                </a:lnTo>
                <a:lnTo>
                  <a:pt x="1395" y="360"/>
                </a:lnTo>
                <a:lnTo>
                  <a:pt x="1395" y="370"/>
                </a:lnTo>
                <a:lnTo>
                  <a:pt x="1411" y="370"/>
                </a:lnTo>
                <a:lnTo>
                  <a:pt x="1421" y="360"/>
                </a:lnTo>
                <a:close/>
                <a:moveTo>
                  <a:pt x="1811" y="495"/>
                </a:moveTo>
                <a:lnTo>
                  <a:pt x="1829" y="478"/>
                </a:lnTo>
                <a:lnTo>
                  <a:pt x="1839" y="478"/>
                </a:lnTo>
                <a:lnTo>
                  <a:pt x="1860" y="456"/>
                </a:lnTo>
                <a:lnTo>
                  <a:pt x="1860" y="426"/>
                </a:lnTo>
                <a:lnTo>
                  <a:pt x="1761" y="426"/>
                </a:lnTo>
                <a:lnTo>
                  <a:pt x="1742" y="445"/>
                </a:lnTo>
                <a:lnTo>
                  <a:pt x="1742" y="461"/>
                </a:lnTo>
                <a:lnTo>
                  <a:pt x="1770" y="461"/>
                </a:lnTo>
                <a:lnTo>
                  <a:pt x="1770" y="479"/>
                </a:lnTo>
                <a:lnTo>
                  <a:pt x="1786" y="479"/>
                </a:lnTo>
                <a:lnTo>
                  <a:pt x="1801" y="495"/>
                </a:lnTo>
                <a:lnTo>
                  <a:pt x="1811" y="495"/>
                </a:lnTo>
                <a:close/>
                <a:moveTo>
                  <a:pt x="3313" y="1444"/>
                </a:moveTo>
                <a:lnTo>
                  <a:pt x="3313" y="1470"/>
                </a:lnTo>
                <a:lnTo>
                  <a:pt x="3322" y="1480"/>
                </a:lnTo>
                <a:lnTo>
                  <a:pt x="3340" y="1480"/>
                </a:lnTo>
                <a:lnTo>
                  <a:pt x="3340" y="1444"/>
                </a:lnTo>
                <a:lnTo>
                  <a:pt x="3327" y="1430"/>
                </a:lnTo>
                <a:lnTo>
                  <a:pt x="3313" y="1444"/>
                </a:lnTo>
                <a:close/>
                <a:moveTo>
                  <a:pt x="2917" y="1752"/>
                </a:moveTo>
                <a:lnTo>
                  <a:pt x="2901" y="1752"/>
                </a:lnTo>
                <a:lnTo>
                  <a:pt x="2901" y="1780"/>
                </a:lnTo>
                <a:lnTo>
                  <a:pt x="2864" y="1817"/>
                </a:lnTo>
                <a:lnTo>
                  <a:pt x="2844" y="1817"/>
                </a:lnTo>
                <a:lnTo>
                  <a:pt x="2829" y="1830"/>
                </a:lnTo>
                <a:lnTo>
                  <a:pt x="2829" y="1873"/>
                </a:lnTo>
                <a:lnTo>
                  <a:pt x="2836" y="1879"/>
                </a:lnTo>
                <a:lnTo>
                  <a:pt x="2836" y="1899"/>
                </a:lnTo>
                <a:lnTo>
                  <a:pt x="2816" y="1918"/>
                </a:lnTo>
                <a:lnTo>
                  <a:pt x="2816" y="1934"/>
                </a:lnTo>
                <a:lnTo>
                  <a:pt x="2828" y="1944"/>
                </a:lnTo>
                <a:lnTo>
                  <a:pt x="2828" y="1962"/>
                </a:lnTo>
                <a:lnTo>
                  <a:pt x="2860" y="1962"/>
                </a:lnTo>
                <a:lnTo>
                  <a:pt x="2891" y="1931"/>
                </a:lnTo>
                <a:lnTo>
                  <a:pt x="2891" y="1873"/>
                </a:lnTo>
                <a:lnTo>
                  <a:pt x="2908" y="1856"/>
                </a:lnTo>
                <a:lnTo>
                  <a:pt x="2908" y="1826"/>
                </a:lnTo>
                <a:lnTo>
                  <a:pt x="2927" y="1808"/>
                </a:lnTo>
                <a:lnTo>
                  <a:pt x="2927" y="1781"/>
                </a:lnTo>
                <a:lnTo>
                  <a:pt x="2917" y="1771"/>
                </a:lnTo>
                <a:lnTo>
                  <a:pt x="2917" y="1752"/>
                </a:lnTo>
                <a:close/>
                <a:moveTo>
                  <a:pt x="3671" y="1614"/>
                </a:moveTo>
                <a:lnTo>
                  <a:pt x="3663" y="1604"/>
                </a:lnTo>
                <a:lnTo>
                  <a:pt x="3651" y="1604"/>
                </a:lnTo>
                <a:lnTo>
                  <a:pt x="3641" y="1594"/>
                </a:lnTo>
                <a:lnTo>
                  <a:pt x="3641" y="1562"/>
                </a:lnTo>
                <a:lnTo>
                  <a:pt x="3630" y="1552"/>
                </a:lnTo>
                <a:lnTo>
                  <a:pt x="3605" y="1552"/>
                </a:lnTo>
                <a:lnTo>
                  <a:pt x="3540" y="1487"/>
                </a:lnTo>
                <a:lnTo>
                  <a:pt x="3530" y="1487"/>
                </a:lnTo>
                <a:lnTo>
                  <a:pt x="3530" y="1505"/>
                </a:lnTo>
                <a:lnTo>
                  <a:pt x="3591" y="1565"/>
                </a:lnTo>
                <a:lnTo>
                  <a:pt x="3591" y="1592"/>
                </a:lnTo>
                <a:lnTo>
                  <a:pt x="3659" y="1660"/>
                </a:lnTo>
                <a:lnTo>
                  <a:pt x="3671" y="1647"/>
                </a:lnTo>
                <a:lnTo>
                  <a:pt x="3671" y="1614"/>
                </a:lnTo>
                <a:close/>
                <a:moveTo>
                  <a:pt x="3692" y="1611"/>
                </a:moveTo>
                <a:lnTo>
                  <a:pt x="3692" y="1601"/>
                </a:lnTo>
                <a:lnTo>
                  <a:pt x="3674" y="1584"/>
                </a:lnTo>
                <a:lnTo>
                  <a:pt x="3663" y="1594"/>
                </a:lnTo>
                <a:lnTo>
                  <a:pt x="3682" y="1611"/>
                </a:lnTo>
                <a:lnTo>
                  <a:pt x="3692" y="1611"/>
                </a:lnTo>
                <a:close/>
                <a:moveTo>
                  <a:pt x="3893" y="1424"/>
                </a:moveTo>
                <a:lnTo>
                  <a:pt x="3876" y="1443"/>
                </a:lnTo>
                <a:lnTo>
                  <a:pt x="3876" y="1453"/>
                </a:lnTo>
                <a:lnTo>
                  <a:pt x="3886" y="1453"/>
                </a:lnTo>
                <a:lnTo>
                  <a:pt x="3905" y="1435"/>
                </a:lnTo>
                <a:lnTo>
                  <a:pt x="3893" y="1424"/>
                </a:lnTo>
                <a:close/>
                <a:moveTo>
                  <a:pt x="3887" y="1359"/>
                </a:moveTo>
                <a:lnTo>
                  <a:pt x="3887" y="1374"/>
                </a:lnTo>
                <a:lnTo>
                  <a:pt x="3913" y="1374"/>
                </a:lnTo>
                <a:lnTo>
                  <a:pt x="3921" y="1366"/>
                </a:lnTo>
                <a:lnTo>
                  <a:pt x="3912" y="1359"/>
                </a:lnTo>
                <a:lnTo>
                  <a:pt x="3887" y="1359"/>
                </a:lnTo>
                <a:close/>
                <a:moveTo>
                  <a:pt x="3791" y="1687"/>
                </a:moveTo>
                <a:lnTo>
                  <a:pt x="3777" y="1673"/>
                </a:lnTo>
                <a:lnTo>
                  <a:pt x="3752" y="1673"/>
                </a:lnTo>
                <a:lnTo>
                  <a:pt x="3741" y="1662"/>
                </a:lnTo>
                <a:lnTo>
                  <a:pt x="3689" y="1662"/>
                </a:lnTo>
                <a:lnTo>
                  <a:pt x="3680" y="1651"/>
                </a:lnTo>
                <a:lnTo>
                  <a:pt x="3666" y="1666"/>
                </a:lnTo>
                <a:lnTo>
                  <a:pt x="3684" y="1685"/>
                </a:lnTo>
                <a:lnTo>
                  <a:pt x="3718" y="1685"/>
                </a:lnTo>
                <a:lnTo>
                  <a:pt x="3732" y="1699"/>
                </a:lnTo>
                <a:lnTo>
                  <a:pt x="3791" y="1699"/>
                </a:lnTo>
                <a:lnTo>
                  <a:pt x="3791" y="1687"/>
                </a:lnTo>
                <a:close/>
                <a:moveTo>
                  <a:pt x="3919" y="1562"/>
                </a:moveTo>
                <a:lnTo>
                  <a:pt x="3929" y="1552"/>
                </a:lnTo>
                <a:lnTo>
                  <a:pt x="3929" y="1539"/>
                </a:lnTo>
                <a:lnTo>
                  <a:pt x="3902" y="1539"/>
                </a:lnTo>
                <a:lnTo>
                  <a:pt x="3902" y="1548"/>
                </a:lnTo>
                <a:lnTo>
                  <a:pt x="3860" y="1548"/>
                </a:lnTo>
                <a:lnTo>
                  <a:pt x="3860" y="1581"/>
                </a:lnTo>
                <a:lnTo>
                  <a:pt x="3838" y="1603"/>
                </a:lnTo>
                <a:lnTo>
                  <a:pt x="3838" y="1628"/>
                </a:lnTo>
                <a:lnTo>
                  <a:pt x="3859" y="1647"/>
                </a:lnTo>
                <a:lnTo>
                  <a:pt x="3867" y="1647"/>
                </a:lnTo>
                <a:lnTo>
                  <a:pt x="3867" y="1628"/>
                </a:lnTo>
                <a:lnTo>
                  <a:pt x="3877" y="1628"/>
                </a:lnTo>
                <a:lnTo>
                  <a:pt x="3877" y="1650"/>
                </a:lnTo>
                <a:lnTo>
                  <a:pt x="3897" y="1650"/>
                </a:lnTo>
                <a:lnTo>
                  <a:pt x="3897" y="1621"/>
                </a:lnTo>
                <a:lnTo>
                  <a:pt x="3889" y="1611"/>
                </a:lnTo>
                <a:lnTo>
                  <a:pt x="3902" y="1600"/>
                </a:lnTo>
                <a:lnTo>
                  <a:pt x="3902" y="1581"/>
                </a:lnTo>
                <a:lnTo>
                  <a:pt x="3872" y="1581"/>
                </a:lnTo>
                <a:lnTo>
                  <a:pt x="3872" y="1562"/>
                </a:lnTo>
                <a:lnTo>
                  <a:pt x="3919" y="1562"/>
                </a:lnTo>
                <a:close/>
                <a:moveTo>
                  <a:pt x="3720" y="1286"/>
                </a:moveTo>
                <a:lnTo>
                  <a:pt x="3720" y="1270"/>
                </a:lnTo>
                <a:lnTo>
                  <a:pt x="3710" y="1260"/>
                </a:lnTo>
                <a:lnTo>
                  <a:pt x="3692" y="1277"/>
                </a:lnTo>
                <a:lnTo>
                  <a:pt x="3692" y="1297"/>
                </a:lnTo>
                <a:lnTo>
                  <a:pt x="3707" y="1297"/>
                </a:lnTo>
                <a:lnTo>
                  <a:pt x="3720" y="1286"/>
                </a:lnTo>
                <a:close/>
                <a:moveTo>
                  <a:pt x="3841" y="1191"/>
                </a:moveTo>
                <a:lnTo>
                  <a:pt x="3841" y="1218"/>
                </a:lnTo>
                <a:lnTo>
                  <a:pt x="3853" y="1230"/>
                </a:lnTo>
                <a:lnTo>
                  <a:pt x="3862" y="1220"/>
                </a:lnTo>
                <a:lnTo>
                  <a:pt x="3862" y="1196"/>
                </a:lnTo>
                <a:lnTo>
                  <a:pt x="3850" y="1184"/>
                </a:lnTo>
                <a:lnTo>
                  <a:pt x="3841" y="1191"/>
                </a:lnTo>
                <a:close/>
                <a:moveTo>
                  <a:pt x="3863" y="1279"/>
                </a:moveTo>
                <a:lnTo>
                  <a:pt x="3853" y="1289"/>
                </a:lnTo>
                <a:lnTo>
                  <a:pt x="3853" y="1317"/>
                </a:lnTo>
                <a:lnTo>
                  <a:pt x="3841" y="1317"/>
                </a:lnTo>
                <a:lnTo>
                  <a:pt x="3841" y="1342"/>
                </a:lnTo>
                <a:lnTo>
                  <a:pt x="3854" y="1342"/>
                </a:lnTo>
                <a:lnTo>
                  <a:pt x="3854" y="1352"/>
                </a:lnTo>
                <a:lnTo>
                  <a:pt x="3882" y="1352"/>
                </a:lnTo>
                <a:lnTo>
                  <a:pt x="3882" y="1287"/>
                </a:lnTo>
                <a:lnTo>
                  <a:pt x="3873" y="1279"/>
                </a:lnTo>
                <a:lnTo>
                  <a:pt x="3863" y="1279"/>
                </a:lnTo>
                <a:close/>
                <a:moveTo>
                  <a:pt x="3897" y="1451"/>
                </a:moveTo>
                <a:lnTo>
                  <a:pt x="3932" y="1484"/>
                </a:lnTo>
                <a:lnTo>
                  <a:pt x="3952" y="1464"/>
                </a:lnTo>
                <a:lnTo>
                  <a:pt x="3952" y="1435"/>
                </a:lnTo>
                <a:lnTo>
                  <a:pt x="3939" y="1423"/>
                </a:lnTo>
                <a:lnTo>
                  <a:pt x="3928" y="1423"/>
                </a:lnTo>
                <a:lnTo>
                  <a:pt x="3897" y="1451"/>
                </a:lnTo>
                <a:close/>
                <a:moveTo>
                  <a:pt x="3918" y="1399"/>
                </a:moveTo>
                <a:lnTo>
                  <a:pt x="3928" y="1399"/>
                </a:lnTo>
                <a:lnTo>
                  <a:pt x="3936" y="1392"/>
                </a:lnTo>
                <a:lnTo>
                  <a:pt x="3936" y="1387"/>
                </a:lnTo>
                <a:lnTo>
                  <a:pt x="3918" y="1387"/>
                </a:lnTo>
                <a:lnTo>
                  <a:pt x="3918" y="1399"/>
                </a:lnTo>
                <a:close/>
                <a:moveTo>
                  <a:pt x="3880" y="1407"/>
                </a:moveTo>
                <a:lnTo>
                  <a:pt x="3899" y="1407"/>
                </a:lnTo>
                <a:lnTo>
                  <a:pt x="3899" y="1391"/>
                </a:lnTo>
                <a:lnTo>
                  <a:pt x="3887" y="1391"/>
                </a:lnTo>
                <a:lnTo>
                  <a:pt x="3880" y="1398"/>
                </a:lnTo>
                <a:lnTo>
                  <a:pt x="3880" y="1407"/>
                </a:lnTo>
                <a:close/>
                <a:moveTo>
                  <a:pt x="3872" y="1389"/>
                </a:moveTo>
                <a:lnTo>
                  <a:pt x="3872" y="1375"/>
                </a:lnTo>
                <a:lnTo>
                  <a:pt x="3857" y="1361"/>
                </a:lnTo>
                <a:lnTo>
                  <a:pt x="3847" y="1371"/>
                </a:lnTo>
                <a:lnTo>
                  <a:pt x="3864" y="1389"/>
                </a:lnTo>
                <a:lnTo>
                  <a:pt x="3872" y="1389"/>
                </a:lnTo>
                <a:close/>
                <a:moveTo>
                  <a:pt x="3817" y="1441"/>
                </a:moveTo>
                <a:lnTo>
                  <a:pt x="3824" y="1441"/>
                </a:lnTo>
                <a:lnTo>
                  <a:pt x="3860" y="1407"/>
                </a:lnTo>
                <a:lnTo>
                  <a:pt x="3849" y="1397"/>
                </a:lnTo>
                <a:lnTo>
                  <a:pt x="3817" y="1427"/>
                </a:lnTo>
                <a:lnTo>
                  <a:pt x="3817" y="1441"/>
                </a:lnTo>
                <a:close/>
                <a:moveTo>
                  <a:pt x="3965" y="1549"/>
                </a:moveTo>
                <a:lnTo>
                  <a:pt x="3955" y="1549"/>
                </a:lnTo>
                <a:lnTo>
                  <a:pt x="3955" y="1565"/>
                </a:lnTo>
                <a:lnTo>
                  <a:pt x="3968" y="1578"/>
                </a:lnTo>
                <a:lnTo>
                  <a:pt x="3972" y="1578"/>
                </a:lnTo>
                <a:lnTo>
                  <a:pt x="3972" y="1523"/>
                </a:lnTo>
                <a:lnTo>
                  <a:pt x="3965" y="1523"/>
                </a:lnTo>
                <a:lnTo>
                  <a:pt x="3965" y="1549"/>
                </a:lnTo>
                <a:close/>
                <a:moveTo>
                  <a:pt x="3978" y="1623"/>
                </a:moveTo>
                <a:lnTo>
                  <a:pt x="3998" y="1623"/>
                </a:lnTo>
                <a:lnTo>
                  <a:pt x="4003" y="1618"/>
                </a:lnTo>
                <a:lnTo>
                  <a:pt x="3993" y="1608"/>
                </a:lnTo>
                <a:lnTo>
                  <a:pt x="3978" y="1608"/>
                </a:lnTo>
                <a:lnTo>
                  <a:pt x="3978" y="1623"/>
                </a:lnTo>
                <a:close/>
                <a:moveTo>
                  <a:pt x="3834" y="1703"/>
                </a:moveTo>
                <a:lnTo>
                  <a:pt x="3849" y="1703"/>
                </a:lnTo>
                <a:lnTo>
                  <a:pt x="3854" y="1710"/>
                </a:lnTo>
                <a:lnTo>
                  <a:pt x="3886" y="1710"/>
                </a:lnTo>
                <a:lnTo>
                  <a:pt x="3890" y="1706"/>
                </a:lnTo>
                <a:lnTo>
                  <a:pt x="3879" y="1695"/>
                </a:lnTo>
                <a:lnTo>
                  <a:pt x="3834" y="1695"/>
                </a:lnTo>
                <a:lnTo>
                  <a:pt x="3834" y="1703"/>
                </a:lnTo>
                <a:close/>
                <a:moveTo>
                  <a:pt x="4080" y="1584"/>
                </a:moveTo>
                <a:lnTo>
                  <a:pt x="4050" y="1584"/>
                </a:lnTo>
                <a:lnTo>
                  <a:pt x="4050" y="1601"/>
                </a:lnTo>
                <a:lnTo>
                  <a:pt x="4070" y="1601"/>
                </a:lnTo>
                <a:lnTo>
                  <a:pt x="4080" y="1591"/>
                </a:lnTo>
                <a:lnTo>
                  <a:pt x="4080" y="1584"/>
                </a:lnTo>
                <a:close/>
                <a:moveTo>
                  <a:pt x="4144" y="1594"/>
                </a:moveTo>
                <a:lnTo>
                  <a:pt x="4093" y="1594"/>
                </a:lnTo>
                <a:lnTo>
                  <a:pt x="4072" y="1614"/>
                </a:lnTo>
                <a:lnTo>
                  <a:pt x="4046" y="1614"/>
                </a:lnTo>
                <a:lnTo>
                  <a:pt x="4046" y="1636"/>
                </a:lnTo>
                <a:lnTo>
                  <a:pt x="4082" y="1636"/>
                </a:lnTo>
                <a:lnTo>
                  <a:pt x="4108" y="1662"/>
                </a:lnTo>
                <a:lnTo>
                  <a:pt x="4108" y="1679"/>
                </a:lnTo>
                <a:lnTo>
                  <a:pt x="4093" y="1679"/>
                </a:lnTo>
                <a:lnTo>
                  <a:pt x="4093" y="1692"/>
                </a:lnTo>
                <a:lnTo>
                  <a:pt x="4126" y="1692"/>
                </a:lnTo>
                <a:lnTo>
                  <a:pt x="4145" y="1710"/>
                </a:lnTo>
                <a:lnTo>
                  <a:pt x="4158" y="1710"/>
                </a:lnTo>
                <a:lnTo>
                  <a:pt x="4167" y="1702"/>
                </a:lnTo>
                <a:lnTo>
                  <a:pt x="4167" y="1683"/>
                </a:lnTo>
                <a:lnTo>
                  <a:pt x="4193" y="1683"/>
                </a:lnTo>
                <a:lnTo>
                  <a:pt x="4234" y="1725"/>
                </a:lnTo>
                <a:lnTo>
                  <a:pt x="4265" y="1725"/>
                </a:lnTo>
                <a:lnTo>
                  <a:pt x="4265" y="1712"/>
                </a:lnTo>
                <a:lnTo>
                  <a:pt x="4256" y="1705"/>
                </a:lnTo>
                <a:lnTo>
                  <a:pt x="4242" y="1705"/>
                </a:lnTo>
                <a:lnTo>
                  <a:pt x="4226" y="1689"/>
                </a:lnTo>
                <a:lnTo>
                  <a:pt x="4226" y="1659"/>
                </a:lnTo>
                <a:lnTo>
                  <a:pt x="4190" y="1623"/>
                </a:lnTo>
                <a:lnTo>
                  <a:pt x="4172" y="1623"/>
                </a:lnTo>
                <a:lnTo>
                  <a:pt x="4158" y="1607"/>
                </a:lnTo>
                <a:lnTo>
                  <a:pt x="4158" y="1607"/>
                </a:lnTo>
                <a:lnTo>
                  <a:pt x="4144" y="1594"/>
                </a:lnTo>
                <a:close/>
                <a:moveTo>
                  <a:pt x="4260" y="1646"/>
                </a:moveTo>
                <a:lnTo>
                  <a:pt x="4246" y="1646"/>
                </a:lnTo>
                <a:lnTo>
                  <a:pt x="4246" y="1662"/>
                </a:lnTo>
                <a:lnTo>
                  <a:pt x="4272" y="1662"/>
                </a:lnTo>
                <a:lnTo>
                  <a:pt x="4282" y="1651"/>
                </a:lnTo>
                <a:lnTo>
                  <a:pt x="4282" y="1636"/>
                </a:lnTo>
                <a:lnTo>
                  <a:pt x="4270" y="1636"/>
                </a:lnTo>
                <a:lnTo>
                  <a:pt x="4260" y="1646"/>
                </a:lnTo>
                <a:close/>
                <a:moveTo>
                  <a:pt x="4289" y="1613"/>
                </a:moveTo>
                <a:lnTo>
                  <a:pt x="4301" y="1624"/>
                </a:lnTo>
                <a:lnTo>
                  <a:pt x="4305" y="1624"/>
                </a:lnTo>
                <a:lnTo>
                  <a:pt x="4305" y="1611"/>
                </a:lnTo>
                <a:lnTo>
                  <a:pt x="4289" y="1595"/>
                </a:lnTo>
                <a:lnTo>
                  <a:pt x="4289" y="1613"/>
                </a:lnTo>
                <a:close/>
                <a:moveTo>
                  <a:pt x="4255" y="1915"/>
                </a:moveTo>
                <a:lnTo>
                  <a:pt x="4198" y="1859"/>
                </a:lnTo>
                <a:lnTo>
                  <a:pt x="4198" y="1810"/>
                </a:lnTo>
                <a:lnTo>
                  <a:pt x="4165" y="1778"/>
                </a:lnTo>
                <a:lnTo>
                  <a:pt x="4165" y="1759"/>
                </a:lnTo>
                <a:lnTo>
                  <a:pt x="4175" y="1749"/>
                </a:lnTo>
                <a:lnTo>
                  <a:pt x="4158" y="1732"/>
                </a:lnTo>
                <a:lnTo>
                  <a:pt x="4136" y="1754"/>
                </a:lnTo>
                <a:lnTo>
                  <a:pt x="4136" y="1816"/>
                </a:lnTo>
                <a:lnTo>
                  <a:pt x="4122" y="1831"/>
                </a:lnTo>
                <a:lnTo>
                  <a:pt x="4109" y="1831"/>
                </a:lnTo>
                <a:lnTo>
                  <a:pt x="4095" y="1817"/>
                </a:lnTo>
                <a:lnTo>
                  <a:pt x="4080" y="1817"/>
                </a:lnTo>
                <a:lnTo>
                  <a:pt x="4063" y="1798"/>
                </a:lnTo>
                <a:lnTo>
                  <a:pt x="4063" y="1775"/>
                </a:lnTo>
                <a:lnTo>
                  <a:pt x="4077" y="1775"/>
                </a:lnTo>
                <a:lnTo>
                  <a:pt x="4083" y="1770"/>
                </a:lnTo>
                <a:lnTo>
                  <a:pt x="4083" y="1752"/>
                </a:lnTo>
                <a:lnTo>
                  <a:pt x="4043" y="1752"/>
                </a:lnTo>
                <a:lnTo>
                  <a:pt x="4026" y="1735"/>
                </a:lnTo>
                <a:lnTo>
                  <a:pt x="4005" y="1735"/>
                </a:lnTo>
                <a:lnTo>
                  <a:pt x="4005" y="1758"/>
                </a:lnTo>
                <a:lnTo>
                  <a:pt x="3995" y="1758"/>
                </a:lnTo>
                <a:lnTo>
                  <a:pt x="3981" y="1772"/>
                </a:lnTo>
                <a:lnTo>
                  <a:pt x="3981" y="1797"/>
                </a:lnTo>
                <a:lnTo>
                  <a:pt x="3962" y="1797"/>
                </a:lnTo>
                <a:lnTo>
                  <a:pt x="3949" y="1785"/>
                </a:lnTo>
                <a:lnTo>
                  <a:pt x="3926" y="1785"/>
                </a:lnTo>
                <a:lnTo>
                  <a:pt x="3877" y="1834"/>
                </a:lnTo>
                <a:lnTo>
                  <a:pt x="3877" y="1849"/>
                </a:lnTo>
                <a:lnTo>
                  <a:pt x="3838" y="1888"/>
                </a:lnTo>
                <a:lnTo>
                  <a:pt x="3794" y="1888"/>
                </a:lnTo>
                <a:lnTo>
                  <a:pt x="3768" y="1914"/>
                </a:lnTo>
                <a:lnTo>
                  <a:pt x="3751" y="1914"/>
                </a:lnTo>
                <a:lnTo>
                  <a:pt x="3751" y="2050"/>
                </a:lnTo>
                <a:lnTo>
                  <a:pt x="3762" y="2060"/>
                </a:lnTo>
                <a:lnTo>
                  <a:pt x="3762" y="2079"/>
                </a:lnTo>
                <a:lnTo>
                  <a:pt x="3751" y="2091"/>
                </a:lnTo>
                <a:lnTo>
                  <a:pt x="3778" y="2118"/>
                </a:lnTo>
                <a:lnTo>
                  <a:pt x="3807" y="2118"/>
                </a:lnTo>
                <a:lnTo>
                  <a:pt x="3820" y="2106"/>
                </a:lnTo>
                <a:lnTo>
                  <a:pt x="3862" y="2106"/>
                </a:lnTo>
                <a:lnTo>
                  <a:pt x="3893" y="2075"/>
                </a:lnTo>
                <a:lnTo>
                  <a:pt x="3990" y="2075"/>
                </a:lnTo>
                <a:lnTo>
                  <a:pt x="4013" y="2099"/>
                </a:lnTo>
                <a:lnTo>
                  <a:pt x="4013" y="2117"/>
                </a:lnTo>
                <a:lnTo>
                  <a:pt x="4029" y="2117"/>
                </a:lnTo>
                <a:lnTo>
                  <a:pt x="4047" y="2098"/>
                </a:lnTo>
                <a:lnTo>
                  <a:pt x="4053" y="2105"/>
                </a:lnTo>
                <a:lnTo>
                  <a:pt x="4053" y="2121"/>
                </a:lnTo>
                <a:lnTo>
                  <a:pt x="4066" y="2134"/>
                </a:lnTo>
                <a:lnTo>
                  <a:pt x="4066" y="2160"/>
                </a:lnTo>
                <a:lnTo>
                  <a:pt x="4083" y="2177"/>
                </a:lnTo>
                <a:lnTo>
                  <a:pt x="4174" y="2177"/>
                </a:lnTo>
                <a:lnTo>
                  <a:pt x="4217" y="2134"/>
                </a:lnTo>
                <a:lnTo>
                  <a:pt x="4217" y="2115"/>
                </a:lnTo>
                <a:lnTo>
                  <a:pt x="4269" y="2063"/>
                </a:lnTo>
                <a:lnTo>
                  <a:pt x="4269" y="1954"/>
                </a:lnTo>
                <a:lnTo>
                  <a:pt x="4255" y="1939"/>
                </a:lnTo>
                <a:lnTo>
                  <a:pt x="4255" y="1915"/>
                </a:lnTo>
                <a:close/>
                <a:moveTo>
                  <a:pt x="4112" y="2258"/>
                </a:moveTo>
                <a:lnTo>
                  <a:pt x="4124" y="2269"/>
                </a:lnTo>
                <a:lnTo>
                  <a:pt x="4147" y="2269"/>
                </a:lnTo>
                <a:lnTo>
                  <a:pt x="4155" y="2262"/>
                </a:lnTo>
                <a:lnTo>
                  <a:pt x="4155" y="2245"/>
                </a:lnTo>
                <a:lnTo>
                  <a:pt x="4162" y="2237"/>
                </a:lnTo>
                <a:lnTo>
                  <a:pt x="4162" y="2223"/>
                </a:lnTo>
                <a:lnTo>
                  <a:pt x="4112" y="2223"/>
                </a:lnTo>
                <a:lnTo>
                  <a:pt x="4112" y="2258"/>
                </a:lnTo>
                <a:close/>
                <a:moveTo>
                  <a:pt x="4440" y="2259"/>
                </a:moveTo>
                <a:lnTo>
                  <a:pt x="4424" y="2259"/>
                </a:lnTo>
                <a:lnTo>
                  <a:pt x="4383" y="2301"/>
                </a:lnTo>
                <a:lnTo>
                  <a:pt x="4414" y="2331"/>
                </a:lnTo>
                <a:lnTo>
                  <a:pt x="4433" y="2312"/>
                </a:lnTo>
                <a:lnTo>
                  <a:pt x="4433" y="2297"/>
                </a:lnTo>
                <a:lnTo>
                  <a:pt x="4452" y="2278"/>
                </a:lnTo>
                <a:lnTo>
                  <a:pt x="4472" y="2278"/>
                </a:lnTo>
                <a:lnTo>
                  <a:pt x="4472" y="2263"/>
                </a:lnTo>
                <a:lnTo>
                  <a:pt x="4499" y="2237"/>
                </a:lnTo>
                <a:lnTo>
                  <a:pt x="4499" y="2210"/>
                </a:lnTo>
                <a:lnTo>
                  <a:pt x="4489" y="2210"/>
                </a:lnTo>
                <a:lnTo>
                  <a:pt x="4440" y="2259"/>
                </a:lnTo>
                <a:close/>
                <a:moveTo>
                  <a:pt x="4542" y="2164"/>
                </a:moveTo>
                <a:lnTo>
                  <a:pt x="4542" y="2147"/>
                </a:lnTo>
                <a:lnTo>
                  <a:pt x="4534" y="2147"/>
                </a:lnTo>
                <a:lnTo>
                  <a:pt x="4527" y="2138"/>
                </a:lnTo>
                <a:lnTo>
                  <a:pt x="4527" y="2114"/>
                </a:lnTo>
                <a:lnTo>
                  <a:pt x="4512" y="2114"/>
                </a:lnTo>
                <a:lnTo>
                  <a:pt x="4512" y="2134"/>
                </a:lnTo>
                <a:lnTo>
                  <a:pt x="4524" y="2145"/>
                </a:lnTo>
                <a:lnTo>
                  <a:pt x="4524" y="2173"/>
                </a:lnTo>
                <a:lnTo>
                  <a:pt x="4509" y="2187"/>
                </a:lnTo>
                <a:lnTo>
                  <a:pt x="4509" y="2232"/>
                </a:lnTo>
                <a:lnTo>
                  <a:pt x="4524" y="2232"/>
                </a:lnTo>
                <a:lnTo>
                  <a:pt x="4524" y="2219"/>
                </a:lnTo>
                <a:lnTo>
                  <a:pt x="4551" y="2191"/>
                </a:lnTo>
                <a:lnTo>
                  <a:pt x="4564" y="2191"/>
                </a:lnTo>
                <a:lnTo>
                  <a:pt x="4564" y="2164"/>
                </a:lnTo>
                <a:lnTo>
                  <a:pt x="4542" y="2164"/>
                </a:lnTo>
                <a:close/>
                <a:moveTo>
                  <a:pt x="4440" y="1892"/>
                </a:moveTo>
                <a:lnTo>
                  <a:pt x="4440" y="1898"/>
                </a:lnTo>
                <a:lnTo>
                  <a:pt x="4452" y="1898"/>
                </a:lnTo>
                <a:lnTo>
                  <a:pt x="4463" y="1909"/>
                </a:lnTo>
                <a:lnTo>
                  <a:pt x="4472" y="1901"/>
                </a:lnTo>
                <a:lnTo>
                  <a:pt x="4462" y="1892"/>
                </a:lnTo>
                <a:lnTo>
                  <a:pt x="4440" y="1892"/>
                </a:lnTo>
                <a:close/>
                <a:moveTo>
                  <a:pt x="3974" y="1034"/>
                </a:moveTo>
                <a:lnTo>
                  <a:pt x="3961" y="1034"/>
                </a:lnTo>
                <a:lnTo>
                  <a:pt x="3938" y="1057"/>
                </a:lnTo>
                <a:lnTo>
                  <a:pt x="3965" y="1086"/>
                </a:lnTo>
                <a:lnTo>
                  <a:pt x="3974" y="1077"/>
                </a:lnTo>
                <a:lnTo>
                  <a:pt x="3974" y="1034"/>
                </a:lnTo>
                <a:close/>
                <a:moveTo>
                  <a:pt x="4026" y="996"/>
                </a:moveTo>
                <a:lnTo>
                  <a:pt x="3997" y="996"/>
                </a:lnTo>
                <a:lnTo>
                  <a:pt x="3977" y="1018"/>
                </a:lnTo>
                <a:lnTo>
                  <a:pt x="4001" y="1042"/>
                </a:lnTo>
                <a:lnTo>
                  <a:pt x="4010" y="1035"/>
                </a:lnTo>
                <a:lnTo>
                  <a:pt x="4027" y="1035"/>
                </a:lnTo>
                <a:lnTo>
                  <a:pt x="4027" y="1021"/>
                </a:lnTo>
                <a:lnTo>
                  <a:pt x="4070" y="1021"/>
                </a:lnTo>
                <a:lnTo>
                  <a:pt x="4092" y="999"/>
                </a:lnTo>
                <a:lnTo>
                  <a:pt x="4092" y="947"/>
                </a:lnTo>
                <a:lnTo>
                  <a:pt x="4079" y="934"/>
                </a:lnTo>
                <a:lnTo>
                  <a:pt x="4079" y="911"/>
                </a:lnTo>
                <a:lnTo>
                  <a:pt x="4066" y="911"/>
                </a:lnTo>
                <a:lnTo>
                  <a:pt x="4057" y="920"/>
                </a:lnTo>
                <a:lnTo>
                  <a:pt x="4057" y="978"/>
                </a:lnTo>
                <a:lnTo>
                  <a:pt x="4026" y="978"/>
                </a:lnTo>
                <a:lnTo>
                  <a:pt x="4026" y="996"/>
                </a:lnTo>
                <a:close/>
                <a:moveTo>
                  <a:pt x="3994" y="1044"/>
                </a:moveTo>
                <a:lnTo>
                  <a:pt x="3985" y="1053"/>
                </a:lnTo>
                <a:lnTo>
                  <a:pt x="3985" y="1061"/>
                </a:lnTo>
                <a:lnTo>
                  <a:pt x="3993" y="1061"/>
                </a:lnTo>
                <a:lnTo>
                  <a:pt x="4001" y="1053"/>
                </a:lnTo>
                <a:lnTo>
                  <a:pt x="3994" y="1044"/>
                </a:lnTo>
                <a:close/>
                <a:moveTo>
                  <a:pt x="4059" y="826"/>
                </a:moveTo>
                <a:lnTo>
                  <a:pt x="4059" y="867"/>
                </a:lnTo>
                <a:lnTo>
                  <a:pt x="4043" y="881"/>
                </a:lnTo>
                <a:lnTo>
                  <a:pt x="4056" y="894"/>
                </a:lnTo>
                <a:lnTo>
                  <a:pt x="4095" y="894"/>
                </a:lnTo>
                <a:lnTo>
                  <a:pt x="4115" y="874"/>
                </a:lnTo>
                <a:lnTo>
                  <a:pt x="4115" y="860"/>
                </a:lnTo>
                <a:lnTo>
                  <a:pt x="4088" y="860"/>
                </a:lnTo>
                <a:lnTo>
                  <a:pt x="4076" y="848"/>
                </a:lnTo>
                <a:lnTo>
                  <a:pt x="4076" y="826"/>
                </a:lnTo>
                <a:lnTo>
                  <a:pt x="4059" y="826"/>
                </a:lnTo>
                <a:close/>
                <a:moveTo>
                  <a:pt x="4027" y="681"/>
                </a:moveTo>
                <a:lnTo>
                  <a:pt x="4027" y="733"/>
                </a:lnTo>
                <a:lnTo>
                  <a:pt x="4040" y="746"/>
                </a:lnTo>
                <a:lnTo>
                  <a:pt x="4040" y="772"/>
                </a:lnTo>
                <a:lnTo>
                  <a:pt x="4067" y="772"/>
                </a:lnTo>
                <a:lnTo>
                  <a:pt x="4067" y="750"/>
                </a:lnTo>
                <a:lnTo>
                  <a:pt x="4043" y="726"/>
                </a:lnTo>
                <a:lnTo>
                  <a:pt x="4043" y="681"/>
                </a:lnTo>
                <a:lnTo>
                  <a:pt x="4027" y="681"/>
                </a:lnTo>
                <a:close/>
                <a:moveTo>
                  <a:pt x="2164" y="616"/>
                </a:moveTo>
                <a:lnTo>
                  <a:pt x="2171" y="609"/>
                </a:lnTo>
                <a:lnTo>
                  <a:pt x="2171" y="596"/>
                </a:lnTo>
                <a:lnTo>
                  <a:pt x="2164" y="603"/>
                </a:lnTo>
                <a:lnTo>
                  <a:pt x="2164" y="616"/>
                </a:lnTo>
                <a:close/>
                <a:moveTo>
                  <a:pt x="2459" y="367"/>
                </a:moveTo>
                <a:lnTo>
                  <a:pt x="2459" y="351"/>
                </a:lnTo>
                <a:lnTo>
                  <a:pt x="2449" y="351"/>
                </a:lnTo>
                <a:lnTo>
                  <a:pt x="2449" y="360"/>
                </a:lnTo>
                <a:lnTo>
                  <a:pt x="2454" y="360"/>
                </a:lnTo>
                <a:lnTo>
                  <a:pt x="2454" y="373"/>
                </a:lnTo>
                <a:lnTo>
                  <a:pt x="2459" y="367"/>
                </a:lnTo>
                <a:close/>
                <a:moveTo>
                  <a:pt x="2402" y="128"/>
                </a:moveTo>
                <a:lnTo>
                  <a:pt x="2415" y="128"/>
                </a:lnTo>
                <a:lnTo>
                  <a:pt x="2415" y="157"/>
                </a:lnTo>
                <a:lnTo>
                  <a:pt x="2448" y="189"/>
                </a:lnTo>
                <a:lnTo>
                  <a:pt x="2452" y="189"/>
                </a:lnTo>
                <a:lnTo>
                  <a:pt x="2452" y="160"/>
                </a:lnTo>
                <a:lnTo>
                  <a:pt x="2465" y="147"/>
                </a:lnTo>
                <a:lnTo>
                  <a:pt x="2481" y="147"/>
                </a:lnTo>
                <a:lnTo>
                  <a:pt x="2481" y="167"/>
                </a:lnTo>
                <a:lnTo>
                  <a:pt x="2511" y="167"/>
                </a:lnTo>
                <a:lnTo>
                  <a:pt x="2521" y="157"/>
                </a:lnTo>
                <a:lnTo>
                  <a:pt x="2494" y="128"/>
                </a:lnTo>
                <a:lnTo>
                  <a:pt x="2478" y="128"/>
                </a:lnTo>
                <a:lnTo>
                  <a:pt x="2448" y="98"/>
                </a:lnTo>
                <a:lnTo>
                  <a:pt x="2431" y="98"/>
                </a:lnTo>
                <a:lnTo>
                  <a:pt x="2431" y="114"/>
                </a:lnTo>
                <a:lnTo>
                  <a:pt x="2397" y="114"/>
                </a:lnTo>
                <a:lnTo>
                  <a:pt x="2397" y="107"/>
                </a:lnTo>
                <a:lnTo>
                  <a:pt x="2373" y="107"/>
                </a:lnTo>
                <a:lnTo>
                  <a:pt x="2373" y="137"/>
                </a:lnTo>
                <a:lnTo>
                  <a:pt x="2393" y="137"/>
                </a:lnTo>
                <a:lnTo>
                  <a:pt x="2402" y="128"/>
                </a:lnTo>
                <a:close/>
                <a:moveTo>
                  <a:pt x="2510" y="122"/>
                </a:moveTo>
                <a:lnTo>
                  <a:pt x="2526" y="122"/>
                </a:lnTo>
                <a:lnTo>
                  <a:pt x="2559" y="91"/>
                </a:lnTo>
                <a:lnTo>
                  <a:pt x="2517" y="91"/>
                </a:lnTo>
                <a:lnTo>
                  <a:pt x="2508" y="82"/>
                </a:lnTo>
                <a:lnTo>
                  <a:pt x="2474" y="82"/>
                </a:lnTo>
                <a:lnTo>
                  <a:pt x="2474" y="108"/>
                </a:lnTo>
                <a:lnTo>
                  <a:pt x="2495" y="108"/>
                </a:lnTo>
                <a:lnTo>
                  <a:pt x="2510" y="122"/>
                </a:lnTo>
                <a:close/>
                <a:moveTo>
                  <a:pt x="2861" y="323"/>
                </a:moveTo>
                <a:lnTo>
                  <a:pt x="2872" y="334"/>
                </a:lnTo>
                <a:lnTo>
                  <a:pt x="2914" y="334"/>
                </a:lnTo>
                <a:lnTo>
                  <a:pt x="2914" y="327"/>
                </a:lnTo>
                <a:lnTo>
                  <a:pt x="2893" y="305"/>
                </a:lnTo>
                <a:lnTo>
                  <a:pt x="2893" y="268"/>
                </a:lnTo>
                <a:lnTo>
                  <a:pt x="2936" y="225"/>
                </a:lnTo>
                <a:lnTo>
                  <a:pt x="2970" y="225"/>
                </a:lnTo>
                <a:lnTo>
                  <a:pt x="2996" y="199"/>
                </a:lnTo>
                <a:lnTo>
                  <a:pt x="3022" y="199"/>
                </a:lnTo>
                <a:lnTo>
                  <a:pt x="3028" y="193"/>
                </a:lnTo>
                <a:lnTo>
                  <a:pt x="3028" y="177"/>
                </a:lnTo>
                <a:lnTo>
                  <a:pt x="2998" y="177"/>
                </a:lnTo>
                <a:lnTo>
                  <a:pt x="2973" y="202"/>
                </a:lnTo>
                <a:lnTo>
                  <a:pt x="2914" y="202"/>
                </a:lnTo>
                <a:lnTo>
                  <a:pt x="2851" y="265"/>
                </a:lnTo>
                <a:lnTo>
                  <a:pt x="2851" y="308"/>
                </a:lnTo>
                <a:lnTo>
                  <a:pt x="2861" y="308"/>
                </a:lnTo>
                <a:lnTo>
                  <a:pt x="2861" y="323"/>
                </a:lnTo>
                <a:close/>
                <a:moveTo>
                  <a:pt x="2920" y="335"/>
                </a:moveTo>
                <a:lnTo>
                  <a:pt x="2920" y="346"/>
                </a:lnTo>
                <a:lnTo>
                  <a:pt x="2946" y="346"/>
                </a:lnTo>
                <a:lnTo>
                  <a:pt x="2940" y="340"/>
                </a:lnTo>
                <a:lnTo>
                  <a:pt x="2940" y="335"/>
                </a:lnTo>
                <a:lnTo>
                  <a:pt x="2920" y="335"/>
                </a:lnTo>
                <a:close/>
                <a:moveTo>
                  <a:pt x="2834" y="366"/>
                </a:moveTo>
                <a:lnTo>
                  <a:pt x="2822" y="356"/>
                </a:lnTo>
                <a:lnTo>
                  <a:pt x="2813" y="364"/>
                </a:lnTo>
                <a:lnTo>
                  <a:pt x="2813" y="374"/>
                </a:lnTo>
                <a:lnTo>
                  <a:pt x="2824" y="374"/>
                </a:lnTo>
                <a:lnTo>
                  <a:pt x="2834" y="366"/>
                </a:lnTo>
                <a:close/>
                <a:moveTo>
                  <a:pt x="3312" y="81"/>
                </a:moveTo>
                <a:lnTo>
                  <a:pt x="3312" y="59"/>
                </a:lnTo>
                <a:lnTo>
                  <a:pt x="3290" y="59"/>
                </a:lnTo>
                <a:lnTo>
                  <a:pt x="3276" y="73"/>
                </a:lnTo>
                <a:lnTo>
                  <a:pt x="3264" y="73"/>
                </a:lnTo>
                <a:lnTo>
                  <a:pt x="3255" y="82"/>
                </a:lnTo>
                <a:lnTo>
                  <a:pt x="3283" y="109"/>
                </a:lnTo>
                <a:lnTo>
                  <a:pt x="3312" y="81"/>
                </a:lnTo>
                <a:close/>
                <a:moveTo>
                  <a:pt x="3309" y="130"/>
                </a:moveTo>
                <a:lnTo>
                  <a:pt x="3358" y="130"/>
                </a:lnTo>
                <a:lnTo>
                  <a:pt x="3358" y="117"/>
                </a:lnTo>
                <a:lnTo>
                  <a:pt x="3350" y="117"/>
                </a:lnTo>
                <a:lnTo>
                  <a:pt x="3350" y="108"/>
                </a:lnTo>
                <a:lnTo>
                  <a:pt x="3330" y="88"/>
                </a:lnTo>
                <a:lnTo>
                  <a:pt x="3320" y="88"/>
                </a:lnTo>
                <a:lnTo>
                  <a:pt x="3293" y="114"/>
                </a:lnTo>
                <a:lnTo>
                  <a:pt x="3309" y="130"/>
                </a:lnTo>
                <a:close/>
                <a:moveTo>
                  <a:pt x="3407" y="148"/>
                </a:moveTo>
                <a:lnTo>
                  <a:pt x="3418" y="138"/>
                </a:lnTo>
                <a:lnTo>
                  <a:pt x="3418" y="127"/>
                </a:lnTo>
                <a:lnTo>
                  <a:pt x="3404" y="127"/>
                </a:lnTo>
                <a:lnTo>
                  <a:pt x="3392" y="117"/>
                </a:lnTo>
                <a:lnTo>
                  <a:pt x="3366" y="117"/>
                </a:lnTo>
                <a:lnTo>
                  <a:pt x="3366" y="135"/>
                </a:lnTo>
                <a:lnTo>
                  <a:pt x="3381" y="148"/>
                </a:lnTo>
                <a:lnTo>
                  <a:pt x="3407" y="148"/>
                </a:lnTo>
                <a:close/>
                <a:moveTo>
                  <a:pt x="3882" y="233"/>
                </a:moveTo>
                <a:lnTo>
                  <a:pt x="3890" y="225"/>
                </a:lnTo>
                <a:lnTo>
                  <a:pt x="3890" y="219"/>
                </a:lnTo>
                <a:lnTo>
                  <a:pt x="3874" y="219"/>
                </a:lnTo>
                <a:lnTo>
                  <a:pt x="3874" y="209"/>
                </a:lnTo>
                <a:lnTo>
                  <a:pt x="3862" y="196"/>
                </a:lnTo>
                <a:lnTo>
                  <a:pt x="3801" y="196"/>
                </a:lnTo>
                <a:lnTo>
                  <a:pt x="3801" y="217"/>
                </a:lnTo>
                <a:lnTo>
                  <a:pt x="3817" y="233"/>
                </a:lnTo>
                <a:lnTo>
                  <a:pt x="3882" y="233"/>
                </a:lnTo>
                <a:close/>
                <a:moveTo>
                  <a:pt x="3962" y="226"/>
                </a:moveTo>
                <a:lnTo>
                  <a:pt x="3962" y="216"/>
                </a:lnTo>
                <a:lnTo>
                  <a:pt x="3919" y="216"/>
                </a:lnTo>
                <a:lnTo>
                  <a:pt x="3919" y="222"/>
                </a:lnTo>
                <a:lnTo>
                  <a:pt x="3925" y="226"/>
                </a:lnTo>
                <a:lnTo>
                  <a:pt x="3962" y="226"/>
                </a:lnTo>
                <a:close/>
                <a:moveTo>
                  <a:pt x="4373" y="317"/>
                </a:moveTo>
                <a:lnTo>
                  <a:pt x="4360" y="304"/>
                </a:lnTo>
                <a:lnTo>
                  <a:pt x="4350" y="304"/>
                </a:lnTo>
                <a:lnTo>
                  <a:pt x="4337" y="317"/>
                </a:lnTo>
                <a:lnTo>
                  <a:pt x="4337" y="323"/>
                </a:lnTo>
                <a:lnTo>
                  <a:pt x="4373" y="323"/>
                </a:lnTo>
                <a:lnTo>
                  <a:pt x="4373" y="317"/>
                </a:lnTo>
                <a:close/>
                <a:moveTo>
                  <a:pt x="3713" y="1591"/>
                </a:moveTo>
                <a:lnTo>
                  <a:pt x="3749" y="1627"/>
                </a:lnTo>
                <a:lnTo>
                  <a:pt x="3802" y="1627"/>
                </a:lnTo>
                <a:lnTo>
                  <a:pt x="3814" y="1615"/>
                </a:lnTo>
                <a:lnTo>
                  <a:pt x="3814" y="1590"/>
                </a:lnTo>
                <a:lnTo>
                  <a:pt x="3843" y="1561"/>
                </a:lnTo>
                <a:lnTo>
                  <a:pt x="3843" y="1546"/>
                </a:lnTo>
                <a:lnTo>
                  <a:pt x="3834" y="1536"/>
                </a:lnTo>
                <a:lnTo>
                  <a:pt x="3834" y="1506"/>
                </a:lnTo>
                <a:lnTo>
                  <a:pt x="3834" y="1505"/>
                </a:lnTo>
                <a:lnTo>
                  <a:pt x="3849" y="1492"/>
                </a:lnTo>
                <a:lnTo>
                  <a:pt x="3849" y="1476"/>
                </a:lnTo>
                <a:lnTo>
                  <a:pt x="3813" y="1476"/>
                </a:lnTo>
                <a:lnTo>
                  <a:pt x="3765" y="1525"/>
                </a:lnTo>
                <a:lnTo>
                  <a:pt x="3738" y="1525"/>
                </a:lnTo>
                <a:lnTo>
                  <a:pt x="3738" y="1546"/>
                </a:lnTo>
                <a:lnTo>
                  <a:pt x="3738" y="1546"/>
                </a:lnTo>
                <a:lnTo>
                  <a:pt x="3706" y="1546"/>
                </a:lnTo>
                <a:lnTo>
                  <a:pt x="3706" y="1568"/>
                </a:lnTo>
                <a:lnTo>
                  <a:pt x="3713" y="1574"/>
                </a:lnTo>
                <a:lnTo>
                  <a:pt x="3713" y="1591"/>
                </a:lnTo>
                <a:close/>
                <a:moveTo>
                  <a:pt x="2583" y="986"/>
                </a:moveTo>
                <a:lnTo>
                  <a:pt x="2557" y="986"/>
                </a:lnTo>
                <a:lnTo>
                  <a:pt x="2566" y="993"/>
                </a:lnTo>
                <a:lnTo>
                  <a:pt x="2583" y="993"/>
                </a:lnTo>
                <a:lnTo>
                  <a:pt x="2583" y="986"/>
                </a:lnTo>
                <a:close/>
                <a:moveTo>
                  <a:pt x="2668" y="1012"/>
                </a:moveTo>
                <a:lnTo>
                  <a:pt x="2668" y="1019"/>
                </a:lnTo>
                <a:lnTo>
                  <a:pt x="2684" y="1019"/>
                </a:lnTo>
                <a:lnTo>
                  <a:pt x="2690" y="1012"/>
                </a:lnTo>
                <a:lnTo>
                  <a:pt x="2668" y="1012"/>
                </a:lnTo>
                <a:close/>
                <a:moveTo>
                  <a:pt x="2148" y="718"/>
                </a:moveTo>
                <a:lnTo>
                  <a:pt x="2174" y="718"/>
                </a:lnTo>
                <a:lnTo>
                  <a:pt x="2174" y="682"/>
                </a:lnTo>
                <a:lnTo>
                  <a:pt x="2180" y="677"/>
                </a:lnTo>
                <a:lnTo>
                  <a:pt x="2180" y="664"/>
                </a:lnTo>
                <a:lnTo>
                  <a:pt x="2177" y="661"/>
                </a:lnTo>
                <a:lnTo>
                  <a:pt x="2157" y="661"/>
                </a:lnTo>
                <a:lnTo>
                  <a:pt x="2147" y="661"/>
                </a:lnTo>
                <a:lnTo>
                  <a:pt x="2147" y="675"/>
                </a:lnTo>
                <a:lnTo>
                  <a:pt x="2125" y="675"/>
                </a:lnTo>
                <a:lnTo>
                  <a:pt x="2125" y="729"/>
                </a:lnTo>
                <a:lnTo>
                  <a:pt x="2138" y="729"/>
                </a:lnTo>
                <a:lnTo>
                  <a:pt x="2148" y="718"/>
                </a:lnTo>
                <a:close/>
                <a:moveTo>
                  <a:pt x="2209" y="664"/>
                </a:moveTo>
                <a:lnTo>
                  <a:pt x="2216" y="671"/>
                </a:lnTo>
                <a:lnTo>
                  <a:pt x="2216" y="691"/>
                </a:lnTo>
                <a:lnTo>
                  <a:pt x="2197" y="691"/>
                </a:lnTo>
                <a:lnTo>
                  <a:pt x="2197" y="721"/>
                </a:lnTo>
                <a:lnTo>
                  <a:pt x="2215" y="721"/>
                </a:lnTo>
                <a:lnTo>
                  <a:pt x="2215" y="729"/>
                </a:lnTo>
                <a:lnTo>
                  <a:pt x="2202" y="729"/>
                </a:lnTo>
                <a:lnTo>
                  <a:pt x="2183" y="747"/>
                </a:lnTo>
                <a:lnTo>
                  <a:pt x="2192" y="756"/>
                </a:lnTo>
                <a:lnTo>
                  <a:pt x="2207" y="742"/>
                </a:lnTo>
                <a:lnTo>
                  <a:pt x="2253" y="742"/>
                </a:lnTo>
                <a:lnTo>
                  <a:pt x="2271" y="723"/>
                </a:lnTo>
                <a:lnTo>
                  <a:pt x="2271" y="703"/>
                </a:lnTo>
                <a:lnTo>
                  <a:pt x="2262" y="703"/>
                </a:lnTo>
                <a:lnTo>
                  <a:pt x="2252" y="691"/>
                </a:lnTo>
                <a:lnTo>
                  <a:pt x="2252" y="672"/>
                </a:lnTo>
                <a:lnTo>
                  <a:pt x="2232" y="652"/>
                </a:lnTo>
                <a:lnTo>
                  <a:pt x="2232" y="639"/>
                </a:lnTo>
                <a:lnTo>
                  <a:pt x="2219" y="625"/>
                </a:lnTo>
                <a:lnTo>
                  <a:pt x="2219" y="621"/>
                </a:lnTo>
                <a:lnTo>
                  <a:pt x="2225" y="621"/>
                </a:lnTo>
                <a:lnTo>
                  <a:pt x="2225" y="606"/>
                </a:lnTo>
                <a:lnTo>
                  <a:pt x="2207" y="606"/>
                </a:lnTo>
                <a:lnTo>
                  <a:pt x="2207" y="593"/>
                </a:lnTo>
                <a:lnTo>
                  <a:pt x="2194" y="593"/>
                </a:lnTo>
                <a:lnTo>
                  <a:pt x="2180" y="608"/>
                </a:lnTo>
                <a:lnTo>
                  <a:pt x="2180" y="648"/>
                </a:lnTo>
                <a:lnTo>
                  <a:pt x="2196" y="664"/>
                </a:lnTo>
                <a:lnTo>
                  <a:pt x="2209" y="664"/>
                </a:lnTo>
                <a:close/>
                <a:moveTo>
                  <a:pt x="2376" y="885"/>
                </a:moveTo>
                <a:lnTo>
                  <a:pt x="2367" y="894"/>
                </a:lnTo>
                <a:lnTo>
                  <a:pt x="2367" y="911"/>
                </a:lnTo>
                <a:lnTo>
                  <a:pt x="2376" y="911"/>
                </a:lnTo>
                <a:lnTo>
                  <a:pt x="2376" y="885"/>
                </a:lnTo>
                <a:close/>
                <a:moveTo>
                  <a:pt x="2363" y="946"/>
                </a:moveTo>
                <a:lnTo>
                  <a:pt x="2369" y="952"/>
                </a:lnTo>
                <a:lnTo>
                  <a:pt x="2376" y="952"/>
                </a:lnTo>
                <a:lnTo>
                  <a:pt x="2376" y="921"/>
                </a:lnTo>
                <a:lnTo>
                  <a:pt x="2363" y="921"/>
                </a:lnTo>
                <a:lnTo>
                  <a:pt x="2363" y="946"/>
                </a:lnTo>
                <a:close/>
                <a:moveTo>
                  <a:pt x="2455" y="985"/>
                </a:moveTo>
                <a:lnTo>
                  <a:pt x="2455" y="970"/>
                </a:lnTo>
                <a:lnTo>
                  <a:pt x="2451" y="966"/>
                </a:lnTo>
                <a:lnTo>
                  <a:pt x="2423" y="966"/>
                </a:lnTo>
                <a:lnTo>
                  <a:pt x="2423" y="975"/>
                </a:lnTo>
                <a:lnTo>
                  <a:pt x="2435" y="975"/>
                </a:lnTo>
                <a:lnTo>
                  <a:pt x="2443" y="985"/>
                </a:lnTo>
                <a:lnTo>
                  <a:pt x="2455" y="985"/>
                </a:lnTo>
                <a:close/>
                <a:moveTo>
                  <a:pt x="4407" y="502"/>
                </a:moveTo>
                <a:lnTo>
                  <a:pt x="4420" y="517"/>
                </a:lnTo>
                <a:lnTo>
                  <a:pt x="4426" y="510"/>
                </a:lnTo>
                <a:lnTo>
                  <a:pt x="4386" y="469"/>
                </a:lnTo>
                <a:lnTo>
                  <a:pt x="4404" y="449"/>
                </a:lnTo>
                <a:lnTo>
                  <a:pt x="4404" y="433"/>
                </a:lnTo>
                <a:lnTo>
                  <a:pt x="4427" y="433"/>
                </a:lnTo>
                <a:lnTo>
                  <a:pt x="4427" y="449"/>
                </a:lnTo>
                <a:lnTo>
                  <a:pt x="4470" y="449"/>
                </a:lnTo>
                <a:lnTo>
                  <a:pt x="4498" y="477"/>
                </a:lnTo>
                <a:lnTo>
                  <a:pt x="4512" y="464"/>
                </a:lnTo>
                <a:lnTo>
                  <a:pt x="4493" y="443"/>
                </a:lnTo>
                <a:lnTo>
                  <a:pt x="4502" y="435"/>
                </a:lnTo>
                <a:lnTo>
                  <a:pt x="4521" y="435"/>
                </a:lnTo>
                <a:lnTo>
                  <a:pt x="4521" y="416"/>
                </a:lnTo>
                <a:lnTo>
                  <a:pt x="4521" y="416"/>
                </a:lnTo>
                <a:lnTo>
                  <a:pt x="4453" y="416"/>
                </a:lnTo>
                <a:lnTo>
                  <a:pt x="4420" y="383"/>
                </a:lnTo>
                <a:lnTo>
                  <a:pt x="4398" y="383"/>
                </a:lnTo>
                <a:lnTo>
                  <a:pt x="4374" y="359"/>
                </a:lnTo>
                <a:lnTo>
                  <a:pt x="4374" y="359"/>
                </a:lnTo>
                <a:lnTo>
                  <a:pt x="4334" y="359"/>
                </a:lnTo>
                <a:lnTo>
                  <a:pt x="4314" y="337"/>
                </a:lnTo>
                <a:lnTo>
                  <a:pt x="4250" y="337"/>
                </a:lnTo>
                <a:lnTo>
                  <a:pt x="4242" y="347"/>
                </a:lnTo>
                <a:lnTo>
                  <a:pt x="4236" y="351"/>
                </a:lnTo>
                <a:lnTo>
                  <a:pt x="4148" y="351"/>
                </a:lnTo>
                <a:lnTo>
                  <a:pt x="4113" y="317"/>
                </a:lnTo>
                <a:lnTo>
                  <a:pt x="4007" y="317"/>
                </a:lnTo>
                <a:lnTo>
                  <a:pt x="3981" y="291"/>
                </a:lnTo>
                <a:lnTo>
                  <a:pt x="3931" y="291"/>
                </a:lnTo>
                <a:lnTo>
                  <a:pt x="3908" y="269"/>
                </a:lnTo>
                <a:lnTo>
                  <a:pt x="3883" y="269"/>
                </a:lnTo>
                <a:lnTo>
                  <a:pt x="3866" y="285"/>
                </a:lnTo>
                <a:lnTo>
                  <a:pt x="3866" y="310"/>
                </a:lnTo>
                <a:lnTo>
                  <a:pt x="3735" y="310"/>
                </a:lnTo>
                <a:lnTo>
                  <a:pt x="3718" y="292"/>
                </a:lnTo>
                <a:lnTo>
                  <a:pt x="3726" y="284"/>
                </a:lnTo>
                <a:lnTo>
                  <a:pt x="3741" y="284"/>
                </a:lnTo>
                <a:lnTo>
                  <a:pt x="3741" y="268"/>
                </a:lnTo>
                <a:lnTo>
                  <a:pt x="3729" y="256"/>
                </a:lnTo>
                <a:lnTo>
                  <a:pt x="3687" y="256"/>
                </a:lnTo>
                <a:lnTo>
                  <a:pt x="3673" y="272"/>
                </a:lnTo>
                <a:lnTo>
                  <a:pt x="3659" y="285"/>
                </a:lnTo>
                <a:lnTo>
                  <a:pt x="3627" y="255"/>
                </a:lnTo>
                <a:lnTo>
                  <a:pt x="3522" y="255"/>
                </a:lnTo>
                <a:lnTo>
                  <a:pt x="3503" y="274"/>
                </a:lnTo>
                <a:lnTo>
                  <a:pt x="3493" y="263"/>
                </a:lnTo>
                <a:lnTo>
                  <a:pt x="3538" y="220"/>
                </a:lnTo>
                <a:lnTo>
                  <a:pt x="3538" y="200"/>
                </a:lnTo>
                <a:lnTo>
                  <a:pt x="3529" y="191"/>
                </a:lnTo>
                <a:lnTo>
                  <a:pt x="3522" y="184"/>
                </a:lnTo>
                <a:lnTo>
                  <a:pt x="3522" y="184"/>
                </a:lnTo>
                <a:lnTo>
                  <a:pt x="3460" y="184"/>
                </a:lnTo>
                <a:lnTo>
                  <a:pt x="3434" y="160"/>
                </a:lnTo>
                <a:lnTo>
                  <a:pt x="3398" y="160"/>
                </a:lnTo>
                <a:lnTo>
                  <a:pt x="3389" y="170"/>
                </a:lnTo>
                <a:lnTo>
                  <a:pt x="3389" y="196"/>
                </a:lnTo>
                <a:lnTo>
                  <a:pt x="3350" y="196"/>
                </a:lnTo>
                <a:lnTo>
                  <a:pt x="3337" y="209"/>
                </a:lnTo>
                <a:lnTo>
                  <a:pt x="3251" y="209"/>
                </a:lnTo>
                <a:lnTo>
                  <a:pt x="3232" y="227"/>
                </a:lnTo>
                <a:lnTo>
                  <a:pt x="3232" y="256"/>
                </a:lnTo>
                <a:lnTo>
                  <a:pt x="3176" y="256"/>
                </a:lnTo>
                <a:lnTo>
                  <a:pt x="3176" y="256"/>
                </a:lnTo>
                <a:lnTo>
                  <a:pt x="3176" y="278"/>
                </a:lnTo>
                <a:lnTo>
                  <a:pt x="3212" y="314"/>
                </a:lnTo>
                <a:lnTo>
                  <a:pt x="3204" y="323"/>
                </a:lnTo>
                <a:lnTo>
                  <a:pt x="3170" y="291"/>
                </a:lnTo>
                <a:lnTo>
                  <a:pt x="3150" y="291"/>
                </a:lnTo>
                <a:lnTo>
                  <a:pt x="3150" y="320"/>
                </a:lnTo>
                <a:lnTo>
                  <a:pt x="3136" y="320"/>
                </a:lnTo>
                <a:lnTo>
                  <a:pt x="3119" y="302"/>
                </a:lnTo>
                <a:lnTo>
                  <a:pt x="3119" y="276"/>
                </a:lnTo>
                <a:lnTo>
                  <a:pt x="3104" y="276"/>
                </a:lnTo>
                <a:lnTo>
                  <a:pt x="3104" y="276"/>
                </a:lnTo>
                <a:lnTo>
                  <a:pt x="3104" y="318"/>
                </a:lnTo>
                <a:lnTo>
                  <a:pt x="3104" y="318"/>
                </a:lnTo>
                <a:lnTo>
                  <a:pt x="3116" y="318"/>
                </a:lnTo>
                <a:lnTo>
                  <a:pt x="3116" y="359"/>
                </a:lnTo>
                <a:lnTo>
                  <a:pt x="3116" y="359"/>
                </a:lnTo>
                <a:lnTo>
                  <a:pt x="3143" y="359"/>
                </a:lnTo>
                <a:lnTo>
                  <a:pt x="3172" y="386"/>
                </a:lnTo>
                <a:lnTo>
                  <a:pt x="3166" y="393"/>
                </a:lnTo>
                <a:lnTo>
                  <a:pt x="3149" y="376"/>
                </a:lnTo>
                <a:lnTo>
                  <a:pt x="3127" y="376"/>
                </a:lnTo>
                <a:lnTo>
                  <a:pt x="3127" y="376"/>
                </a:lnTo>
                <a:lnTo>
                  <a:pt x="3127" y="392"/>
                </a:lnTo>
                <a:lnTo>
                  <a:pt x="3097" y="422"/>
                </a:lnTo>
                <a:lnTo>
                  <a:pt x="3087" y="413"/>
                </a:lnTo>
                <a:lnTo>
                  <a:pt x="3101" y="399"/>
                </a:lnTo>
                <a:lnTo>
                  <a:pt x="3101" y="379"/>
                </a:lnTo>
                <a:lnTo>
                  <a:pt x="3087" y="364"/>
                </a:lnTo>
                <a:lnTo>
                  <a:pt x="3087" y="272"/>
                </a:lnTo>
                <a:lnTo>
                  <a:pt x="3087" y="272"/>
                </a:lnTo>
                <a:lnTo>
                  <a:pt x="3071" y="256"/>
                </a:lnTo>
                <a:lnTo>
                  <a:pt x="3054" y="256"/>
                </a:lnTo>
                <a:lnTo>
                  <a:pt x="3039" y="271"/>
                </a:lnTo>
                <a:lnTo>
                  <a:pt x="3039" y="315"/>
                </a:lnTo>
                <a:lnTo>
                  <a:pt x="3016" y="315"/>
                </a:lnTo>
                <a:lnTo>
                  <a:pt x="3016" y="333"/>
                </a:lnTo>
                <a:lnTo>
                  <a:pt x="3051" y="367"/>
                </a:lnTo>
                <a:lnTo>
                  <a:pt x="3039" y="379"/>
                </a:lnTo>
                <a:lnTo>
                  <a:pt x="3011" y="350"/>
                </a:lnTo>
                <a:lnTo>
                  <a:pt x="2955" y="350"/>
                </a:lnTo>
                <a:lnTo>
                  <a:pt x="2955" y="367"/>
                </a:lnTo>
                <a:lnTo>
                  <a:pt x="2937" y="367"/>
                </a:lnTo>
                <a:lnTo>
                  <a:pt x="2924" y="380"/>
                </a:lnTo>
                <a:lnTo>
                  <a:pt x="2845" y="380"/>
                </a:lnTo>
                <a:lnTo>
                  <a:pt x="2812" y="413"/>
                </a:lnTo>
                <a:lnTo>
                  <a:pt x="2799" y="413"/>
                </a:lnTo>
                <a:lnTo>
                  <a:pt x="2799" y="392"/>
                </a:lnTo>
                <a:lnTo>
                  <a:pt x="2785" y="377"/>
                </a:lnTo>
                <a:lnTo>
                  <a:pt x="2785" y="377"/>
                </a:lnTo>
                <a:lnTo>
                  <a:pt x="2770" y="377"/>
                </a:lnTo>
                <a:lnTo>
                  <a:pt x="2770" y="377"/>
                </a:lnTo>
                <a:lnTo>
                  <a:pt x="2770" y="438"/>
                </a:lnTo>
                <a:lnTo>
                  <a:pt x="2750" y="419"/>
                </a:lnTo>
                <a:lnTo>
                  <a:pt x="2718" y="449"/>
                </a:lnTo>
                <a:lnTo>
                  <a:pt x="2727" y="458"/>
                </a:lnTo>
                <a:lnTo>
                  <a:pt x="2718" y="468"/>
                </a:lnTo>
                <a:lnTo>
                  <a:pt x="2714" y="464"/>
                </a:lnTo>
                <a:lnTo>
                  <a:pt x="2705" y="455"/>
                </a:lnTo>
                <a:lnTo>
                  <a:pt x="2705" y="455"/>
                </a:lnTo>
                <a:lnTo>
                  <a:pt x="2694" y="466"/>
                </a:lnTo>
                <a:lnTo>
                  <a:pt x="2703" y="475"/>
                </a:lnTo>
                <a:lnTo>
                  <a:pt x="2695" y="482"/>
                </a:lnTo>
                <a:lnTo>
                  <a:pt x="2661" y="448"/>
                </a:lnTo>
                <a:lnTo>
                  <a:pt x="2661" y="413"/>
                </a:lnTo>
                <a:lnTo>
                  <a:pt x="2684" y="413"/>
                </a:lnTo>
                <a:lnTo>
                  <a:pt x="2694" y="422"/>
                </a:lnTo>
                <a:lnTo>
                  <a:pt x="2717" y="422"/>
                </a:lnTo>
                <a:lnTo>
                  <a:pt x="2731" y="409"/>
                </a:lnTo>
                <a:lnTo>
                  <a:pt x="2700" y="379"/>
                </a:lnTo>
                <a:lnTo>
                  <a:pt x="2700" y="379"/>
                </a:lnTo>
                <a:lnTo>
                  <a:pt x="2684" y="379"/>
                </a:lnTo>
                <a:lnTo>
                  <a:pt x="2659" y="354"/>
                </a:lnTo>
                <a:lnTo>
                  <a:pt x="2635" y="354"/>
                </a:lnTo>
                <a:lnTo>
                  <a:pt x="2616" y="337"/>
                </a:lnTo>
                <a:lnTo>
                  <a:pt x="2600" y="321"/>
                </a:lnTo>
                <a:lnTo>
                  <a:pt x="2560" y="321"/>
                </a:lnTo>
                <a:lnTo>
                  <a:pt x="2547" y="334"/>
                </a:lnTo>
                <a:lnTo>
                  <a:pt x="2508" y="334"/>
                </a:lnTo>
                <a:lnTo>
                  <a:pt x="2508" y="334"/>
                </a:lnTo>
                <a:lnTo>
                  <a:pt x="2508" y="363"/>
                </a:lnTo>
                <a:lnTo>
                  <a:pt x="2491" y="380"/>
                </a:lnTo>
                <a:lnTo>
                  <a:pt x="2455" y="380"/>
                </a:lnTo>
                <a:lnTo>
                  <a:pt x="2390" y="445"/>
                </a:lnTo>
                <a:lnTo>
                  <a:pt x="2390" y="445"/>
                </a:lnTo>
                <a:lnTo>
                  <a:pt x="2390" y="471"/>
                </a:lnTo>
                <a:lnTo>
                  <a:pt x="2360" y="501"/>
                </a:lnTo>
                <a:lnTo>
                  <a:pt x="2336" y="501"/>
                </a:lnTo>
                <a:lnTo>
                  <a:pt x="2315" y="521"/>
                </a:lnTo>
                <a:lnTo>
                  <a:pt x="2315" y="559"/>
                </a:lnTo>
                <a:lnTo>
                  <a:pt x="2325" y="559"/>
                </a:lnTo>
                <a:lnTo>
                  <a:pt x="2325" y="599"/>
                </a:lnTo>
                <a:lnTo>
                  <a:pt x="2348" y="599"/>
                </a:lnTo>
                <a:lnTo>
                  <a:pt x="2356" y="592"/>
                </a:lnTo>
                <a:lnTo>
                  <a:pt x="2364" y="583"/>
                </a:lnTo>
                <a:lnTo>
                  <a:pt x="2383" y="583"/>
                </a:lnTo>
                <a:lnTo>
                  <a:pt x="2389" y="587"/>
                </a:lnTo>
                <a:lnTo>
                  <a:pt x="2395" y="595"/>
                </a:lnTo>
                <a:lnTo>
                  <a:pt x="2393" y="592"/>
                </a:lnTo>
                <a:lnTo>
                  <a:pt x="2407" y="606"/>
                </a:lnTo>
                <a:lnTo>
                  <a:pt x="2407" y="629"/>
                </a:lnTo>
                <a:lnTo>
                  <a:pt x="2416" y="629"/>
                </a:lnTo>
                <a:lnTo>
                  <a:pt x="2416" y="654"/>
                </a:lnTo>
                <a:lnTo>
                  <a:pt x="2416" y="654"/>
                </a:lnTo>
                <a:lnTo>
                  <a:pt x="2428" y="654"/>
                </a:lnTo>
                <a:lnTo>
                  <a:pt x="2443" y="636"/>
                </a:lnTo>
                <a:lnTo>
                  <a:pt x="2461" y="621"/>
                </a:lnTo>
                <a:lnTo>
                  <a:pt x="2461" y="600"/>
                </a:lnTo>
                <a:lnTo>
                  <a:pt x="2477" y="585"/>
                </a:lnTo>
                <a:lnTo>
                  <a:pt x="2477" y="585"/>
                </a:lnTo>
                <a:lnTo>
                  <a:pt x="2477" y="559"/>
                </a:lnTo>
                <a:lnTo>
                  <a:pt x="2477" y="559"/>
                </a:lnTo>
                <a:lnTo>
                  <a:pt x="2467" y="549"/>
                </a:lnTo>
                <a:lnTo>
                  <a:pt x="2467" y="500"/>
                </a:lnTo>
                <a:lnTo>
                  <a:pt x="2472" y="494"/>
                </a:lnTo>
                <a:lnTo>
                  <a:pt x="2492" y="494"/>
                </a:lnTo>
                <a:lnTo>
                  <a:pt x="2513" y="472"/>
                </a:lnTo>
                <a:lnTo>
                  <a:pt x="2513" y="472"/>
                </a:lnTo>
                <a:lnTo>
                  <a:pt x="2513" y="454"/>
                </a:lnTo>
                <a:lnTo>
                  <a:pt x="2524" y="442"/>
                </a:lnTo>
                <a:lnTo>
                  <a:pt x="2531" y="442"/>
                </a:lnTo>
                <a:lnTo>
                  <a:pt x="2550" y="442"/>
                </a:lnTo>
                <a:lnTo>
                  <a:pt x="2553" y="443"/>
                </a:lnTo>
                <a:lnTo>
                  <a:pt x="2554" y="446"/>
                </a:lnTo>
                <a:lnTo>
                  <a:pt x="2554" y="458"/>
                </a:lnTo>
                <a:lnTo>
                  <a:pt x="2544" y="458"/>
                </a:lnTo>
                <a:lnTo>
                  <a:pt x="2510" y="494"/>
                </a:lnTo>
                <a:lnTo>
                  <a:pt x="2510" y="494"/>
                </a:lnTo>
                <a:lnTo>
                  <a:pt x="2510" y="534"/>
                </a:lnTo>
                <a:lnTo>
                  <a:pt x="2534" y="559"/>
                </a:lnTo>
                <a:lnTo>
                  <a:pt x="2587" y="559"/>
                </a:lnTo>
                <a:lnTo>
                  <a:pt x="2587" y="567"/>
                </a:lnTo>
                <a:lnTo>
                  <a:pt x="2551" y="567"/>
                </a:lnTo>
                <a:lnTo>
                  <a:pt x="2538" y="580"/>
                </a:lnTo>
                <a:lnTo>
                  <a:pt x="2538" y="595"/>
                </a:lnTo>
                <a:lnTo>
                  <a:pt x="2549" y="595"/>
                </a:lnTo>
                <a:lnTo>
                  <a:pt x="2549" y="608"/>
                </a:lnTo>
                <a:lnTo>
                  <a:pt x="2536" y="608"/>
                </a:lnTo>
                <a:lnTo>
                  <a:pt x="2526" y="598"/>
                </a:lnTo>
                <a:lnTo>
                  <a:pt x="2518" y="605"/>
                </a:lnTo>
                <a:lnTo>
                  <a:pt x="2518" y="631"/>
                </a:lnTo>
                <a:lnTo>
                  <a:pt x="2518" y="645"/>
                </a:lnTo>
                <a:lnTo>
                  <a:pt x="2507" y="657"/>
                </a:lnTo>
                <a:lnTo>
                  <a:pt x="2501" y="662"/>
                </a:lnTo>
                <a:lnTo>
                  <a:pt x="2451" y="662"/>
                </a:lnTo>
                <a:lnTo>
                  <a:pt x="2429" y="684"/>
                </a:lnTo>
                <a:lnTo>
                  <a:pt x="2393" y="684"/>
                </a:lnTo>
                <a:lnTo>
                  <a:pt x="2387" y="678"/>
                </a:lnTo>
                <a:lnTo>
                  <a:pt x="2379" y="670"/>
                </a:lnTo>
                <a:lnTo>
                  <a:pt x="2379" y="665"/>
                </a:lnTo>
                <a:lnTo>
                  <a:pt x="2379" y="665"/>
                </a:lnTo>
                <a:lnTo>
                  <a:pt x="2379" y="646"/>
                </a:lnTo>
                <a:lnTo>
                  <a:pt x="2393" y="632"/>
                </a:lnTo>
                <a:lnTo>
                  <a:pt x="2379" y="618"/>
                </a:lnTo>
                <a:lnTo>
                  <a:pt x="2369" y="629"/>
                </a:lnTo>
                <a:lnTo>
                  <a:pt x="2348" y="629"/>
                </a:lnTo>
                <a:lnTo>
                  <a:pt x="2348" y="629"/>
                </a:lnTo>
                <a:lnTo>
                  <a:pt x="2348" y="651"/>
                </a:lnTo>
                <a:lnTo>
                  <a:pt x="2359" y="661"/>
                </a:lnTo>
                <a:lnTo>
                  <a:pt x="2359" y="665"/>
                </a:lnTo>
                <a:lnTo>
                  <a:pt x="2359" y="695"/>
                </a:lnTo>
                <a:lnTo>
                  <a:pt x="2346" y="695"/>
                </a:lnTo>
                <a:lnTo>
                  <a:pt x="2346" y="695"/>
                </a:lnTo>
                <a:lnTo>
                  <a:pt x="2324" y="695"/>
                </a:lnTo>
                <a:lnTo>
                  <a:pt x="2305" y="714"/>
                </a:lnTo>
                <a:lnTo>
                  <a:pt x="2305" y="733"/>
                </a:lnTo>
                <a:lnTo>
                  <a:pt x="2287" y="733"/>
                </a:lnTo>
                <a:lnTo>
                  <a:pt x="2252" y="766"/>
                </a:lnTo>
                <a:lnTo>
                  <a:pt x="2238" y="766"/>
                </a:lnTo>
                <a:lnTo>
                  <a:pt x="2238" y="760"/>
                </a:lnTo>
                <a:lnTo>
                  <a:pt x="2238" y="760"/>
                </a:lnTo>
                <a:lnTo>
                  <a:pt x="2238" y="760"/>
                </a:lnTo>
                <a:lnTo>
                  <a:pt x="2228" y="760"/>
                </a:lnTo>
                <a:lnTo>
                  <a:pt x="2228" y="760"/>
                </a:lnTo>
                <a:lnTo>
                  <a:pt x="2228" y="760"/>
                </a:lnTo>
                <a:lnTo>
                  <a:pt x="2228" y="775"/>
                </a:lnTo>
                <a:lnTo>
                  <a:pt x="2219" y="775"/>
                </a:lnTo>
                <a:lnTo>
                  <a:pt x="2217" y="775"/>
                </a:lnTo>
                <a:lnTo>
                  <a:pt x="2212" y="782"/>
                </a:lnTo>
                <a:lnTo>
                  <a:pt x="2197" y="782"/>
                </a:lnTo>
                <a:lnTo>
                  <a:pt x="2197" y="798"/>
                </a:lnTo>
                <a:lnTo>
                  <a:pt x="2217" y="798"/>
                </a:lnTo>
                <a:lnTo>
                  <a:pt x="2233" y="813"/>
                </a:lnTo>
                <a:lnTo>
                  <a:pt x="2233" y="865"/>
                </a:lnTo>
                <a:lnTo>
                  <a:pt x="2223" y="875"/>
                </a:lnTo>
                <a:lnTo>
                  <a:pt x="2143" y="875"/>
                </a:lnTo>
                <a:lnTo>
                  <a:pt x="2143" y="901"/>
                </a:lnTo>
                <a:lnTo>
                  <a:pt x="2143" y="901"/>
                </a:lnTo>
                <a:lnTo>
                  <a:pt x="2135" y="909"/>
                </a:lnTo>
                <a:lnTo>
                  <a:pt x="2135" y="982"/>
                </a:lnTo>
                <a:lnTo>
                  <a:pt x="2135" y="982"/>
                </a:lnTo>
                <a:lnTo>
                  <a:pt x="2164" y="982"/>
                </a:lnTo>
                <a:lnTo>
                  <a:pt x="2164" y="988"/>
                </a:lnTo>
                <a:lnTo>
                  <a:pt x="2179" y="1004"/>
                </a:lnTo>
                <a:lnTo>
                  <a:pt x="2179" y="1004"/>
                </a:lnTo>
                <a:lnTo>
                  <a:pt x="2189" y="1004"/>
                </a:lnTo>
                <a:lnTo>
                  <a:pt x="2193" y="999"/>
                </a:lnTo>
                <a:lnTo>
                  <a:pt x="2196" y="996"/>
                </a:lnTo>
                <a:lnTo>
                  <a:pt x="2230" y="996"/>
                </a:lnTo>
                <a:lnTo>
                  <a:pt x="2230" y="996"/>
                </a:lnTo>
                <a:lnTo>
                  <a:pt x="2242" y="983"/>
                </a:lnTo>
                <a:lnTo>
                  <a:pt x="2255" y="970"/>
                </a:lnTo>
                <a:lnTo>
                  <a:pt x="2255" y="953"/>
                </a:lnTo>
                <a:lnTo>
                  <a:pt x="2242" y="940"/>
                </a:lnTo>
                <a:lnTo>
                  <a:pt x="2256" y="926"/>
                </a:lnTo>
                <a:lnTo>
                  <a:pt x="2269" y="926"/>
                </a:lnTo>
                <a:lnTo>
                  <a:pt x="2269" y="926"/>
                </a:lnTo>
                <a:lnTo>
                  <a:pt x="2297" y="898"/>
                </a:lnTo>
                <a:lnTo>
                  <a:pt x="2297" y="874"/>
                </a:lnTo>
                <a:lnTo>
                  <a:pt x="2320" y="874"/>
                </a:lnTo>
                <a:lnTo>
                  <a:pt x="2323" y="877"/>
                </a:lnTo>
                <a:lnTo>
                  <a:pt x="2325" y="880"/>
                </a:lnTo>
                <a:lnTo>
                  <a:pt x="2336" y="880"/>
                </a:lnTo>
                <a:lnTo>
                  <a:pt x="2336" y="880"/>
                </a:lnTo>
                <a:lnTo>
                  <a:pt x="2346" y="871"/>
                </a:lnTo>
                <a:lnTo>
                  <a:pt x="2359" y="871"/>
                </a:lnTo>
                <a:lnTo>
                  <a:pt x="2359" y="871"/>
                </a:lnTo>
                <a:lnTo>
                  <a:pt x="2364" y="865"/>
                </a:lnTo>
                <a:lnTo>
                  <a:pt x="2379" y="865"/>
                </a:lnTo>
                <a:lnTo>
                  <a:pt x="2390" y="875"/>
                </a:lnTo>
                <a:lnTo>
                  <a:pt x="2390" y="890"/>
                </a:lnTo>
                <a:lnTo>
                  <a:pt x="2415" y="916"/>
                </a:lnTo>
                <a:lnTo>
                  <a:pt x="2433" y="916"/>
                </a:lnTo>
                <a:lnTo>
                  <a:pt x="2446" y="929"/>
                </a:lnTo>
                <a:lnTo>
                  <a:pt x="2454" y="934"/>
                </a:lnTo>
                <a:lnTo>
                  <a:pt x="2454" y="962"/>
                </a:lnTo>
                <a:lnTo>
                  <a:pt x="2459" y="968"/>
                </a:lnTo>
                <a:lnTo>
                  <a:pt x="2459" y="968"/>
                </a:lnTo>
                <a:lnTo>
                  <a:pt x="2472" y="955"/>
                </a:lnTo>
                <a:lnTo>
                  <a:pt x="2477" y="952"/>
                </a:lnTo>
                <a:lnTo>
                  <a:pt x="2477" y="952"/>
                </a:lnTo>
                <a:lnTo>
                  <a:pt x="2474" y="949"/>
                </a:lnTo>
                <a:lnTo>
                  <a:pt x="2469" y="943"/>
                </a:lnTo>
                <a:lnTo>
                  <a:pt x="2472" y="940"/>
                </a:lnTo>
                <a:lnTo>
                  <a:pt x="2479" y="933"/>
                </a:lnTo>
                <a:lnTo>
                  <a:pt x="2481" y="933"/>
                </a:lnTo>
                <a:lnTo>
                  <a:pt x="2488" y="942"/>
                </a:lnTo>
                <a:lnTo>
                  <a:pt x="2497" y="933"/>
                </a:lnTo>
                <a:lnTo>
                  <a:pt x="2481" y="917"/>
                </a:lnTo>
                <a:lnTo>
                  <a:pt x="2465" y="903"/>
                </a:lnTo>
                <a:lnTo>
                  <a:pt x="2454" y="903"/>
                </a:lnTo>
                <a:lnTo>
                  <a:pt x="2415" y="864"/>
                </a:lnTo>
                <a:lnTo>
                  <a:pt x="2415" y="839"/>
                </a:lnTo>
                <a:lnTo>
                  <a:pt x="2425" y="839"/>
                </a:lnTo>
                <a:lnTo>
                  <a:pt x="2429" y="839"/>
                </a:lnTo>
                <a:lnTo>
                  <a:pt x="2432" y="842"/>
                </a:lnTo>
                <a:lnTo>
                  <a:pt x="2471" y="880"/>
                </a:lnTo>
                <a:lnTo>
                  <a:pt x="2472" y="883"/>
                </a:lnTo>
                <a:lnTo>
                  <a:pt x="2492" y="901"/>
                </a:lnTo>
                <a:lnTo>
                  <a:pt x="2492" y="904"/>
                </a:lnTo>
                <a:lnTo>
                  <a:pt x="2492" y="921"/>
                </a:lnTo>
                <a:lnTo>
                  <a:pt x="2518" y="947"/>
                </a:lnTo>
                <a:lnTo>
                  <a:pt x="2526" y="955"/>
                </a:lnTo>
                <a:lnTo>
                  <a:pt x="2526" y="978"/>
                </a:lnTo>
                <a:lnTo>
                  <a:pt x="2526" y="978"/>
                </a:lnTo>
                <a:lnTo>
                  <a:pt x="2551" y="978"/>
                </a:lnTo>
                <a:lnTo>
                  <a:pt x="2560" y="970"/>
                </a:lnTo>
                <a:lnTo>
                  <a:pt x="2560" y="963"/>
                </a:lnTo>
                <a:lnTo>
                  <a:pt x="2541" y="945"/>
                </a:lnTo>
                <a:lnTo>
                  <a:pt x="2563" y="923"/>
                </a:lnTo>
                <a:lnTo>
                  <a:pt x="2592" y="923"/>
                </a:lnTo>
                <a:lnTo>
                  <a:pt x="2596" y="919"/>
                </a:lnTo>
                <a:lnTo>
                  <a:pt x="2600" y="914"/>
                </a:lnTo>
                <a:lnTo>
                  <a:pt x="2600" y="914"/>
                </a:lnTo>
                <a:lnTo>
                  <a:pt x="2600" y="906"/>
                </a:lnTo>
                <a:lnTo>
                  <a:pt x="2600" y="874"/>
                </a:lnTo>
                <a:lnTo>
                  <a:pt x="2600" y="874"/>
                </a:lnTo>
                <a:lnTo>
                  <a:pt x="2600" y="864"/>
                </a:lnTo>
                <a:lnTo>
                  <a:pt x="2615" y="849"/>
                </a:lnTo>
                <a:lnTo>
                  <a:pt x="2629" y="849"/>
                </a:lnTo>
                <a:lnTo>
                  <a:pt x="2634" y="849"/>
                </a:lnTo>
                <a:lnTo>
                  <a:pt x="2641" y="842"/>
                </a:lnTo>
                <a:lnTo>
                  <a:pt x="2641" y="819"/>
                </a:lnTo>
                <a:lnTo>
                  <a:pt x="2655" y="819"/>
                </a:lnTo>
                <a:lnTo>
                  <a:pt x="2669" y="834"/>
                </a:lnTo>
                <a:lnTo>
                  <a:pt x="2708" y="834"/>
                </a:lnTo>
                <a:lnTo>
                  <a:pt x="2708" y="834"/>
                </a:lnTo>
                <a:lnTo>
                  <a:pt x="2708" y="829"/>
                </a:lnTo>
                <a:lnTo>
                  <a:pt x="2700" y="829"/>
                </a:lnTo>
                <a:lnTo>
                  <a:pt x="2695" y="825"/>
                </a:lnTo>
                <a:lnTo>
                  <a:pt x="2717" y="805"/>
                </a:lnTo>
                <a:lnTo>
                  <a:pt x="2737" y="805"/>
                </a:lnTo>
                <a:lnTo>
                  <a:pt x="2737" y="805"/>
                </a:lnTo>
                <a:lnTo>
                  <a:pt x="2743" y="811"/>
                </a:lnTo>
                <a:lnTo>
                  <a:pt x="2718" y="834"/>
                </a:lnTo>
                <a:lnTo>
                  <a:pt x="2718" y="848"/>
                </a:lnTo>
                <a:lnTo>
                  <a:pt x="2737" y="848"/>
                </a:lnTo>
                <a:lnTo>
                  <a:pt x="2752" y="862"/>
                </a:lnTo>
                <a:lnTo>
                  <a:pt x="2752" y="862"/>
                </a:lnTo>
                <a:lnTo>
                  <a:pt x="2783" y="893"/>
                </a:lnTo>
                <a:lnTo>
                  <a:pt x="2783" y="904"/>
                </a:lnTo>
                <a:lnTo>
                  <a:pt x="2783" y="911"/>
                </a:lnTo>
                <a:lnTo>
                  <a:pt x="2718" y="911"/>
                </a:lnTo>
                <a:lnTo>
                  <a:pt x="2705" y="898"/>
                </a:lnTo>
                <a:lnTo>
                  <a:pt x="2678" y="898"/>
                </a:lnTo>
                <a:lnTo>
                  <a:pt x="2668" y="909"/>
                </a:lnTo>
                <a:lnTo>
                  <a:pt x="2621" y="909"/>
                </a:lnTo>
                <a:lnTo>
                  <a:pt x="2621" y="909"/>
                </a:lnTo>
                <a:lnTo>
                  <a:pt x="2619" y="910"/>
                </a:lnTo>
                <a:lnTo>
                  <a:pt x="2613" y="914"/>
                </a:lnTo>
                <a:lnTo>
                  <a:pt x="2613" y="926"/>
                </a:lnTo>
                <a:lnTo>
                  <a:pt x="2599" y="940"/>
                </a:lnTo>
                <a:lnTo>
                  <a:pt x="2599" y="973"/>
                </a:lnTo>
                <a:lnTo>
                  <a:pt x="2628" y="1002"/>
                </a:lnTo>
                <a:lnTo>
                  <a:pt x="2634" y="1002"/>
                </a:lnTo>
                <a:lnTo>
                  <a:pt x="2636" y="999"/>
                </a:lnTo>
                <a:lnTo>
                  <a:pt x="2645" y="991"/>
                </a:lnTo>
                <a:lnTo>
                  <a:pt x="2667" y="991"/>
                </a:lnTo>
                <a:lnTo>
                  <a:pt x="2672" y="996"/>
                </a:lnTo>
                <a:lnTo>
                  <a:pt x="2710" y="996"/>
                </a:lnTo>
                <a:lnTo>
                  <a:pt x="2710" y="1025"/>
                </a:lnTo>
                <a:lnTo>
                  <a:pt x="2710" y="1025"/>
                </a:lnTo>
                <a:lnTo>
                  <a:pt x="2710" y="1048"/>
                </a:lnTo>
                <a:lnTo>
                  <a:pt x="2710" y="1048"/>
                </a:lnTo>
                <a:lnTo>
                  <a:pt x="2710" y="1053"/>
                </a:lnTo>
                <a:lnTo>
                  <a:pt x="2710" y="1053"/>
                </a:lnTo>
                <a:lnTo>
                  <a:pt x="2710" y="1061"/>
                </a:lnTo>
                <a:lnTo>
                  <a:pt x="2707" y="1064"/>
                </a:lnTo>
                <a:lnTo>
                  <a:pt x="2690" y="1081"/>
                </a:lnTo>
                <a:lnTo>
                  <a:pt x="2579" y="1081"/>
                </a:lnTo>
                <a:lnTo>
                  <a:pt x="2579" y="1067"/>
                </a:lnTo>
                <a:lnTo>
                  <a:pt x="2556" y="1067"/>
                </a:lnTo>
                <a:lnTo>
                  <a:pt x="2540" y="1051"/>
                </a:lnTo>
                <a:lnTo>
                  <a:pt x="2526" y="1051"/>
                </a:lnTo>
                <a:lnTo>
                  <a:pt x="2526" y="1051"/>
                </a:lnTo>
                <a:lnTo>
                  <a:pt x="2510" y="1067"/>
                </a:lnTo>
                <a:lnTo>
                  <a:pt x="2510" y="1087"/>
                </a:lnTo>
                <a:lnTo>
                  <a:pt x="2478" y="1087"/>
                </a:lnTo>
                <a:lnTo>
                  <a:pt x="2452" y="1060"/>
                </a:lnTo>
                <a:lnTo>
                  <a:pt x="2452" y="1060"/>
                </a:lnTo>
                <a:lnTo>
                  <a:pt x="2406" y="1060"/>
                </a:lnTo>
                <a:lnTo>
                  <a:pt x="2387" y="1042"/>
                </a:lnTo>
                <a:lnTo>
                  <a:pt x="2387" y="1025"/>
                </a:lnTo>
                <a:lnTo>
                  <a:pt x="2402" y="1025"/>
                </a:lnTo>
                <a:lnTo>
                  <a:pt x="2402" y="992"/>
                </a:lnTo>
                <a:lnTo>
                  <a:pt x="2397" y="988"/>
                </a:lnTo>
                <a:lnTo>
                  <a:pt x="2395" y="985"/>
                </a:lnTo>
                <a:lnTo>
                  <a:pt x="2369" y="985"/>
                </a:lnTo>
                <a:lnTo>
                  <a:pt x="2366" y="986"/>
                </a:lnTo>
                <a:lnTo>
                  <a:pt x="2364" y="989"/>
                </a:lnTo>
                <a:lnTo>
                  <a:pt x="2361" y="992"/>
                </a:lnTo>
                <a:lnTo>
                  <a:pt x="2285" y="992"/>
                </a:lnTo>
                <a:lnTo>
                  <a:pt x="2265" y="992"/>
                </a:lnTo>
                <a:lnTo>
                  <a:pt x="2265" y="992"/>
                </a:lnTo>
                <a:lnTo>
                  <a:pt x="2246" y="1011"/>
                </a:lnTo>
                <a:lnTo>
                  <a:pt x="2232" y="1011"/>
                </a:lnTo>
                <a:lnTo>
                  <a:pt x="2232" y="1011"/>
                </a:lnTo>
                <a:lnTo>
                  <a:pt x="2177" y="1011"/>
                </a:lnTo>
                <a:lnTo>
                  <a:pt x="2177" y="1011"/>
                </a:lnTo>
                <a:lnTo>
                  <a:pt x="2153" y="1035"/>
                </a:lnTo>
                <a:lnTo>
                  <a:pt x="2121" y="1067"/>
                </a:lnTo>
                <a:lnTo>
                  <a:pt x="2121" y="1110"/>
                </a:lnTo>
                <a:lnTo>
                  <a:pt x="2112" y="1120"/>
                </a:lnTo>
                <a:lnTo>
                  <a:pt x="2098" y="1135"/>
                </a:lnTo>
                <a:lnTo>
                  <a:pt x="2061" y="1172"/>
                </a:lnTo>
                <a:lnTo>
                  <a:pt x="2061" y="1172"/>
                </a:lnTo>
                <a:lnTo>
                  <a:pt x="2061" y="1191"/>
                </a:lnTo>
                <a:lnTo>
                  <a:pt x="2036" y="1214"/>
                </a:lnTo>
                <a:lnTo>
                  <a:pt x="2036" y="1320"/>
                </a:lnTo>
                <a:lnTo>
                  <a:pt x="2036" y="1329"/>
                </a:lnTo>
                <a:lnTo>
                  <a:pt x="2022" y="1343"/>
                </a:lnTo>
                <a:lnTo>
                  <a:pt x="2022" y="1343"/>
                </a:lnTo>
                <a:lnTo>
                  <a:pt x="2022" y="1353"/>
                </a:lnTo>
                <a:lnTo>
                  <a:pt x="2022" y="1366"/>
                </a:lnTo>
                <a:lnTo>
                  <a:pt x="2022" y="1384"/>
                </a:lnTo>
                <a:lnTo>
                  <a:pt x="2022" y="1384"/>
                </a:lnTo>
                <a:lnTo>
                  <a:pt x="2046" y="1408"/>
                </a:lnTo>
                <a:lnTo>
                  <a:pt x="2069" y="1433"/>
                </a:lnTo>
                <a:lnTo>
                  <a:pt x="2082" y="1444"/>
                </a:lnTo>
                <a:lnTo>
                  <a:pt x="2095" y="1459"/>
                </a:lnTo>
                <a:lnTo>
                  <a:pt x="2095" y="1459"/>
                </a:lnTo>
                <a:lnTo>
                  <a:pt x="2108" y="1459"/>
                </a:lnTo>
                <a:lnTo>
                  <a:pt x="2108" y="1459"/>
                </a:lnTo>
                <a:lnTo>
                  <a:pt x="2108" y="1474"/>
                </a:lnTo>
                <a:lnTo>
                  <a:pt x="2108" y="1474"/>
                </a:lnTo>
                <a:lnTo>
                  <a:pt x="2125" y="1492"/>
                </a:lnTo>
                <a:lnTo>
                  <a:pt x="2143" y="1509"/>
                </a:lnTo>
                <a:lnTo>
                  <a:pt x="2163" y="1509"/>
                </a:lnTo>
                <a:lnTo>
                  <a:pt x="2179" y="1492"/>
                </a:lnTo>
                <a:lnTo>
                  <a:pt x="2219" y="1492"/>
                </a:lnTo>
                <a:lnTo>
                  <a:pt x="2251" y="1492"/>
                </a:lnTo>
                <a:lnTo>
                  <a:pt x="2261" y="1492"/>
                </a:lnTo>
                <a:lnTo>
                  <a:pt x="2261" y="1492"/>
                </a:lnTo>
                <a:lnTo>
                  <a:pt x="2265" y="1489"/>
                </a:lnTo>
                <a:lnTo>
                  <a:pt x="2284" y="1469"/>
                </a:lnTo>
                <a:lnTo>
                  <a:pt x="2289" y="1469"/>
                </a:lnTo>
                <a:lnTo>
                  <a:pt x="2289" y="1469"/>
                </a:lnTo>
                <a:lnTo>
                  <a:pt x="2315" y="1469"/>
                </a:lnTo>
                <a:lnTo>
                  <a:pt x="2324" y="1477"/>
                </a:lnTo>
                <a:lnTo>
                  <a:pt x="2324" y="1507"/>
                </a:lnTo>
                <a:lnTo>
                  <a:pt x="2359" y="1507"/>
                </a:lnTo>
                <a:lnTo>
                  <a:pt x="2370" y="1507"/>
                </a:lnTo>
                <a:lnTo>
                  <a:pt x="2377" y="1513"/>
                </a:lnTo>
                <a:lnTo>
                  <a:pt x="2383" y="1519"/>
                </a:lnTo>
                <a:lnTo>
                  <a:pt x="2383" y="1543"/>
                </a:lnTo>
                <a:lnTo>
                  <a:pt x="2383" y="1552"/>
                </a:lnTo>
                <a:lnTo>
                  <a:pt x="2383" y="1579"/>
                </a:lnTo>
                <a:lnTo>
                  <a:pt x="2373" y="1590"/>
                </a:lnTo>
                <a:lnTo>
                  <a:pt x="2373" y="1604"/>
                </a:lnTo>
                <a:lnTo>
                  <a:pt x="2416" y="1647"/>
                </a:lnTo>
                <a:lnTo>
                  <a:pt x="2416" y="1649"/>
                </a:lnTo>
                <a:lnTo>
                  <a:pt x="2416" y="1692"/>
                </a:lnTo>
                <a:lnTo>
                  <a:pt x="2428" y="1703"/>
                </a:lnTo>
                <a:lnTo>
                  <a:pt x="2428" y="1778"/>
                </a:lnTo>
                <a:lnTo>
                  <a:pt x="2415" y="1791"/>
                </a:lnTo>
                <a:lnTo>
                  <a:pt x="2403" y="1803"/>
                </a:lnTo>
                <a:lnTo>
                  <a:pt x="2403" y="1846"/>
                </a:lnTo>
                <a:lnTo>
                  <a:pt x="2403" y="1846"/>
                </a:lnTo>
                <a:lnTo>
                  <a:pt x="2403" y="1869"/>
                </a:lnTo>
                <a:lnTo>
                  <a:pt x="2441" y="1906"/>
                </a:lnTo>
                <a:lnTo>
                  <a:pt x="2441" y="1997"/>
                </a:lnTo>
                <a:lnTo>
                  <a:pt x="2474" y="2030"/>
                </a:lnTo>
                <a:lnTo>
                  <a:pt x="2474" y="2091"/>
                </a:lnTo>
                <a:lnTo>
                  <a:pt x="2508" y="2125"/>
                </a:lnTo>
                <a:lnTo>
                  <a:pt x="2530" y="2125"/>
                </a:lnTo>
                <a:lnTo>
                  <a:pt x="2549" y="2108"/>
                </a:lnTo>
                <a:lnTo>
                  <a:pt x="2602" y="2108"/>
                </a:lnTo>
                <a:lnTo>
                  <a:pt x="2664" y="2046"/>
                </a:lnTo>
                <a:lnTo>
                  <a:pt x="2664" y="2023"/>
                </a:lnTo>
                <a:lnTo>
                  <a:pt x="2678" y="2023"/>
                </a:lnTo>
                <a:lnTo>
                  <a:pt x="2691" y="2011"/>
                </a:lnTo>
                <a:lnTo>
                  <a:pt x="2691" y="1970"/>
                </a:lnTo>
                <a:lnTo>
                  <a:pt x="2695" y="1965"/>
                </a:lnTo>
                <a:lnTo>
                  <a:pt x="2700" y="1960"/>
                </a:lnTo>
                <a:lnTo>
                  <a:pt x="2716" y="1960"/>
                </a:lnTo>
                <a:lnTo>
                  <a:pt x="2716" y="1883"/>
                </a:lnTo>
                <a:lnTo>
                  <a:pt x="2765" y="1834"/>
                </a:lnTo>
                <a:lnTo>
                  <a:pt x="2779" y="1834"/>
                </a:lnTo>
                <a:lnTo>
                  <a:pt x="2779" y="1834"/>
                </a:lnTo>
                <a:lnTo>
                  <a:pt x="2793" y="1820"/>
                </a:lnTo>
                <a:lnTo>
                  <a:pt x="2795" y="1818"/>
                </a:lnTo>
                <a:lnTo>
                  <a:pt x="2795" y="1818"/>
                </a:lnTo>
                <a:lnTo>
                  <a:pt x="2795" y="1742"/>
                </a:lnTo>
                <a:lnTo>
                  <a:pt x="2795" y="1742"/>
                </a:lnTo>
                <a:lnTo>
                  <a:pt x="2795" y="1734"/>
                </a:lnTo>
                <a:lnTo>
                  <a:pt x="2782" y="1719"/>
                </a:lnTo>
                <a:lnTo>
                  <a:pt x="2782" y="1636"/>
                </a:lnTo>
                <a:lnTo>
                  <a:pt x="2782" y="1627"/>
                </a:lnTo>
                <a:lnTo>
                  <a:pt x="2792" y="1617"/>
                </a:lnTo>
                <a:lnTo>
                  <a:pt x="2792" y="1617"/>
                </a:lnTo>
                <a:lnTo>
                  <a:pt x="2913" y="1496"/>
                </a:lnTo>
                <a:lnTo>
                  <a:pt x="2913" y="1464"/>
                </a:lnTo>
                <a:lnTo>
                  <a:pt x="2932" y="1444"/>
                </a:lnTo>
                <a:lnTo>
                  <a:pt x="2932" y="1414"/>
                </a:lnTo>
                <a:lnTo>
                  <a:pt x="2940" y="1407"/>
                </a:lnTo>
                <a:lnTo>
                  <a:pt x="2921" y="1388"/>
                </a:lnTo>
                <a:lnTo>
                  <a:pt x="2908" y="1401"/>
                </a:lnTo>
                <a:lnTo>
                  <a:pt x="2883" y="1401"/>
                </a:lnTo>
                <a:lnTo>
                  <a:pt x="2871" y="1412"/>
                </a:lnTo>
                <a:lnTo>
                  <a:pt x="2852" y="1412"/>
                </a:lnTo>
                <a:lnTo>
                  <a:pt x="2839" y="1399"/>
                </a:lnTo>
                <a:lnTo>
                  <a:pt x="2838" y="1399"/>
                </a:lnTo>
                <a:lnTo>
                  <a:pt x="2825" y="1399"/>
                </a:lnTo>
                <a:lnTo>
                  <a:pt x="2816" y="1391"/>
                </a:lnTo>
                <a:lnTo>
                  <a:pt x="2816" y="1391"/>
                </a:lnTo>
                <a:lnTo>
                  <a:pt x="2812" y="1388"/>
                </a:lnTo>
                <a:lnTo>
                  <a:pt x="2809" y="1385"/>
                </a:lnTo>
                <a:lnTo>
                  <a:pt x="2809" y="1365"/>
                </a:lnTo>
                <a:lnTo>
                  <a:pt x="2773" y="1329"/>
                </a:lnTo>
                <a:lnTo>
                  <a:pt x="2773" y="1307"/>
                </a:lnTo>
                <a:lnTo>
                  <a:pt x="2740" y="1274"/>
                </a:lnTo>
                <a:lnTo>
                  <a:pt x="2740" y="1237"/>
                </a:lnTo>
                <a:lnTo>
                  <a:pt x="2724" y="1221"/>
                </a:lnTo>
                <a:lnTo>
                  <a:pt x="2718" y="1217"/>
                </a:lnTo>
                <a:lnTo>
                  <a:pt x="2718" y="1217"/>
                </a:lnTo>
                <a:lnTo>
                  <a:pt x="2718" y="1191"/>
                </a:lnTo>
                <a:lnTo>
                  <a:pt x="2684" y="1155"/>
                </a:lnTo>
                <a:lnTo>
                  <a:pt x="2684" y="1114"/>
                </a:lnTo>
                <a:lnTo>
                  <a:pt x="2693" y="1114"/>
                </a:lnTo>
                <a:lnTo>
                  <a:pt x="2693" y="1122"/>
                </a:lnTo>
                <a:lnTo>
                  <a:pt x="2705" y="1135"/>
                </a:lnTo>
                <a:lnTo>
                  <a:pt x="2724" y="1153"/>
                </a:lnTo>
                <a:lnTo>
                  <a:pt x="2752" y="1181"/>
                </a:lnTo>
                <a:lnTo>
                  <a:pt x="2752" y="1243"/>
                </a:lnTo>
                <a:lnTo>
                  <a:pt x="2818" y="1309"/>
                </a:lnTo>
                <a:lnTo>
                  <a:pt x="2818" y="1319"/>
                </a:lnTo>
                <a:lnTo>
                  <a:pt x="2818" y="1356"/>
                </a:lnTo>
                <a:lnTo>
                  <a:pt x="2828" y="1365"/>
                </a:lnTo>
                <a:lnTo>
                  <a:pt x="2838" y="1375"/>
                </a:lnTo>
                <a:lnTo>
                  <a:pt x="2838" y="1375"/>
                </a:lnTo>
                <a:lnTo>
                  <a:pt x="2838" y="1375"/>
                </a:lnTo>
                <a:lnTo>
                  <a:pt x="2847" y="1368"/>
                </a:lnTo>
                <a:lnTo>
                  <a:pt x="2865" y="1349"/>
                </a:lnTo>
                <a:lnTo>
                  <a:pt x="2903" y="1349"/>
                </a:lnTo>
                <a:lnTo>
                  <a:pt x="2914" y="1338"/>
                </a:lnTo>
                <a:lnTo>
                  <a:pt x="2942" y="1338"/>
                </a:lnTo>
                <a:lnTo>
                  <a:pt x="2962" y="1317"/>
                </a:lnTo>
                <a:lnTo>
                  <a:pt x="2962" y="1317"/>
                </a:lnTo>
                <a:lnTo>
                  <a:pt x="2999" y="1280"/>
                </a:lnTo>
                <a:lnTo>
                  <a:pt x="3037" y="1243"/>
                </a:lnTo>
                <a:lnTo>
                  <a:pt x="3037" y="1214"/>
                </a:lnTo>
                <a:lnTo>
                  <a:pt x="3037" y="1214"/>
                </a:lnTo>
                <a:lnTo>
                  <a:pt x="3027" y="1214"/>
                </a:lnTo>
                <a:lnTo>
                  <a:pt x="3027" y="1196"/>
                </a:lnTo>
                <a:lnTo>
                  <a:pt x="3027" y="1196"/>
                </a:lnTo>
                <a:lnTo>
                  <a:pt x="3005" y="1196"/>
                </a:lnTo>
                <a:lnTo>
                  <a:pt x="3001" y="1192"/>
                </a:lnTo>
                <a:lnTo>
                  <a:pt x="2995" y="1186"/>
                </a:lnTo>
                <a:lnTo>
                  <a:pt x="2989" y="1181"/>
                </a:lnTo>
                <a:lnTo>
                  <a:pt x="2973" y="1181"/>
                </a:lnTo>
                <a:lnTo>
                  <a:pt x="2973" y="1181"/>
                </a:lnTo>
                <a:lnTo>
                  <a:pt x="2960" y="1195"/>
                </a:lnTo>
                <a:lnTo>
                  <a:pt x="2929" y="1195"/>
                </a:lnTo>
                <a:lnTo>
                  <a:pt x="2929" y="1169"/>
                </a:lnTo>
                <a:lnTo>
                  <a:pt x="2923" y="1163"/>
                </a:lnTo>
                <a:lnTo>
                  <a:pt x="2929" y="1169"/>
                </a:lnTo>
                <a:lnTo>
                  <a:pt x="2921" y="1162"/>
                </a:lnTo>
                <a:lnTo>
                  <a:pt x="2919" y="1159"/>
                </a:lnTo>
                <a:lnTo>
                  <a:pt x="2871" y="1112"/>
                </a:lnTo>
                <a:lnTo>
                  <a:pt x="2871" y="1099"/>
                </a:lnTo>
                <a:lnTo>
                  <a:pt x="2871" y="1099"/>
                </a:lnTo>
                <a:lnTo>
                  <a:pt x="2881" y="1099"/>
                </a:lnTo>
                <a:lnTo>
                  <a:pt x="2904" y="1099"/>
                </a:lnTo>
                <a:lnTo>
                  <a:pt x="2904" y="1120"/>
                </a:lnTo>
                <a:lnTo>
                  <a:pt x="2940" y="1156"/>
                </a:lnTo>
                <a:lnTo>
                  <a:pt x="2996" y="1156"/>
                </a:lnTo>
                <a:lnTo>
                  <a:pt x="3016" y="1176"/>
                </a:lnTo>
                <a:lnTo>
                  <a:pt x="3018" y="1178"/>
                </a:lnTo>
                <a:lnTo>
                  <a:pt x="3018" y="1178"/>
                </a:lnTo>
                <a:lnTo>
                  <a:pt x="3081" y="1178"/>
                </a:lnTo>
                <a:lnTo>
                  <a:pt x="3122" y="1178"/>
                </a:lnTo>
                <a:lnTo>
                  <a:pt x="3183" y="1241"/>
                </a:lnTo>
                <a:lnTo>
                  <a:pt x="3183" y="1241"/>
                </a:lnTo>
                <a:lnTo>
                  <a:pt x="3198" y="1241"/>
                </a:lnTo>
                <a:lnTo>
                  <a:pt x="3198" y="1227"/>
                </a:lnTo>
                <a:lnTo>
                  <a:pt x="3214" y="1227"/>
                </a:lnTo>
                <a:lnTo>
                  <a:pt x="3214" y="1322"/>
                </a:lnTo>
                <a:lnTo>
                  <a:pt x="3240" y="1349"/>
                </a:lnTo>
                <a:lnTo>
                  <a:pt x="3240" y="1375"/>
                </a:lnTo>
                <a:lnTo>
                  <a:pt x="3264" y="1399"/>
                </a:lnTo>
                <a:lnTo>
                  <a:pt x="3264" y="1447"/>
                </a:lnTo>
                <a:lnTo>
                  <a:pt x="3287" y="1447"/>
                </a:lnTo>
                <a:lnTo>
                  <a:pt x="3319" y="1414"/>
                </a:lnTo>
                <a:lnTo>
                  <a:pt x="3319" y="1328"/>
                </a:lnTo>
                <a:lnTo>
                  <a:pt x="3404" y="1244"/>
                </a:lnTo>
                <a:lnTo>
                  <a:pt x="3404" y="1232"/>
                </a:lnTo>
                <a:lnTo>
                  <a:pt x="3418" y="1232"/>
                </a:lnTo>
                <a:lnTo>
                  <a:pt x="3434" y="1232"/>
                </a:lnTo>
                <a:lnTo>
                  <a:pt x="3441" y="1225"/>
                </a:lnTo>
                <a:lnTo>
                  <a:pt x="3450" y="1217"/>
                </a:lnTo>
                <a:lnTo>
                  <a:pt x="3450" y="1199"/>
                </a:lnTo>
                <a:lnTo>
                  <a:pt x="3460" y="1199"/>
                </a:lnTo>
                <a:lnTo>
                  <a:pt x="3460" y="1234"/>
                </a:lnTo>
                <a:lnTo>
                  <a:pt x="3460" y="1234"/>
                </a:lnTo>
                <a:lnTo>
                  <a:pt x="3468" y="1244"/>
                </a:lnTo>
                <a:lnTo>
                  <a:pt x="3477" y="1253"/>
                </a:lnTo>
                <a:lnTo>
                  <a:pt x="3483" y="1258"/>
                </a:lnTo>
                <a:lnTo>
                  <a:pt x="3500" y="1276"/>
                </a:lnTo>
                <a:lnTo>
                  <a:pt x="3500" y="1320"/>
                </a:lnTo>
                <a:lnTo>
                  <a:pt x="3519" y="1320"/>
                </a:lnTo>
                <a:lnTo>
                  <a:pt x="3536" y="1303"/>
                </a:lnTo>
                <a:lnTo>
                  <a:pt x="3551" y="1317"/>
                </a:lnTo>
                <a:lnTo>
                  <a:pt x="3551" y="1397"/>
                </a:lnTo>
                <a:lnTo>
                  <a:pt x="3582" y="1430"/>
                </a:lnTo>
                <a:lnTo>
                  <a:pt x="3582" y="1496"/>
                </a:lnTo>
                <a:lnTo>
                  <a:pt x="3624" y="1536"/>
                </a:lnTo>
                <a:lnTo>
                  <a:pt x="3624" y="1536"/>
                </a:lnTo>
                <a:lnTo>
                  <a:pt x="3648" y="1536"/>
                </a:lnTo>
                <a:lnTo>
                  <a:pt x="3648" y="1484"/>
                </a:lnTo>
                <a:lnTo>
                  <a:pt x="3624" y="1460"/>
                </a:lnTo>
                <a:lnTo>
                  <a:pt x="3624" y="1460"/>
                </a:lnTo>
                <a:lnTo>
                  <a:pt x="3612" y="1460"/>
                </a:lnTo>
                <a:lnTo>
                  <a:pt x="3612" y="1427"/>
                </a:lnTo>
                <a:lnTo>
                  <a:pt x="3598" y="1412"/>
                </a:lnTo>
                <a:lnTo>
                  <a:pt x="3598" y="1412"/>
                </a:lnTo>
                <a:lnTo>
                  <a:pt x="3597" y="1410"/>
                </a:lnTo>
                <a:lnTo>
                  <a:pt x="3589" y="1404"/>
                </a:lnTo>
                <a:lnTo>
                  <a:pt x="3589" y="1375"/>
                </a:lnTo>
                <a:lnTo>
                  <a:pt x="3607" y="1375"/>
                </a:lnTo>
                <a:lnTo>
                  <a:pt x="3618" y="1385"/>
                </a:lnTo>
                <a:lnTo>
                  <a:pt x="3618" y="1407"/>
                </a:lnTo>
                <a:lnTo>
                  <a:pt x="3618" y="1407"/>
                </a:lnTo>
                <a:lnTo>
                  <a:pt x="3640" y="1407"/>
                </a:lnTo>
                <a:lnTo>
                  <a:pt x="3651" y="1420"/>
                </a:lnTo>
                <a:lnTo>
                  <a:pt x="3651" y="1443"/>
                </a:lnTo>
                <a:lnTo>
                  <a:pt x="3702" y="1392"/>
                </a:lnTo>
                <a:lnTo>
                  <a:pt x="3702" y="1328"/>
                </a:lnTo>
                <a:lnTo>
                  <a:pt x="3663" y="1289"/>
                </a:lnTo>
                <a:lnTo>
                  <a:pt x="3663" y="1266"/>
                </a:lnTo>
                <a:lnTo>
                  <a:pt x="3687" y="1240"/>
                </a:lnTo>
                <a:lnTo>
                  <a:pt x="3692" y="1235"/>
                </a:lnTo>
                <a:lnTo>
                  <a:pt x="3748" y="1235"/>
                </a:lnTo>
                <a:lnTo>
                  <a:pt x="3759" y="1222"/>
                </a:lnTo>
                <a:lnTo>
                  <a:pt x="3784" y="1222"/>
                </a:lnTo>
                <a:lnTo>
                  <a:pt x="3849" y="1158"/>
                </a:lnTo>
                <a:lnTo>
                  <a:pt x="3849" y="1061"/>
                </a:lnTo>
                <a:lnTo>
                  <a:pt x="3811" y="1024"/>
                </a:lnTo>
                <a:lnTo>
                  <a:pt x="3811" y="1004"/>
                </a:lnTo>
                <a:lnTo>
                  <a:pt x="3833" y="983"/>
                </a:lnTo>
                <a:lnTo>
                  <a:pt x="3833" y="965"/>
                </a:lnTo>
                <a:lnTo>
                  <a:pt x="3814" y="965"/>
                </a:lnTo>
                <a:lnTo>
                  <a:pt x="3807" y="970"/>
                </a:lnTo>
                <a:lnTo>
                  <a:pt x="3777" y="970"/>
                </a:lnTo>
                <a:lnTo>
                  <a:pt x="3777" y="957"/>
                </a:lnTo>
                <a:lnTo>
                  <a:pt x="3801" y="933"/>
                </a:lnTo>
                <a:lnTo>
                  <a:pt x="3824" y="933"/>
                </a:lnTo>
                <a:lnTo>
                  <a:pt x="3824" y="949"/>
                </a:lnTo>
                <a:lnTo>
                  <a:pt x="3838" y="949"/>
                </a:lnTo>
                <a:lnTo>
                  <a:pt x="3851" y="937"/>
                </a:lnTo>
                <a:lnTo>
                  <a:pt x="3866" y="937"/>
                </a:lnTo>
                <a:lnTo>
                  <a:pt x="3866" y="959"/>
                </a:lnTo>
                <a:lnTo>
                  <a:pt x="3883" y="976"/>
                </a:lnTo>
                <a:lnTo>
                  <a:pt x="3893" y="986"/>
                </a:lnTo>
                <a:lnTo>
                  <a:pt x="3893" y="1002"/>
                </a:lnTo>
                <a:lnTo>
                  <a:pt x="3897" y="1002"/>
                </a:lnTo>
                <a:lnTo>
                  <a:pt x="3897" y="1024"/>
                </a:lnTo>
                <a:lnTo>
                  <a:pt x="3910" y="1037"/>
                </a:lnTo>
                <a:lnTo>
                  <a:pt x="3910" y="1037"/>
                </a:lnTo>
                <a:lnTo>
                  <a:pt x="3922" y="1037"/>
                </a:lnTo>
                <a:lnTo>
                  <a:pt x="3942" y="1017"/>
                </a:lnTo>
                <a:lnTo>
                  <a:pt x="3942" y="985"/>
                </a:lnTo>
                <a:lnTo>
                  <a:pt x="3909" y="952"/>
                </a:lnTo>
                <a:lnTo>
                  <a:pt x="3909" y="952"/>
                </a:lnTo>
                <a:lnTo>
                  <a:pt x="3900" y="943"/>
                </a:lnTo>
                <a:lnTo>
                  <a:pt x="3925" y="919"/>
                </a:lnTo>
                <a:lnTo>
                  <a:pt x="3925" y="894"/>
                </a:lnTo>
                <a:lnTo>
                  <a:pt x="3925" y="894"/>
                </a:lnTo>
                <a:lnTo>
                  <a:pt x="3939" y="878"/>
                </a:lnTo>
                <a:lnTo>
                  <a:pt x="3972" y="878"/>
                </a:lnTo>
                <a:lnTo>
                  <a:pt x="3997" y="854"/>
                </a:lnTo>
                <a:lnTo>
                  <a:pt x="3997" y="818"/>
                </a:lnTo>
                <a:lnTo>
                  <a:pt x="4020" y="796"/>
                </a:lnTo>
                <a:lnTo>
                  <a:pt x="4020" y="695"/>
                </a:lnTo>
                <a:lnTo>
                  <a:pt x="4001" y="677"/>
                </a:lnTo>
                <a:lnTo>
                  <a:pt x="4001" y="677"/>
                </a:lnTo>
                <a:lnTo>
                  <a:pt x="3951" y="677"/>
                </a:lnTo>
                <a:lnTo>
                  <a:pt x="3951" y="665"/>
                </a:lnTo>
                <a:lnTo>
                  <a:pt x="3936" y="651"/>
                </a:lnTo>
                <a:lnTo>
                  <a:pt x="4013" y="574"/>
                </a:lnTo>
                <a:lnTo>
                  <a:pt x="4145" y="574"/>
                </a:lnTo>
                <a:lnTo>
                  <a:pt x="4145" y="544"/>
                </a:lnTo>
                <a:lnTo>
                  <a:pt x="4148" y="541"/>
                </a:lnTo>
                <a:lnTo>
                  <a:pt x="4161" y="528"/>
                </a:lnTo>
                <a:lnTo>
                  <a:pt x="4194" y="528"/>
                </a:lnTo>
                <a:lnTo>
                  <a:pt x="4206" y="540"/>
                </a:lnTo>
                <a:lnTo>
                  <a:pt x="4206" y="540"/>
                </a:lnTo>
                <a:lnTo>
                  <a:pt x="4220" y="540"/>
                </a:lnTo>
                <a:lnTo>
                  <a:pt x="4237" y="523"/>
                </a:lnTo>
                <a:lnTo>
                  <a:pt x="4242" y="527"/>
                </a:lnTo>
                <a:lnTo>
                  <a:pt x="4246" y="531"/>
                </a:lnTo>
                <a:lnTo>
                  <a:pt x="4187" y="590"/>
                </a:lnTo>
                <a:lnTo>
                  <a:pt x="4187" y="661"/>
                </a:lnTo>
                <a:lnTo>
                  <a:pt x="4201" y="674"/>
                </a:lnTo>
                <a:lnTo>
                  <a:pt x="4201" y="704"/>
                </a:lnTo>
                <a:lnTo>
                  <a:pt x="4217" y="720"/>
                </a:lnTo>
                <a:lnTo>
                  <a:pt x="4227" y="720"/>
                </a:lnTo>
                <a:lnTo>
                  <a:pt x="4253" y="695"/>
                </a:lnTo>
                <a:lnTo>
                  <a:pt x="4253" y="665"/>
                </a:lnTo>
                <a:lnTo>
                  <a:pt x="4265" y="665"/>
                </a:lnTo>
                <a:lnTo>
                  <a:pt x="4265" y="665"/>
                </a:lnTo>
                <a:lnTo>
                  <a:pt x="4265" y="618"/>
                </a:lnTo>
                <a:lnTo>
                  <a:pt x="4249" y="600"/>
                </a:lnTo>
                <a:lnTo>
                  <a:pt x="4249" y="576"/>
                </a:lnTo>
                <a:lnTo>
                  <a:pt x="4269" y="556"/>
                </a:lnTo>
                <a:lnTo>
                  <a:pt x="4319" y="556"/>
                </a:lnTo>
                <a:lnTo>
                  <a:pt x="4319" y="556"/>
                </a:lnTo>
                <a:lnTo>
                  <a:pt x="4337" y="538"/>
                </a:lnTo>
                <a:lnTo>
                  <a:pt x="4352" y="523"/>
                </a:lnTo>
                <a:lnTo>
                  <a:pt x="4370" y="523"/>
                </a:lnTo>
                <a:lnTo>
                  <a:pt x="4388" y="502"/>
                </a:lnTo>
                <a:lnTo>
                  <a:pt x="4407" y="502"/>
                </a:lnTo>
                <a:close/>
                <a:moveTo>
                  <a:pt x="2919" y="1159"/>
                </a:moveTo>
                <a:lnTo>
                  <a:pt x="2919" y="1159"/>
                </a:lnTo>
                <a:lnTo>
                  <a:pt x="2919" y="1159"/>
                </a:lnTo>
                <a:lnTo>
                  <a:pt x="2919" y="1159"/>
                </a:lnTo>
                <a:close/>
              </a:path>
            </a:pathLst>
          </a:custGeom>
          <a:solidFill>
            <a:schemeClr val="accent3">
              <a:lumMod val="20000"/>
              <a:lumOff val="80000"/>
              <a:alpha val="50196"/>
            </a:schemeClr>
          </a:solidFill>
          <a:ln w="3175">
            <a:solidFill>
              <a:srgbClr val="F1F4F7"/>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61737"/>
            <a:endParaRPr lang="en-GB" sz="900">
              <a:solidFill>
                <a:srgbClr val="000000"/>
              </a:solidFill>
              <a:latin typeface="Arial"/>
            </a:endParaRPr>
          </a:p>
        </p:txBody>
      </p:sp>
      <p:sp>
        <p:nvSpPr>
          <p:cNvPr id="1217" name="Oval 1216">
            <a:extLst>
              <a:ext uri="{FF2B5EF4-FFF2-40B4-BE49-F238E27FC236}">
                <a16:creationId xmlns:a16="http://schemas.microsoft.com/office/drawing/2014/main" id="{0F6E5763-FC6D-1CF6-E1FC-9A7C40D8133E}"/>
              </a:ext>
            </a:extLst>
          </p:cNvPr>
          <p:cNvSpPr/>
          <p:nvPr/>
        </p:nvSpPr>
        <p:spPr>
          <a:xfrm>
            <a:off x="4904774" y="2743362"/>
            <a:ext cx="176385" cy="176385"/>
          </a:xfrm>
          <a:prstGeom prst="ellipse">
            <a:avLst/>
          </a:prstGeom>
          <a:solidFill>
            <a:schemeClr val="accent3"/>
          </a:solidFill>
          <a:ln w="9525" cap="rnd"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60960" rIns="0" bIns="6096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700" b="1" i="1">
              <a:solidFill>
                <a:srgbClr val="FFFFFF"/>
              </a:solidFill>
              <a:latin typeface="Arial"/>
            </a:endParaRPr>
          </a:p>
        </p:txBody>
      </p:sp>
      <p:sp>
        <p:nvSpPr>
          <p:cNvPr id="1218" name="Oval 1217">
            <a:extLst>
              <a:ext uri="{FF2B5EF4-FFF2-40B4-BE49-F238E27FC236}">
                <a16:creationId xmlns:a16="http://schemas.microsoft.com/office/drawing/2014/main" id="{5285ACF2-23C8-343D-64D8-600C2A225765}"/>
              </a:ext>
            </a:extLst>
          </p:cNvPr>
          <p:cNvSpPr/>
          <p:nvPr/>
        </p:nvSpPr>
        <p:spPr>
          <a:xfrm>
            <a:off x="2287037" y="2854390"/>
            <a:ext cx="170304" cy="170304"/>
          </a:xfrm>
          <a:prstGeom prst="ellipse">
            <a:avLst/>
          </a:prstGeom>
          <a:solidFill>
            <a:schemeClr val="accent3"/>
          </a:solidFill>
          <a:ln w="9525" cap="rnd"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60960" rIns="0" bIns="6096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700" b="1" i="1">
              <a:solidFill>
                <a:srgbClr val="FFFFFF"/>
              </a:solidFill>
              <a:latin typeface="Arial"/>
            </a:endParaRPr>
          </a:p>
        </p:txBody>
      </p:sp>
      <p:cxnSp>
        <p:nvCxnSpPr>
          <p:cNvPr id="1219" name="Straight Arrow Connector 1218">
            <a:extLst>
              <a:ext uri="{FF2B5EF4-FFF2-40B4-BE49-F238E27FC236}">
                <a16:creationId xmlns:a16="http://schemas.microsoft.com/office/drawing/2014/main" id="{6D873427-313C-9CDF-A81B-909FF862295E}"/>
              </a:ext>
            </a:extLst>
          </p:cNvPr>
          <p:cNvCxnSpPr>
            <a:cxnSpLocks/>
          </p:cNvCxnSpPr>
          <p:nvPr/>
        </p:nvCxnSpPr>
        <p:spPr>
          <a:xfrm flipV="1">
            <a:off x="3163978" y="2831554"/>
            <a:ext cx="1604959" cy="729219"/>
          </a:xfrm>
          <a:prstGeom prst="straightConnector1">
            <a:avLst/>
          </a:prstGeom>
          <a:ln w="190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20" name="Straight Arrow Connector 1219">
            <a:extLst>
              <a:ext uri="{FF2B5EF4-FFF2-40B4-BE49-F238E27FC236}">
                <a16:creationId xmlns:a16="http://schemas.microsoft.com/office/drawing/2014/main" id="{ABC1CF4E-0B33-0EC4-5467-1266FF3AB157}"/>
              </a:ext>
            </a:extLst>
          </p:cNvPr>
          <p:cNvCxnSpPr>
            <a:cxnSpLocks/>
          </p:cNvCxnSpPr>
          <p:nvPr/>
        </p:nvCxnSpPr>
        <p:spPr>
          <a:xfrm flipV="1">
            <a:off x="3172183" y="2397204"/>
            <a:ext cx="964642" cy="1163569"/>
          </a:xfrm>
          <a:prstGeom prst="straightConnector1">
            <a:avLst/>
          </a:prstGeom>
          <a:ln w="95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21" name="Straight Arrow Connector 1220">
            <a:extLst>
              <a:ext uri="{FF2B5EF4-FFF2-40B4-BE49-F238E27FC236}">
                <a16:creationId xmlns:a16="http://schemas.microsoft.com/office/drawing/2014/main" id="{9A295B4B-6903-2D8D-6187-FBB40C5ED003}"/>
              </a:ext>
            </a:extLst>
          </p:cNvPr>
          <p:cNvCxnSpPr>
            <a:cxnSpLocks/>
          </p:cNvCxnSpPr>
          <p:nvPr/>
        </p:nvCxnSpPr>
        <p:spPr>
          <a:xfrm flipH="1" flipV="1">
            <a:off x="2575762" y="2890078"/>
            <a:ext cx="575106" cy="670697"/>
          </a:xfrm>
          <a:prstGeom prst="straightConnector1">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22" name="Straight Arrow Connector 1221">
            <a:extLst>
              <a:ext uri="{FF2B5EF4-FFF2-40B4-BE49-F238E27FC236}">
                <a16:creationId xmlns:a16="http://schemas.microsoft.com/office/drawing/2014/main" id="{D6BD145C-4932-5C8B-4AC3-95DEB1604E96}"/>
              </a:ext>
            </a:extLst>
          </p:cNvPr>
          <p:cNvCxnSpPr>
            <a:cxnSpLocks/>
          </p:cNvCxnSpPr>
          <p:nvPr/>
        </p:nvCxnSpPr>
        <p:spPr>
          <a:xfrm flipV="1">
            <a:off x="3150866" y="3324314"/>
            <a:ext cx="2855943" cy="241951"/>
          </a:xfrm>
          <a:prstGeom prst="straightConnector1">
            <a:avLst/>
          </a:prstGeom>
          <a:ln w="31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23" name="Straight Arrow Connector 1222">
            <a:extLst>
              <a:ext uri="{FF2B5EF4-FFF2-40B4-BE49-F238E27FC236}">
                <a16:creationId xmlns:a16="http://schemas.microsoft.com/office/drawing/2014/main" id="{61A4D3E5-A06C-7747-FB6E-4EBA1DE3CEA4}"/>
              </a:ext>
            </a:extLst>
          </p:cNvPr>
          <p:cNvCxnSpPr>
            <a:cxnSpLocks/>
          </p:cNvCxnSpPr>
          <p:nvPr/>
        </p:nvCxnSpPr>
        <p:spPr>
          <a:xfrm>
            <a:off x="6006809" y="2636090"/>
            <a:ext cx="193478" cy="456855"/>
          </a:xfrm>
          <a:prstGeom prst="straightConnector1">
            <a:avLst/>
          </a:prstGeom>
          <a:ln w="63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24" name="Straight Arrow Connector 1223">
            <a:extLst>
              <a:ext uri="{FF2B5EF4-FFF2-40B4-BE49-F238E27FC236}">
                <a16:creationId xmlns:a16="http://schemas.microsoft.com/office/drawing/2014/main" id="{AE3258D0-DB61-41EC-3BFA-74E794F6F56C}"/>
              </a:ext>
            </a:extLst>
          </p:cNvPr>
          <p:cNvCxnSpPr>
            <a:cxnSpLocks/>
          </p:cNvCxnSpPr>
          <p:nvPr/>
        </p:nvCxnSpPr>
        <p:spPr>
          <a:xfrm flipH="1">
            <a:off x="5021572" y="2626636"/>
            <a:ext cx="985240" cy="516149"/>
          </a:xfrm>
          <a:prstGeom prst="straightConnector1">
            <a:avLst/>
          </a:prstGeom>
          <a:ln w="63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25" name="Straight Arrow Connector 1224">
            <a:extLst>
              <a:ext uri="{FF2B5EF4-FFF2-40B4-BE49-F238E27FC236}">
                <a16:creationId xmlns:a16="http://schemas.microsoft.com/office/drawing/2014/main" id="{0D65CF3E-3CE5-B574-02FF-562F9E8CBE7E}"/>
              </a:ext>
            </a:extLst>
          </p:cNvPr>
          <p:cNvCxnSpPr>
            <a:cxnSpLocks/>
          </p:cNvCxnSpPr>
          <p:nvPr/>
        </p:nvCxnSpPr>
        <p:spPr>
          <a:xfrm flipV="1">
            <a:off x="3150868" y="3331420"/>
            <a:ext cx="972847" cy="234844"/>
          </a:xfrm>
          <a:prstGeom prst="straightConnector1">
            <a:avLst/>
          </a:prstGeom>
          <a:ln w="95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26" name="TextBox 140">
            <a:extLst>
              <a:ext uri="{FF2B5EF4-FFF2-40B4-BE49-F238E27FC236}">
                <a16:creationId xmlns:a16="http://schemas.microsoft.com/office/drawing/2014/main" id="{8A8F2A6E-E09F-9FE4-D981-6BCCA3B2BC67}"/>
              </a:ext>
            </a:extLst>
          </p:cNvPr>
          <p:cNvSpPr txBox="1"/>
          <p:nvPr/>
        </p:nvSpPr>
        <p:spPr>
          <a:xfrm>
            <a:off x="1724095" y="1808396"/>
            <a:ext cx="1331872" cy="451187"/>
          </a:xfrm>
          <a:prstGeom prst="flowChartAlternateProcess">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61737"/>
            <a:r>
              <a:rPr lang="en-US" sz="1050" b="1">
                <a:solidFill>
                  <a:srgbClr val="27338B"/>
                </a:solidFill>
                <a:latin typeface="Arial"/>
              </a:rPr>
              <a:t>North America</a:t>
            </a:r>
          </a:p>
          <a:p>
            <a:pPr algn="ctr" defTabSz="761737"/>
            <a:r>
              <a:rPr lang="en-US" sz="800" b="1">
                <a:solidFill>
                  <a:srgbClr val="000000"/>
                </a:solidFill>
                <a:latin typeface="Arial"/>
              </a:rPr>
              <a:t>Domestic Capacity for </a:t>
            </a:r>
          </a:p>
          <a:p>
            <a:pPr algn="ctr" defTabSz="761737"/>
            <a:r>
              <a:rPr lang="en-US" sz="800" b="1">
                <a:solidFill>
                  <a:srgbClr val="000000"/>
                </a:solidFill>
                <a:latin typeface="Arial"/>
              </a:rPr>
              <a:t>Domestic Demand</a:t>
            </a:r>
          </a:p>
        </p:txBody>
      </p:sp>
      <p:sp>
        <p:nvSpPr>
          <p:cNvPr id="1227" name="TextBox 141">
            <a:extLst>
              <a:ext uri="{FF2B5EF4-FFF2-40B4-BE49-F238E27FC236}">
                <a16:creationId xmlns:a16="http://schemas.microsoft.com/office/drawing/2014/main" id="{6E25B8E6-B38F-F21C-2E51-85ADD635DBCF}"/>
              </a:ext>
            </a:extLst>
          </p:cNvPr>
          <p:cNvSpPr txBox="1"/>
          <p:nvPr/>
        </p:nvSpPr>
        <p:spPr>
          <a:xfrm>
            <a:off x="3011998" y="3838739"/>
            <a:ext cx="1298638" cy="451187"/>
          </a:xfrm>
          <a:prstGeom prst="flowChartAlternateProcess">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61737"/>
            <a:r>
              <a:rPr lang="en-US" sz="1050" b="1">
                <a:solidFill>
                  <a:srgbClr val="27338B"/>
                </a:solidFill>
                <a:latin typeface="Arial"/>
              </a:rPr>
              <a:t>South America</a:t>
            </a:r>
          </a:p>
          <a:p>
            <a:pPr algn="ctr" defTabSz="761737"/>
            <a:r>
              <a:rPr lang="en-US" sz="800" b="1">
                <a:solidFill>
                  <a:srgbClr val="000000"/>
                </a:solidFill>
                <a:latin typeface="Arial"/>
              </a:rPr>
              <a:t>Domestic Leader and </a:t>
            </a:r>
          </a:p>
          <a:p>
            <a:pPr algn="ctr" defTabSz="761737"/>
            <a:r>
              <a:rPr lang="en-US" sz="800" b="1">
                <a:solidFill>
                  <a:srgbClr val="000000"/>
                </a:solidFill>
                <a:latin typeface="Arial"/>
              </a:rPr>
              <a:t>Premium Export Hub</a:t>
            </a:r>
          </a:p>
        </p:txBody>
      </p:sp>
      <p:sp>
        <p:nvSpPr>
          <p:cNvPr id="1228" name="TextBox 144">
            <a:extLst>
              <a:ext uri="{FF2B5EF4-FFF2-40B4-BE49-F238E27FC236}">
                <a16:creationId xmlns:a16="http://schemas.microsoft.com/office/drawing/2014/main" id="{AB3BA738-CA29-5BD7-B651-44C184A34FC7}"/>
              </a:ext>
            </a:extLst>
          </p:cNvPr>
          <p:cNvSpPr txBox="1"/>
          <p:nvPr/>
        </p:nvSpPr>
        <p:spPr>
          <a:xfrm>
            <a:off x="3857842" y="1780353"/>
            <a:ext cx="916601" cy="451187"/>
          </a:xfrm>
          <a:prstGeom prst="flowChartAlternateProcess">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61737"/>
            <a:r>
              <a:rPr lang="en-US" sz="1050" b="1">
                <a:solidFill>
                  <a:srgbClr val="27338B"/>
                </a:solidFill>
                <a:latin typeface="Arial"/>
              </a:rPr>
              <a:t>Europe</a:t>
            </a:r>
          </a:p>
          <a:p>
            <a:pPr algn="ctr" defTabSz="761737"/>
            <a:r>
              <a:rPr lang="en-US" sz="800" b="1">
                <a:solidFill>
                  <a:srgbClr val="000000"/>
                </a:solidFill>
                <a:latin typeface="Arial"/>
              </a:rPr>
              <a:t>Finishing and </a:t>
            </a:r>
          </a:p>
          <a:p>
            <a:pPr algn="ctr" defTabSz="761737"/>
            <a:r>
              <a:rPr lang="en-US" sz="800" b="1">
                <a:solidFill>
                  <a:srgbClr val="000000"/>
                </a:solidFill>
                <a:latin typeface="Arial"/>
              </a:rPr>
              <a:t>Niche Products</a:t>
            </a:r>
          </a:p>
        </p:txBody>
      </p:sp>
      <p:sp>
        <p:nvSpPr>
          <p:cNvPr id="1229" name="Oval 1228">
            <a:extLst>
              <a:ext uri="{FF2B5EF4-FFF2-40B4-BE49-F238E27FC236}">
                <a16:creationId xmlns:a16="http://schemas.microsoft.com/office/drawing/2014/main" id="{C5458B44-BFD1-279E-45B5-919164620D4C}"/>
              </a:ext>
            </a:extLst>
          </p:cNvPr>
          <p:cNvSpPr/>
          <p:nvPr/>
        </p:nvSpPr>
        <p:spPr>
          <a:xfrm>
            <a:off x="2241637" y="2259583"/>
            <a:ext cx="498747" cy="498747"/>
          </a:xfrm>
          <a:prstGeom prst="ellipse">
            <a:avLst/>
          </a:prstGeom>
          <a:solidFill>
            <a:schemeClr val="bg2"/>
          </a:solidFill>
          <a:ln w="6350"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60960" rIns="0" bIns="6096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700" b="1">
              <a:solidFill>
                <a:srgbClr val="FFFFFF"/>
              </a:solidFill>
              <a:latin typeface="Arial"/>
            </a:endParaRPr>
          </a:p>
        </p:txBody>
      </p:sp>
      <p:sp>
        <p:nvSpPr>
          <p:cNvPr id="1230" name="Oval 1229">
            <a:extLst>
              <a:ext uri="{FF2B5EF4-FFF2-40B4-BE49-F238E27FC236}">
                <a16:creationId xmlns:a16="http://schemas.microsoft.com/office/drawing/2014/main" id="{640C0C31-6878-28ED-2731-0BB95DCBE57B}"/>
              </a:ext>
            </a:extLst>
          </p:cNvPr>
          <p:cNvSpPr/>
          <p:nvPr/>
        </p:nvSpPr>
        <p:spPr>
          <a:xfrm>
            <a:off x="4202180" y="2241761"/>
            <a:ext cx="145975" cy="145975"/>
          </a:xfrm>
          <a:prstGeom prst="ellipse">
            <a:avLst/>
          </a:prstGeom>
          <a:solidFill>
            <a:schemeClr val="accent3"/>
          </a:solidFill>
          <a:ln w="9525" cap="rnd"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60960" rIns="0" bIns="6096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700" b="1" i="1">
              <a:solidFill>
                <a:srgbClr val="FFFFFF"/>
              </a:solidFill>
              <a:latin typeface="Arial"/>
            </a:endParaRPr>
          </a:p>
        </p:txBody>
      </p:sp>
      <p:sp>
        <p:nvSpPr>
          <p:cNvPr id="1231" name="Oval 1230">
            <a:extLst>
              <a:ext uri="{FF2B5EF4-FFF2-40B4-BE49-F238E27FC236}">
                <a16:creationId xmlns:a16="http://schemas.microsoft.com/office/drawing/2014/main" id="{D0135A99-E6BA-E2F5-787A-3D7564238678}"/>
              </a:ext>
            </a:extLst>
          </p:cNvPr>
          <p:cNvSpPr/>
          <p:nvPr/>
        </p:nvSpPr>
        <p:spPr>
          <a:xfrm>
            <a:off x="2849791" y="3273551"/>
            <a:ext cx="553487" cy="553487"/>
          </a:xfrm>
          <a:prstGeom prst="ellipse">
            <a:avLst/>
          </a:prstGeom>
          <a:solidFill>
            <a:schemeClr val="bg2"/>
          </a:solidFill>
          <a:ln w="6350" cap="rnd"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60960" rIns="0" bIns="6096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700" b="1">
              <a:solidFill>
                <a:srgbClr val="FFFFFF"/>
              </a:solidFill>
              <a:latin typeface="Arial"/>
            </a:endParaRPr>
          </a:p>
        </p:txBody>
      </p:sp>
      <p:sp>
        <p:nvSpPr>
          <p:cNvPr id="1232" name="TextBox 13">
            <a:extLst>
              <a:ext uri="{FF2B5EF4-FFF2-40B4-BE49-F238E27FC236}">
                <a16:creationId xmlns:a16="http://schemas.microsoft.com/office/drawing/2014/main" id="{24DF4B1B-805E-EAB5-6866-E3987E02EC1B}"/>
              </a:ext>
            </a:extLst>
          </p:cNvPr>
          <p:cNvSpPr txBox="1"/>
          <p:nvPr/>
        </p:nvSpPr>
        <p:spPr>
          <a:xfrm>
            <a:off x="6104479" y="2496585"/>
            <a:ext cx="843690" cy="451187"/>
          </a:xfrm>
          <a:prstGeom prst="flowChartAlternateProcess">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61737"/>
            <a:r>
              <a:rPr lang="en-US" sz="1050" b="1">
                <a:solidFill>
                  <a:srgbClr val="27338B"/>
                </a:solidFill>
                <a:latin typeface="Arial"/>
              </a:rPr>
              <a:t>East Asia</a:t>
            </a:r>
          </a:p>
          <a:p>
            <a:pPr algn="ctr" defTabSz="761737"/>
            <a:r>
              <a:rPr lang="en-US" sz="800" b="1">
                <a:solidFill>
                  <a:srgbClr val="000000"/>
                </a:solidFill>
                <a:latin typeface="Arial"/>
              </a:rPr>
              <a:t>Premium</a:t>
            </a:r>
          </a:p>
          <a:p>
            <a:pPr algn="ctr" defTabSz="761737"/>
            <a:r>
              <a:rPr lang="en-US" sz="800" b="1">
                <a:solidFill>
                  <a:srgbClr val="000000"/>
                </a:solidFill>
                <a:latin typeface="Arial"/>
              </a:rPr>
              <a:t>Export Hub</a:t>
            </a:r>
          </a:p>
        </p:txBody>
      </p:sp>
      <p:cxnSp>
        <p:nvCxnSpPr>
          <p:cNvPr id="1233" name="Straight Arrow Connector 1232">
            <a:extLst>
              <a:ext uri="{FF2B5EF4-FFF2-40B4-BE49-F238E27FC236}">
                <a16:creationId xmlns:a16="http://schemas.microsoft.com/office/drawing/2014/main" id="{2B77C9CB-0C4E-D744-25AB-4EB876AC9C09}"/>
              </a:ext>
            </a:extLst>
          </p:cNvPr>
          <p:cNvCxnSpPr>
            <a:cxnSpLocks/>
          </p:cNvCxnSpPr>
          <p:nvPr/>
        </p:nvCxnSpPr>
        <p:spPr>
          <a:xfrm flipH="1">
            <a:off x="5193460" y="2636092"/>
            <a:ext cx="785462" cy="137563"/>
          </a:xfrm>
          <a:prstGeom prst="straightConnector1">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34" name="Oval 1233">
            <a:extLst>
              <a:ext uri="{FF2B5EF4-FFF2-40B4-BE49-F238E27FC236}">
                <a16:creationId xmlns:a16="http://schemas.microsoft.com/office/drawing/2014/main" id="{500B5063-7233-4EA6-8AC4-FEE9CFDA710B}"/>
              </a:ext>
            </a:extLst>
          </p:cNvPr>
          <p:cNvSpPr/>
          <p:nvPr/>
        </p:nvSpPr>
        <p:spPr>
          <a:xfrm>
            <a:off x="5797960" y="2508954"/>
            <a:ext cx="285866" cy="285866"/>
          </a:xfrm>
          <a:prstGeom prst="ellipse">
            <a:avLst/>
          </a:prstGeom>
          <a:solidFill>
            <a:schemeClr val="accent4"/>
          </a:solidFill>
          <a:ln w="6350" cap="rnd" cmpd="sng" algn="ctr">
            <a:solidFill>
              <a:schemeClr val="bg2">
                <a:lumMod val="20000"/>
                <a:lumOff val="80000"/>
              </a:schemeClr>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700" b="1" i="1">
              <a:solidFill>
                <a:srgbClr val="FFFFFF"/>
              </a:solidFill>
              <a:latin typeface="Arial"/>
            </a:endParaRPr>
          </a:p>
        </p:txBody>
      </p:sp>
      <p:sp>
        <p:nvSpPr>
          <p:cNvPr id="1235" name="TextBox 143">
            <a:extLst>
              <a:ext uri="{FF2B5EF4-FFF2-40B4-BE49-F238E27FC236}">
                <a16:creationId xmlns:a16="http://schemas.microsoft.com/office/drawing/2014/main" id="{A5CCEF52-F38C-8C70-15FD-DFD8D60E4671}"/>
              </a:ext>
            </a:extLst>
          </p:cNvPr>
          <p:cNvSpPr txBox="1"/>
          <p:nvPr/>
        </p:nvSpPr>
        <p:spPr>
          <a:xfrm>
            <a:off x="4450834" y="2360154"/>
            <a:ext cx="1114332" cy="314980"/>
          </a:xfrm>
          <a:prstGeom prst="flowChartAlternateProcess">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61737"/>
            <a:r>
              <a:rPr lang="en-US" sz="1050" b="1">
                <a:solidFill>
                  <a:srgbClr val="27338B"/>
                </a:solidFill>
                <a:latin typeface="Arial"/>
              </a:rPr>
              <a:t>Saudi Arabia</a:t>
            </a:r>
          </a:p>
          <a:p>
            <a:pPr algn="ctr" defTabSz="761737"/>
            <a:r>
              <a:rPr lang="en-US" sz="800" b="1">
                <a:solidFill>
                  <a:srgbClr val="000000"/>
                </a:solidFill>
                <a:latin typeface="Arial"/>
              </a:rPr>
              <a:t>Local Value-Add</a:t>
            </a:r>
          </a:p>
        </p:txBody>
      </p:sp>
      <p:sp>
        <p:nvSpPr>
          <p:cNvPr id="1236" name="Oval 1235">
            <a:extLst>
              <a:ext uri="{FF2B5EF4-FFF2-40B4-BE49-F238E27FC236}">
                <a16:creationId xmlns:a16="http://schemas.microsoft.com/office/drawing/2014/main" id="{B7131868-9214-24BF-1465-A1B37CE71CBD}"/>
              </a:ext>
            </a:extLst>
          </p:cNvPr>
          <p:cNvSpPr>
            <a:spLocks/>
          </p:cNvSpPr>
          <p:nvPr/>
        </p:nvSpPr>
        <p:spPr>
          <a:xfrm>
            <a:off x="6200289" y="3134192"/>
            <a:ext cx="182468" cy="182468"/>
          </a:xfrm>
          <a:prstGeom prst="ellipse">
            <a:avLst/>
          </a:prstGeom>
          <a:solidFill>
            <a:schemeClr val="accent3"/>
          </a:solidFill>
          <a:ln w="9525" cap="rnd"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8768" rIns="0" bIns="4876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US" sz="500" b="1" i="1">
              <a:solidFill>
                <a:srgbClr val="FFFFFF"/>
              </a:solidFill>
              <a:latin typeface="Arial"/>
            </a:endParaRPr>
          </a:p>
        </p:txBody>
      </p:sp>
      <p:sp>
        <p:nvSpPr>
          <p:cNvPr id="22" name="TextBox 21">
            <a:extLst>
              <a:ext uri="{FF2B5EF4-FFF2-40B4-BE49-F238E27FC236}">
                <a16:creationId xmlns:a16="http://schemas.microsoft.com/office/drawing/2014/main" id="{45C1F674-25A7-EE11-9467-D1A17117D73E}"/>
              </a:ext>
            </a:extLst>
          </p:cNvPr>
          <p:cNvSpPr txBox="1"/>
          <p:nvPr/>
        </p:nvSpPr>
        <p:spPr>
          <a:xfrm>
            <a:off x="602108" y="3404357"/>
            <a:ext cx="2056572" cy="612934"/>
          </a:xfrm>
          <a:prstGeom prst="roundRect">
            <a:avLst/>
          </a:prstGeom>
          <a:ln w="9525">
            <a:solidFill>
              <a:schemeClr val="accent2"/>
            </a:solidFill>
            <a:prstDash val="sysDash"/>
          </a:ln>
        </p:spPr>
        <p:style>
          <a:lnRef idx="2">
            <a:schemeClr val="accent3"/>
          </a:lnRef>
          <a:fillRef idx="1">
            <a:schemeClr val="lt1"/>
          </a:fillRef>
          <a:effectRef idx="0">
            <a:schemeClr val="accent3"/>
          </a:effectRef>
          <a:fontRef idx="minor">
            <a:schemeClr val="dk1"/>
          </a:fontRef>
        </p:style>
        <p:txBody>
          <a:bodyPr wrap="square" lIns="45720" rIns="45720" rtlCol="0" anchor="ctr" anchorCtr="0">
            <a:spAutoFit/>
          </a:bodyPr>
          <a:lstStyle/>
          <a:p>
            <a:pPr algn="ctr"/>
            <a:r>
              <a:rPr lang="en-US" sz="1000" i="1" dirty="0"/>
              <a:t>Invested in enhanced production capabilities </a:t>
            </a:r>
            <a:r>
              <a:rPr lang="en-US" sz="1000" b="1" i="1" dirty="0"/>
              <a:t>to enable transfer of &gt;100kt of Oil &amp; Gas production</a:t>
            </a:r>
          </a:p>
        </p:txBody>
      </p:sp>
      <p:sp>
        <p:nvSpPr>
          <p:cNvPr id="23" name="TextBox 22">
            <a:extLst>
              <a:ext uri="{FF2B5EF4-FFF2-40B4-BE49-F238E27FC236}">
                <a16:creationId xmlns:a16="http://schemas.microsoft.com/office/drawing/2014/main" id="{00B6D42C-0F3A-1C9E-30DC-B4BF0F8818D1}"/>
              </a:ext>
            </a:extLst>
          </p:cNvPr>
          <p:cNvSpPr txBox="1"/>
          <p:nvPr/>
        </p:nvSpPr>
        <p:spPr>
          <a:xfrm>
            <a:off x="1841371" y="1181170"/>
            <a:ext cx="2178658" cy="442674"/>
          </a:xfrm>
          <a:prstGeom prst="roundRect">
            <a:avLst/>
          </a:prstGeom>
          <a:ln w="9525">
            <a:solidFill>
              <a:schemeClr val="accent2"/>
            </a:solidFill>
            <a:prstDash val="sysDash"/>
          </a:ln>
        </p:spPr>
        <p:style>
          <a:lnRef idx="2">
            <a:schemeClr val="accent3"/>
          </a:lnRef>
          <a:fillRef idx="1">
            <a:schemeClr val="lt1"/>
          </a:fillRef>
          <a:effectRef idx="0">
            <a:schemeClr val="accent3"/>
          </a:effectRef>
          <a:fontRef idx="minor">
            <a:schemeClr val="dk1"/>
          </a:fontRef>
        </p:style>
        <p:txBody>
          <a:bodyPr wrap="square" lIns="45720" rIns="45720" rtlCol="0" anchor="ctr" anchorCtr="0">
            <a:spAutoFit/>
          </a:bodyPr>
          <a:lstStyle>
            <a:defPPr>
              <a:defRPr lang="fr-FR"/>
            </a:defPPr>
            <a:lvl1pPr algn="ctr">
              <a:defRPr sz="1000" i="1"/>
            </a:lvl1pPr>
          </a:lstStyle>
          <a:p>
            <a:r>
              <a:rPr lang="en-US" b="1"/>
              <a:t>Closed ~700kt of rolling capacity </a:t>
            </a:r>
            <a:r>
              <a:rPr lang="en-US"/>
              <a:t>and various finishing sites</a:t>
            </a:r>
          </a:p>
        </p:txBody>
      </p:sp>
      <p:sp>
        <p:nvSpPr>
          <p:cNvPr id="24" name="TextBox 23">
            <a:extLst>
              <a:ext uri="{FF2B5EF4-FFF2-40B4-BE49-F238E27FC236}">
                <a16:creationId xmlns:a16="http://schemas.microsoft.com/office/drawing/2014/main" id="{2D8B1A86-926E-5816-079C-19B7ABB228A4}"/>
              </a:ext>
            </a:extLst>
          </p:cNvPr>
          <p:cNvSpPr txBox="1"/>
          <p:nvPr/>
        </p:nvSpPr>
        <p:spPr>
          <a:xfrm>
            <a:off x="4895647" y="1626391"/>
            <a:ext cx="1761938" cy="442674"/>
          </a:xfrm>
          <a:prstGeom prst="roundRect">
            <a:avLst/>
          </a:prstGeom>
          <a:ln w="9525">
            <a:solidFill>
              <a:schemeClr val="accent2"/>
            </a:solidFill>
            <a:prstDash val="sysDash"/>
          </a:ln>
        </p:spPr>
        <p:style>
          <a:lnRef idx="2">
            <a:schemeClr val="accent3"/>
          </a:lnRef>
          <a:fillRef idx="1">
            <a:schemeClr val="lt1"/>
          </a:fillRef>
          <a:effectRef idx="0">
            <a:schemeClr val="accent3"/>
          </a:effectRef>
          <a:fontRef idx="minor">
            <a:schemeClr val="dk1"/>
          </a:fontRef>
        </p:style>
        <p:txBody>
          <a:bodyPr wrap="square" lIns="45720" rIns="45720" rtlCol="0" anchor="ctr" anchorCtr="0">
            <a:spAutoFit/>
          </a:bodyPr>
          <a:lstStyle>
            <a:defPPr>
              <a:defRPr lang="fr-FR"/>
            </a:defPPr>
            <a:lvl1pPr algn="ctr">
              <a:defRPr sz="1000" i="1"/>
            </a:lvl1pPr>
          </a:lstStyle>
          <a:p>
            <a:r>
              <a:rPr lang="en-US" dirty="0"/>
              <a:t>Premium finishing </a:t>
            </a:r>
            <a:r>
              <a:rPr lang="en-US" b="1" dirty="0"/>
              <a:t>capacity increased by 40kt</a:t>
            </a:r>
          </a:p>
        </p:txBody>
      </p:sp>
      <p:sp>
        <p:nvSpPr>
          <p:cNvPr id="25" name="TextBox 24">
            <a:extLst>
              <a:ext uri="{FF2B5EF4-FFF2-40B4-BE49-F238E27FC236}">
                <a16:creationId xmlns:a16="http://schemas.microsoft.com/office/drawing/2014/main" id="{E672C2B7-23A3-220D-AF5F-78CFB21FC324}"/>
              </a:ext>
            </a:extLst>
          </p:cNvPr>
          <p:cNvSpPr txBox="1"/>
          <p:nvPr/>
        </p:nvSpPr>
        <p:spPr>
          <a:xfrm>
            <a:off x="6887655" y="1914061"/>
            <a:ext cx="1910266" cy="612934"/>
          </a:xfrm>
          <a:prstGeom prst="roundRect">
            <a:avLst/>
          </a:prstGeom>
          <a:ln w="9525">
            <a:solidFill>
              <a:schemeClr val="accent2"/>
            </a:solidFill>
            <a:prstDash val="sysDash"/>
          </a:ln>
        </p:spPr>
        <p:style>
          <a:lnRef idx="2">
            <a:schemeClr val="accent3"/>
          </a:lnRef>
          <a:fillRef idx="1">
            <a:schemeClr val="lt1"/>
          </a:fillRef>
          <a:effectRef idx="0">
            <a:schemeClr val="accent3"/>
          </a:effectRef>
          <a:fontRef idx="minor">
            <a:schemeClr val="dk1"/>
          </a:fontRef>
        </p:style>
        <p:txBody>
          <a:bodyPr wrap="square" lIns="45720" rIns="45720" rtlCol="0" anchor="ctr" anchorCtr="0">
            <a:spAutoFit/>
          </a:bodyPr>
          <a:lstStyle>
            <a:defPPr>
              <a:defRPr lang="fr-FR"/>
            </a:defPPr>
            <a:lvl1pPr algn="ctr">
              <a:defRPr sz="1000" i="1"/>
            </a:lvl1pPr>
          </a:lstStyle>
          <a:p>
            <a:r>
              <a:rPr lang="en-US" b="1"/>
              <a:t>Reduced rolling capacity by ~300kt;</a:t>
            </a:r>
            <a:r>
              <a:rPr lang="en-US"/>
              <a:t> repositioned towards premium export products</a:t>
            </a:r>
          </a:p>
        </p:txBody>
      </p:sp>
      <p:cxnSp>
        <p:nvCxnSpPr>
          <p:cNvPr id="106" name="Connector: Elbow 105">
            <a:extLst>
              <a:ext uri="{FF2B5EF4-FFF2-40B4-BE49-F238E27FC236}">
                <a16:creationId xmlns:a16="http://schemas.microsoft.com/office/drawing/2014/main" id="{9FD35921-4C7D-1491-AD23-84072A7D66F6}"/>
              </a:ext>
            </a:extLst>
          </p:cNvPr>
          <p:cNvCxnSpPr>
            <a:cxnSpLocks/>
            <a:stCxn id="23" idx="3"/>
            <a:endCxn id="1228" idx="0"/>
          </p:cNvCxnSpPr>
          <p:nvPr/>
        </p:nvCxnSpPr>
        <p:spPr>
          <a:xfrm>
            <a:off x="4020029" y="1402507"/>
            <a:ext cx="296114" cy="377846"/>
          </a:xfrm>
          <a:prstGeom prst="bentConnector2">
            <a:avLst/>
          </a:prstGeom>
          <a:ln w="9525">
            <a:solidFill>
              <a:schemeClr val="accent2"/>
            </a:solidFill>
            <a:prstDash val="sysDash"/>
            <a:tailEnd type="triangle"/>
          </a:ln>
        </p:spPr>
        <p:style>
          <a:lnRef idx="1">
            <a:schemeClr val="accent2"/>
          </a:lnRef>
          <a:fillRef idx="0">
            <a:schemeClr val="accent2"/>
          </a:fillRef>
          <a:effectRef idx="0">
            <a:schemeClr val="accent2"/>
          </a:effectRef>
          <a:fontRef idx="minor">
            <a:schemeClr val="tx1"/>
          </a:fontRef>
        </p:style>
      </p:cxnSp>
      <p:cxnSp>
        <p:nvCxnSpPr>
          <p:cNvPr id="107" name="Connector: Elbow 106">
            <a:extLst>
              <a:ext uri="{FF2B5EF4-FFF2-40B4-BE49-F238E27FC236}">
                <a16:creationId xmlns:a16="http://schemas.microsoft.com/office/drawing/2014/main" id="{F95C1A4E-5925-EF5D-A7A0-E7AAC818F128}"/>
              </a:ext>
            </a:extLst>
          </p:cNvPr>
          <p:cNvCxnSpPr>
            <a:cxnSpLocks/>
            <a:stCxn id="24" idx="2"/>
            <a:endCxn id="1235" idx="0"/>
          </p:cNvCxnSpPr>
          <p:nvPr/>
        </p:nvCxnSpPr>
        <p:spPr>
          <a:xfrm rot="5400000">
            <a:off x="5246764" y="1830301"/>
            <a:ext cx="291089" cy="768616"/>
          </a:xfrm>
          <a:prstGeom prst="bentConnector3">
            <a:avLst>
              <a:gd name="adj1" fmla="val 50000"/>
            </a:avLst>
          </a:prstGeom>
          <a:ln w="9525">
            <a:solidFill>
              <a:schemeClr val="accent2"/>
            </a:solidFill>
            <a:prstDash val="sysDash"/>
            <a:tailEnd type="triangle"/>
          </a:ln>
        </p:spPr>
        <p:style>
          <a:lnRef idx="1">
            <a:schemeClr val="accent2"/>
          </a:lnRef>
          <a:fillRef idx="0">
            <a:schemeClr val="accent2"/>
          </a:fillRef>
          <a:effectRef idx="0">
            <a:schemeClr val="accent2"/>
          </a:effectRef>
          <a:fontRef idx="minor">
            <a:schemeClr val="tx1"/>
          </a:fontRef>
        </p:style>
      </p:cxnSp>
      <p:cxnSp>
        <p:nvCxnSpPr>
          <p:cNvPr id="117" name="Connector: Elbow 116">
            <a:extLst>
              <a:ext uri="{FF2B5EF4-FFF2-40B4-BE49-F238E27FC236}">
                <a16:creationId xmlns:a16="http://schemas.microsoft.com/office/drawing/2014/main" id="{7BE7C26A-0234-F8A2-03F9-838CC8F0C425}"/>
              </a:ext>
            </a:extLst>
          </p:cNvPr>
          <p:cNvCxnSpPr>
            <a:cxnSpLocks/>
            <a:stCxn id="25" idx="1"/>
            <a:endCxn id="1232" idx="0"/>
          </p:cNvCxnSpPr>
          <p:nvPr/>
        </p:nvCxnSpPr>
        <p:spPr>
          <a:xfrm rot="10800000" flipV="1">
            <a:off x="6526325" y="2220527"/>
            <a:ext cx="361331" cy="276057"/>
          </a:xfrm>
          <a:prstGeom prst="bentConnector2">
            <a:avLst/>
          </a:prstGeom>
          <a:ln w="9525">
            <a:solidFill>
              <a:schemeClr val="accent2"/>
            </a:solidFill>
            <a:prstDash val="sysDash"/>
            <a:tailEnd type="triangle"/>
          </a:ln>
        </p:spPr>
        <p:style>
          <a:lnRef idx="1">
            <a:schemeClr val="accent2"/>
          </a:lnRef>
          <a:fillRef idx="0">
            <a:schemeClr val="accent2"/>
          </a:fillRef>
          <a:effectRef idx="0">
            <a:schemeClr val="accent2"/>
          </a:effectRef>
          <a:fontRef idx="minor">
            <a:schemeClr val="tx1"/>
          </a:fontRef>
        </p:style>
      </p:cxnSp>
      <p:cxnSp>
        <p:nvCxnSpPr>
          <p:cNvPr id="1237" name="Connector: Elbow 1236">
            <a:extLst>
              <a:ext uri="{FF2B5EF4-FFF2-40B4-BE49-F238E27FC236}">
                <a16:creationId xmlns:a16="http://schemas.microsoft.com/office/drawing/2014/main" id="{1F88A9B6-DFF7-7E0F-EFEB-5E4ABED66191}"/>
              </a:ext>
            </a:extLst>
          </p:cNvPr>
          <p:cNvCxnSpPr>
            <a:cxnSpLocks/>
            <a:stCxn id="22" idx="3"/>
            <a:endCxn id="1227" idx="1"/>
          </p:cNvCxnSpPr>
          <p:nvPr/>
        </p:nvCxnSpPr>
        <p:spPr>
          <a:xfrm>
            <a:off x="2658680" y="3710824"/>
            <a:ext cx="353318" cy="353509"/>
          </a:xfrm>
          <a:prstGeom prst="bentConnector3">
            <a:avLst>
              <a:gd name="adj1" fmla="val 50000"/>
            </a:avLst>
          </a:prstGeom>
          <a:ln w="9525">
            <a:solidFill>
              <a:schemeClr val="accent2"/>
            </a:solidFill>
            <a:prstDash val="sysDash"/>
            <a:tailEnd type="triangle"/>
          </a:ln>
        </p:spPr>
        <p:style>
          <a:lnRef idx="1">
            <a:schemeClr val="accent2"/>
          </a:lnRef>
          <a:fillRef idx="0">
            <a:schemeClr val="accent2"/>
          </a:fillRef>
          <a:effectRef idx="0">
            <a:schemeClr val="accent2"/>
          </a:effectRef>
          <a:fontRef idx="minor">
            <a:schemeClr val="tx1"/>
          </a:fontRef>
        </p:style>
      </p:cxnSp>
      <p:cxnSp>
        <p:nvCxnSpPr>
          <p:cNvPr id="20" name="Straight Arrow Connector 19">
            <a:extLst>
              <a:ext uri="{FF2B5EF4-FFF2-40B4-BE49-F238E27FC236}">
                <a16:creationId xmlns:a16="http://schemas.microsoft.com/office/drawing/2014/main" id="{21BFBA6A-8586-3213-6154-D73F662E9F33}"/>
              </a:ext>
            </a:extLst>
          </p:cNvPr>
          <p:cNvCxnSpPr>
            <a:cxnSpLocks/>
          </p:cNvCxnSpPr>
          <p:nvPr/>
        </p:nvCxnSpPr>
        <p:spPr>
          <a:xfrm flipV="1">
            <a:off x="7259621" y="4310387"/>
            <a:ext cx="182880" cy="182880"/>
          </a:xfrm>
          <a:prstGeom prst="straightConnector1">
            <a:avLst/>
          </a:prstGeom>
          <a:ln w="31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Box 861">
            <a:extLst>
              <a:ext uri="{FF2B5EF4-FFF2-40B4-BE49-F238E27FC236}">
                <a16:creationId xmlns:a16="http://schemas.microsoft.com/office/drawing/2014/main" id="{B8CAEB5B-A819-031F-F3AD-C037CA686DCC}"/>
              </a:ext>
            </a:extLst>
          </p:cNvPr>
          <p:cNvSpPr txBox="1"/>
          <p:nvPr/>
        </p:nvSpPr>
        <p:spPr>
          <a:xfrm>
            <a:off x="7452673" y="4286411"/>
            <a:ext cx="979755" cy="230832"/>
          </a:xfrm>
          <a:prstGeom prst="rect">
            <a:avLst/>
          </a:prstGeom>
          <a:noFill/>
        </p:spPr>
        <p:txBody>
          <a:bodyPr wrap="none" rtlCol="0">
            <a:spAutoFit/>
          </a:bodyPr>
          <a:lstStyle/>
          <a:p>
            <a:r>
              <a:rPr lang="en-US" sz="900" b="1" dirty="0">
                <a:solidFill>
                  <a:schemeClr val="tx2"/>
                </a:solidFill>
              </a:rPr>
              <a:t>Product Flows</a:t>
            </a:r>
            <a:endParaRPr lang="en-US" sz="900" b="1" baseline="30000" dirty="0">
              <a:solidFill>
                <a:schemeClr val="tx2"/>
              </a:solidFill>
            </a:endParaRPr>
          </a:p>
        </p:txBody>
      </p:sp>
    </p:spTree>
    <p:custDataLst>
      <p:tags r:id="rId1"/>
    </p:custDataLst>
    <p:extLst>
      <p:ext uri="{BB962C8B-B14F-4D97-AF65-F5344CB8AC3E}">
        <p14:creationId xmlns:p14="http://schemas.microsoft.com/office/powerpoint/2010/main" val="11012724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A7E7B83-6FF6-2C69-54B0-DF3B5E21A7F4}"/>
              </a:ext>
            </a:extLst>
          </p:cNvPr>
          <p:cNvSpPr>
            <a:spLocks noGrp="1"/>
          </p:cNvSpPr>
          <p:nvPr>
            <p:ph type="title"/>
          </p:nvPr>
        </p:nvSpPr>
        <p:spPr/>
        <p:txBody>
          <a:bodyPr/>
          <a:lstStyle/>
          <a:p>
            <a:r>
              <a:rPr lang="en-US" sz="2000">
                <a:latin typeface="Arial"/>
                <a:cs typeface="Arial"/>
              </a:rPr>
              <a:t>2022 New Vallourec Plan Fully Executed; More to Come </a:t>
            </a:r>
            <a:endParaRPr lang="en-US"/>
          </a:p>
        </p:txBody>
      </p:sp>
      <p:sp>
        <p:nvSpPr>
          <p:cNvPr id="11" name="Text Placeholder 10">
            <a:extLst>
              <a:ext uri="{FF2B5EF4-FFF2-40B4-BE49-F238E27FC236}">
                <a16:creationId xmlns:a16="http://schemas.microsoft.com/office/drawing/2014/main" id="{B4B53338-C2E4-CDA3-6D2C-01095A1BD520}"/>
              </a:ext>
            </a:extLst>
          </p:cNvPr>
          <p:cNvSpPr>
            <a:spLocks noGrp="1"/>
          </p:cNvSpPr>
          <p:nvPr>
            <p:ph type="body" sz="quarter" idx="10"/>
          </p:nvPr>
        </p:nvSpPr>
        <p:spPr/>
        <p:txBody>
          <a:bodyPr/>
          <a:lstStyle/>
          <a:p>
            <a:r>
              <a:rPr lang="en-US"/>
              <a:t>1 Excluding volumes served from the Changzhou Forge (niche products)</a:t>
            </a:r>
          </a:p>
        </p:txBody>
      </p:sp>
      <p:sp>
        <p:nvSpPr>
          <p:cNvPr id="14" name="Rounded Rectangle 4">
            <a:extLst>
              <a:ext uri="{FF2B5EF4-FFF2-40B4-BE49-F238E27FC236}">
                <a16:creationId xmlns:a16="http://schemas.microsoft.com/office/drawing/2014/main" id="{38BB7D82-F010-179C-AB5C-3EED59B78DF3}"/>
              </a:ext>
            </a:extLst>
          </p:cNvPr>
          <p:cNvSpPr/>
          <p:nvPr/>
        </p:nvSpPr>
        <p:spPr>
          <a:xfrm>
            <a:off x="5723366" y="1107131"/>
            <a:ext cx="2834640" cy="3330450"/>
          </a:xfrm>
          <a:prstGeom prst="roundRect">
            <a:avLst>
              <a:gd name="adj" fmla="val 5038"/>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60000" rIns="0" bIns="0" numCol="1" spcCol="0" rtlCol="0" fromWordArt="0" anchor="t" anchorCtr="0" forceAA="0" compatLnSpc="0">
            <a:prstTxWarp prst="textNoShape">
              <a:avLst/>
            </a:prstTxWarp>
            <a:noAutofit/>
          </a:bodyPr>
          <a:lstStyle/>
          <a:p>
            <a:pPr algn="ctr">
              <a:lnSpc>
                <a:spcPct val="110000"/>
              </a:lnSpc>
            </a:pPr>
            <a:r>
              <a:rPr lang="en-GB" sz="1400" b="1">
                <a:solidFill>
                  <a:schemeClr val="bg1"/>
                </a:solidFill>
                <a:cs typeface="Arial"/>
              </a:rPr>
              <a:t>More to Come</a:t>
            </a:r>
          </a:p>
        </p:txBody>
      </p:sp>
      <p:sp>
        <p:nvSpPr>
          <p:cNvPr id="16" name="Rounded Rectangle 4">
            <a:extLst>
              <a:ext uri="{FF2B5EF4-FFF2-40B4-BE49-F238E27FC236}">
                <a16:creationId xmlns:a16="http://schemas.microsoft.com/office/drawing/2014/main" id="{31D2D25D-7BB1-E9C6-359D-8DEC007E3B82}"/>
              </a:ext>
            </a:extLst>
          </p:cNvPr>
          <p:cNvSpPr/>
          <p:nvPr/>
        </p:nvSpPr>
        <p:spPr>
          <a:xfrm>
            <a:off x="2193962" y="1107131"/>
            <a:ext cx="2834640" cy="3330450"/>
          </a:xfrm>
          <a:prstGeom prst="roundRect">
            <a:avLst>
              <a:gd name="adj" fmla="val 5038"/>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60000" rIns="0" bIns="0" numCol="1" spcCol="0" rtlCol="0" fromWordArt="0" anchor="t" anchorCtr="0" forceAA="0" compatLnSpc="0">
            <a:prstTxWarp prst="textNoShape">
              <a:avLst/>
            </a:prstTxWarp>
            <a:noAutofit/>
          </a:bodyPr>
          <a:lstStyle/>
          <a:p>
            <a:pPr algn="ctr">
              <a:lnSpc>
                <a:spcPct val="110000"/>
              </a:lnSpc>
            </a:pPr>
            <a:r>
              <a:rPr lang="en-GB" sz="1400" b="1">
                <a:solidFill>
                  <a:schemeClr val="bg1"/>
                </a:solidFill>
              </a:rPr>
              <a:t>Already Implemented</a:t>
            </a:r>
          </a:p>
        </p:txBody>
      </p:sp>
      <p:sp>
        <p:nvSpPr>
          <p:cNvPr id="18" name="Rectangle 17">
            <a:extLst>
              <a:ext uri="{FF2B5EF4-FFF2-40B4-BE49-F238E27FC236}">
                <a16:creationId xmlns:a16="http://schemas.microsoft.com/office/drawing/2014/main" id="{3A4E54CD-3145-0FBB-AE30-806302742996}"/>
              </a:ext>
            </a:extLst>
          </p:cNvPr>
          <p:cNvSpPr/>
          <p:nvPr/>
        </p:nvSpPr>
        <p:spPr>
          <a:xfrm>
            <a:off x="464108" y="2477688"/>
            <a:ext cx="8293608" cy="822960"/>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4CA5FC86-63BE-BFCB-F3E6-8FB25ECC0E99}"/>
              </a:ext>
            </a:extLst>
          </p:cNvPr>
          <p:cNvSpPr/>
          <p:nvPr/>
        </p:nvSpPr>
        <p:spPr>
          <a:xfrm>
            <a:off x="464108" y="2477688"/>
            <a:ext cx="1463040" cy="8229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Operational Initiatives</a:t>
            </a:r>
          </a:p>
        </p:txBody>
      </p:sp>
      <p:sp>
        <p:nvSpPr>
          <p:cNvPr id="20" name="TextBox 19">
            <a:extLst>
              <a:ext uri="{FF2B5EF4-FFF2-40B4-BE49-F238E27FC236}">
                <a16:creationId xmlns:a16="http://schemas.microsoft.com/office/drawing/2014/main" id="{6189C364-94A4-F4D7-4C12-CA593FC05B18}"/>
              </a:ext>
            </a:extLst>
          </p:cNvPr>
          <p:cNvSpPr txBox="1"/>
          <p:nvPr/>
        </p:nvSpPr>
        <p:spPr>
          <a:xfrm>
            <a:off x="2201938" y="2477688"/>
            <a:ext cx="2834640" cy="822960"/>
          </a:xfrm>
          <a:prstGeom prst="rect">
            <a:avLst/>
          </a:prstGeom>
          <a:noFill/>
        </p:spPr>
        <p:txBody>
          <a:bodyPr wrap="square" lIns="91440" tIns="45720" rIns="91440" bIns="45720" rtlCol="0" anchor="ctr" anchorCtr="0">
            <a:noAutofit/>
          </a:bodyPr>
          <a:lstStyle/>
          <a:p>
            <a:pPr marL="171450" indent="-171450">
              <a:spcBef>
                <a:spcPts val="600"/>
              </a:spcBef>
              <a:buFont typeface="Arial" panose="020B0604020202020204" pitchFamily="34" charset="0"/>
              <a:buChar char="•"/>
            </a:pPr>
            <a:r>
              <a:rPr lang="en-GB" sz="1000">
                <a:solidFill>
                  <a:schemeClr val="tx2"/>
                </a:solidFill>
              </a:rPr>
              <a:t>Planned closure of European assets</a:t>
            </a:r>
          </a:p>
          <a:p>
            <a:pPr marL="171450" indent="-171450">
              <a:spcBef>
                <a:spcPts val="600"/>
              </a:spcBef>
              <a:buFont typeface="Arial" panose="020B0604020202020204" pitchFamily="34" charset="0"/>
              <a:buChar char="•"/>
            </a:pPr>
            <a:r>
              <a:rPr lang="en-GB" sz="1000">
                <a:solidFill>
                  <a:schemeClr val="tx2"/>
                </a:solidFill>
              </a:rPr>
              <a:t>Investment in Brazilian capabilities</a:t>
            </a:r>
            <a:endParaRPr lang="en-GB" sz="1000">
              <a:solidFill>
                <a:schemeClr val="tx2"/>
              </a:solidFill>
              <a:cs typeface="Arial"/>
            </a:endParaRPr>
          </a:p>
          <a:p>
            <a:pPr marL="171450" indent="-171450">
              <a:spcBef>
                <a:spcPts val="600"/>
              </a:spcBef>
              <a:buFont typeface="Arial" panose="020B0604020202020204" pitchFamily="34" charset="0"/>
              <a:buChar char="•"/>
            </a:pPr>
            <a:r>
              <a:rPr lang="en-GB" sz="1000">
                <a:solidFill>
                  <a:schemeClr val="tx2"/>
                </a:solidFill>
              </a:rPr>
              <a:t>Global overhead cost reduction </a:t>
            </a:r>
            <a:endParaRPr lang="en-GB" sz="1000">
              <a:solidFill>
                <a:schemeClr val="tx2"/>
              </a:solidFill>
              <a:cs typeface="Arial"/>
            </a:endParaRPr>
          </a:p>
        </p:txBody>
      </p:sp>
      <p:sp>
        <p:nvSpPr>
          <p:cNvPr id="22" name="TextBox 21">
            <a:extLst>
              <a:ext uri="{FF2B5EF4-FFF2-40B4-BE49-F238E27FC236}">
                <a16:creationId xmlns:a16="http://schemas.microsoft.com/office/drawing/2014/main" id="{D36E9354-ABFE-444F-C807-1765292FAFD3}"/>
              </a:ext>
            </a:extLst>
          </p:cNvPr>
          <p:cNvSpPr txBox="1"/>
          <p:nvPr/>
        </p:nvSpPr>
        <p:spPr>
          <a:xfrm>
            <a:off x="5723366" y="2477688"/>
            <a:ext cx="2834640" cy="822960"/>
          </a:xfrm>
          <a:prstGeom prst="rect">
            <a:avLst/>
          </a:prstGeom>
          <a:noFill/>
        </p:spPr>
        <p:txBody>
          <a:bodyPr wrap="square" lIns="91440" tIns="45720" rIns="91440" bIns="45720" rtlCol="0" anchor="ctr" anchorCtr="0">
            <a:noAutofit/>
          </a:bodyPr>
          <a:lstStyle/>
          <a:p>
            <a:pPr marL="171450" indent="-171450">
              <a:spcBef>
                <a:spcPts val="600"/>
              </a:spcBef>
              <a:buFont typeface="Arial" panose="020B0604020202020204" pitchFamily="34" charset="0"/>
              <a:buChar char="•"/>
            </a:pPr>
            <a:r>
              <a:rPr lang="en-GB" sz="1000">
                <a:solidFill>
                  <a:schemeClr val="tx2"/>
                </a:solidFill>
              </a:rPr>
              <a:t>Drive further industrial excellence in Brazil</a:t>
            </a:r>
          </a:p>
          <a:p>
            <a:pPr marL="171450" indent="-171450">
              <a:spcBef>
                <a:spcPts val="600"/>
              </a:spcBef>
              <a:buFont typeface="Arial" panose="020B0604020202020204" pitchFamily="34" charset="0"/>
              <a:buChar char="•"/>
            </a:pPr>
            <a:r>
              <a:rPr lang="en-GB" sz="1000">
                <a:solidFill>
                  <a:schemeClr val="tx2"/>
                </a:solidFill>
              </a:rPr>
              <a:t>Harness the power of data in our operations</a:t>
            </a:r>
            <a:endParaRPr lang="en-GB" sz="1000">
              <a:solidFill>
                <a:schemeClr val="tx2"/>
              </a:solidFill>
              <a:cs typeface="Arial"/>
            </a:endParaRPr>
          </a:p>
        </p:txBody>
      </p:sp>
      <p:sp>
        <p:nvSpPr>
          <p:cNvPr id="24" name="Rectangle 23">
            <a:extLst>
              <a:ext uri="{FF2B5EF4-FFF2-40B4-BE49-F238E27FC236}">
                <a16:creationId xmlns:a16="http://schemas.microsoft.com/office/drawing/2014/main" id="{A9052B5F-BB42-FF4A-1E73-65F5B42E03D5}"/>
              </a:ext>
            </a:extLst>
          </p:cNvPr>
          <p:cNvSpPr/>
          <p:nvPr/>
        </p:nvSpPr>
        <p:spPr>
          <a:xfrm>
            <a:off x="464108" y="3476512"/>
            <a:ext cx="8293608" cy="822960"/>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25CCFEDB-82AA-C75E-4BC5-EF6E475325D7}"/>
              </a:ext>
            </a:extLst>
          </p:cNvPr>
          <p:cNvSpPr/>
          <p:nvPr/>
        </p:nvSpPr>
        <p:spPr>
          <a:xfrm>
            <a:off x="479705" y="3476512"/>
            <a:ext cx="1463040" cy="8229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Financial Management</a:t>
            </a:r>
          </a:p>
        </p:txBody>
      </p:sp>
      <p:sp>
        <p:nvSpPr>
          <p:cNvPr id="26" name="TextBox 25">
            <a:extLst>
              <a:ext uri="{FF2B5EF4-FFF2-40B4-BE49-F238E27FC236}">
                <a16:creationId xmlns:a16="http://schemas.microsoft.com/office/drawing/2014/main" id="{59B92D4F-D193-F52D-3325-739D053BB671}"/>
              </a:ext>
            </a:extLst>
          </p:cNvPr>
          <p:cNvSpPr txBox="1"/>
          <p:nvPr/>
        </p:nvSpPr>
        <p:spPr>
          <a:xfrm>
            <a:off x="2201938" y="3476512"/>
            <a:ext cx="2834640" cy="822960"/>
          </a:xfrm>
          <a:prstGeom prst="rect">
            <a:avLst/>
          </a:prstGeom>
          <a:noFill/>
        </p:spPr>
        <p:txBody>
          <a:bodyPr wrap="square" lIns="91440" tIns="45720" rIns="91440" bIns="45720" rtlCol="0" anchor="ctr" anchorCtr="0">
            <a:noAutofit/>
          </a:bodyPr>
          <a:lstStyle/>
          <a:p>
            <a:pPr marL="171450" indent="-171450">
              <a:spcBef>
                <a:spcPts val="600"/>
              </a:spcBef>
              <a:buFont typeface="Arial" panose="020B0604020202020204" pitchFamily="34" charset="0"/>
              <a:buChar char="•"/>
            </a:pPr>
            <a:r>
              <a:rPr lang="en-GB" sz="1000">
                <a:solidFill>
                  <a:schemeClr val="tx2"/>
                </a:solidFill>
                <a:cs typeface="Arial"/>
              </a:rPr>
              <a:t>Working capital optimization</a:t>
            </a:r>
          </a:p>
          <a:p>
            <a:pPr marL="171450" indent="-171450">
              <a:spcBef>
                <a:spcPts val="600"/>
              </a:spcBef>
              <a:buFont typeface="Arial" panose="020B0604020202020204" pitchFamily="34" charset="0"/>
              <a:buChar char="•"/>
            </a:pPr>
            <a:r>
              <a:rPr lang="en-GB" sz="1000">
                <a:solidFill>
                  <a:schemeClr val="tx2"/>
                </a:solidFill>
              </a:rPr>
              <a:t>Significant deleveraging</a:t>
            </a:r>
            <a:endParaRPr lang="en-GB" sz="1000">
              <a:solidFill>
                <a:schemeClr val="tx2"/>
              </a:solidFill>
              <a:cs typeface="Arial"/>
            </a:endParaRPr>
          </a:p>
          <a:p>
            <a:pPr marL="171450" indent="-171450">
              <a:spcBef>
                <a:spcPts val="600"/>
              </a:spcBef>
              <a:buFont typeface="Arial" panose="020B0604020202020204" pitchFamily="34" charset="0"/>
              <a:buChar char="•"/>
            </a:pPr>
            <a:r>
              <a:rPr lang="en-GB" sz="1000">
                <a:solidFill>
                  <a:schemeClr val="tx2"/>
                </a:solidFill>
              </a:rPr>
              <a:t>Enhanced liquidity facilities (ABL)</a:t>
            </a:r>
            <a:endParaRPr lang="en-GB" sz="1000">
              <a:solidFill>
                <a:schemeClr val="tx2"/>
              </a:solidFill>
              <a:cs typeface="Arial"/>
            </a:endParaRPr>
          </a:p>
        </p:txBody>
      </p:sp>
      <p:sp>
        <p:nvSpPr>
          <p:cNvPr id="28" name="TextBox 27">
            <a:extLst>
              <a:ext uri="{FF2B5EF4-FFF2-40B4-BE49-F238E27FC236}">
                <a16:creationId xmlns:a16="http://schemas.microsoft.com/office/drawing/2014/main" id="{BC9DF018-5FBB-0CBA-BB63-34E0D9197411}"/>
              </a:ext>
            </a:extLst>
          </p:cNvPr>
          <p:cNvSpPr txBox="1"/>
          <p:nvPr/>
        </p:nvSpPr>
        <p:spPr>
          <a:xfrm>
            <a:off x="5723366" y="3476512"/>
            <a:ext cx="2834640" cy="822960"/>
          </a:xfrm>
          <a:prstGeom prst="rect">
            <a:avLst/>
          </a:prstGeom>
          <a:noFill/>
        </p:spPr>
        <p:txBody>
          <a:bodyPr wrap="square" lIns="91440" tIns="45720" rIns="91440" bIns="45720" rtlCol="0" anchor="ctr" anchorCtr="0">
            <a:noAutofit/>
          </a:bodyPr>
          <a:lstStyle/>
          <a:p>
            <a:pPr marL="171450" indent="-171450">
              <a:spcBef>
                <a:spcPts val="600"/>
              </a:spcBef>
              <a:buFont typeface="Arial" panose="020B0604020202020204" pitchFamily="34" charset="0"/>
              <a:buChar char="•"/>
            </a:pPr>
            <a:r>
              <a:rPr lang="en-GB" sz="1000" dirty="0">
                <a:solidFill>
                  <a:schemeClr val="tx2"/>
                </a:solidFill>
                <a:cs typeface="Arial"/>
              </a:rPr>
              <a:t>Continuous cost and cash discipline </a:t>
            </a:r>
            <a:endParaRPr lang="en-GB" sz="1000" dirty="0">
              <a:solidFill>
                <a:schemeClr val="tx2"/>
              </a:solidFill>
            </a:endParaRPr>
          </a:p>
          <a:p>
            <a:pPr marL="171450" indent="-171450">
              <a:spcBef>
                <a:spcPts val="600"/>
              </a:spcBef>
              <a:buFont typeface="Arial" panose="020B0604020202020204" pitchFamily="34" charset="0"/>
              <a:buChar char="•"/>
            </a:pPr>
            <a:r>
              <a:rPr lang="en-GB" sz="1000" dirty="0">
                <a:solidFill>
                  <a:schemeClr val="tx2"/>
                </a:solidFill>
              </a:rPr>
              <a:t>Capital returns to shareholders</a:t>
            </a:r>
            <a:endParaRPr lang="en-GB" sz="1000" dirty="0">
              <a:solidFill>
                <a:schemeClr val="tx2"/>
              </a:solidFill>
              <a:cs typeface="Arial"/>
            </a:endParaRPr>
          </a:p>
        </p:txBody>
      </p:sp>
      <p:sp>
        <p:nvSpPr>
          <p:cNvPr id="36" name="Rectangle 35">
            <a:extLst>
              <a:ext uri="{FF2B5EF4-FFF2-40B4-BE49-F238E27FC236}">
                <a16:creationId xmlns:a16="http://schemas.microsoft.com/office/drawing/2014/main" id="{8FAFAC24-2575-329A-5320-903F434B601B}"/>
              </a:ext>
            </a:extLst>
          </p:cNvPr>
          <p:cNvSpPr/>
          <p:nvPr/>
        </p:nvSpPr>
        <p:spPr>
          <a:xfrm>
            <a:off x="464108" y="1516619"/>
            <a:ext cx="8293608" cy="822960"/>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BA5065E7-41F5-01E3-813C-CD13AA916230}"/>
              </a:ext>
            </a:extLst>
          </p:cNvPr>
          <p:cNvSpPr/>
          <p:nvPr/>
        </p:nvSpPr>
        <p:spPr>
          <a:xfrm>
            <a:off x="479705" y="1516655"/>
            <a:ext cx="1463040" cy="8229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Go-to-Market</a:t>
            </a:r>
          </a:p>
          <a:p>
            <a:pPr algn="ctr"/>
            <a:r>
              <a:rPr lang="en-US" sz="1200" b="1"/>
              <a:t>Strategy</a:t>
            </a:r>
          </a:p>
        </p:txBody>
      </p:sp>
      <p:sp>
        <p:nvSpPr>
          <p:cNvPr id="38" name="TextBox 37">
            <a:extLst>
              <a:ext uri="{FF2B5EF4-FFF2-40B4-BE49-F238E27FC236}">
                <a16:creationId xmlns:a16="http://schemas.microsoft.com/office/drawing/2014/main" id="{7E7F9B50-F429-A042-3460-51CB85C5A62A}"/>
              </a:ext>
            </a:extLst>
          </p:cNvPr>
          <p:cNvSpPr txBox="1"/>
          <p:nvPr/>
        </p:nvSpPr>
        <p:spPr>
          <a:xfrm>
            <a:off x="2201938" y="1516619"/>
            <a:ext cx="2834640" cy="822960"/>
          </a:xfrm>
          <a:prstGeom prst="rect">
            <a:avLst/>
          </a:prstGeom>
          <a:noFill/>
        </p:spPr>
        <p:txBody>
          <a:bodyPr wrap="square" rtlCol="0" anchor="ctr" anchorCtr="0">
            <a:noAutofit/>
          </a:bodyPr>
          <a:lstStyle/>
          <a:p>
            <a:pPr marL="171450" indent="-171450">
              <a:spcBef>
                <a:spcPts val="600"/>
              </a:spcBef>
              <a:buFont typeface="Arial" panose="020B0604020202020204" pitchFamily="34" charset="0"/>
              <a:buChar char="•"/>
            </a:pPr>
            <a:r>
              <a:rPr lang="en-GB" sz="1000">
                <a:solidFill>
                  <a:schemeClr val="tx2"/>
                </a:solidFill>
              </a:rPr>
              <a:t>Enhanced global pricing policies</a:t>
            </a:r>
          </a:p>
          <a:p>
            <a:pPr marL="171450" indent="-171450">
              <a:spcBef>
                <a:spcPts val="600"/>
              </a:spcBef>
              <a:buFont typeface="Arial" panose="020B0604020202020204" pitchFamily="34" charset="0"/>
              <a:buChar char="•"/>
            </a:pPr>
            <a:r>
              <a:rPr lang="en-GB" sz="1000">
                <a:solidFill>
                  <a:schemeClr val="tx2"/>
                </a:solidFill>
              </a:rPr>
              <a:t>Exit of European Industry market</a:t>
            </a:r>
          </a:p>
          <a:p>
            <a:pPr marL="171450" indent="-171450">
              <a:spcBef>
                <a:spcPts val="600"/>
              </a:spcBef>
              <a:buFont typeface="Arial" panose="020B0604020202020204" pitchFamily="34" charset="0"/>
              <a:buChar char="•"/>
            </a:pPr>
            <a:r>
              <a:rPr lang="en-GB" sz="1000">
                <a:solidFill>
                  <a:schemeClr val="tx2"/>
                </a:solidFill>
              </a:rPr>
              <a:t>Exit of China domestic market</a:t>
            </a:r>
            <a:r>
              <a:rPr lang="en-GB" sz="1000" baseline="30000">
                <a:solidFill>
                  <a:schemeClr val="tx2"/>
                </a:solidFill>
              </a:rPr>
              <a:t>1</a:t>
            </a:r>
          </a:p>
        </p:txBody>
      </p:sp>
      <p:sp>
        <p:nvSpPr>
          <p:cNvPr id="40" name="TextBox 39">
            <a:extLst>
              <a:ext uri="{FF2B5EF4-FFF2-40B4-BE49-F238E27FC236}">
                <a16:creationId xmlns:a16="http://schemas.microsoft.com/office/drawing/2014/main" id="{1D60585E-3C25-F16B-0923-FF35B633E7FF}"/>
              </a:ext>
            </a:extLst>
          </p:cNvPr>
          <p:cNvSpPr txBox="1"/>
          <p:nvPr/>
        </p:nvSpPr>
        <p:spPr>
          <a:xfrm>
            <a:off x="5723366" y="1517586"/>
            <a:ext cx="2834640" cy="822960"/>
          </a:xfrm>
          <a:prstGeom prst="rect">
            <a:avLst/>
          </a:prstGeom>
          <a:noFill/>
        </p:spPr>
        <p:txBody>
          <a:bodyPr wrap="square" rtlCol="0" anchor="ctr" anchorCtr="0">
            <a:noAutofit/>
          </a:bodyPr>
          <a:lstStyle/>
          <a:p>
            <a:pPr marL="171450" indent="-171450">
              <a:spcBef>
                <a:spcPts val="600"/>
              </a:spcBef>
              <a:buFont typeface="Arial" panose="020B0604020202020204" pitchFamily="34" charset="0"/>
              <a:buChar char="•"/>
            </a:pPr>
            <a:r>
              <a:rPr lang="en-GB" sz="1000">
                <a:solidFill>
                  <a:schemeClr val="tx2"/>
                </a:solidFill>
              </a:rPr>
              <a:t>Develop premier New Energies franchise</a:t>
            </a:r>
          </a:p>
          <a:p>
            <a:pPr marL="171450" indent="-171450">
              <a:spcBef>
                <a:spcPts val="600"/>
              </a:spcBef>
              <a:buFont typeface="Arial" panose="020B0604020202020204" pitchFamily="34" charset="0"/>
              <a:buChar char="•"/>
            </a:pPr>
            <a:r>
              <a:rPr lang="en-GB" sz="1000">
                <a:solidFill>
                  <a:schemeClr val="tx2"/>
                </a:solidFill>
              </a:rPr>
              <a:t>Grow services and accessories revenues</a:t>
            </a:r>
          </a:p>
        </p:txBody>
      </p:sp>
      <p:sp>
        <p:nvSpPr>
          <p:cNvPr id="43" name="Arrow: Chevron 42">
            <a:extLst>
              <a:ext uri="{FF2B5EF4-FFF2-40B4-BE49-F238E27FC236}">
                <a16:creationId xmlns:a16="http://schemas.microsoft.com/office/drawing/2014/main" id="{25C45FAD-43E3-3666-C1CD-736B303338F9}"/>
              </a:ext>
            </a:extLst>
          </p:cNvPr>
          <p:cNvSpPr/>
          <p:nvPr/>
        </p:nvSpPr>
        <p:spPr>
          <a:xfrm>
            <a:off x="5277524" y="1745219"/>
            <a:ext cx="204896" cy="365760"/>
          </a:xfrm>
          <a:prstGeom prst="chevron">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44" name="Arrow: Chevron 43">
            <a:extLst>
              <a:ext uri="{FF2B5EF4-FFF2-40B4-BE49-F238E27FC236}">
                <a16:creationId xmlns:a16="http://schemas.microsoft.com/office/drawing/2014/main" id="{3AC05C9C-E449-7F28-36F0-7F5DA504B842}"/>
              </a:ext>
            </a:extLst>
          </p:cNvPr>
          <p:cNvSpPr/>
          <p:nvPr/>
        </p:nvSpPr>
        <p:spPr>
          <a:xfrm>
            <a:off x="5277524" y="2706288"/>
            <a:ext cx="204896" cy="365760"/>
          </a:xfrm>
          <a:prstGeom prst="chevron">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
        <p:nvSpPr>
          <p:cNvPr id="45" name="Arrow: Chevron 44">
            <a:extLst>
              <a:ext uri="{FF2B5EF4-FFF2-40B4-BE49-F238E27FC236}">
                <a16:creationId xmlns:a16="http://schemas.microsoft.com/office/drawing/2014/main" id="{4ECDFB44-B418-1E74-F320-1FDCE8A4E996}"/>
              </a:ext>
            </a:extLst>
          </p:cNvPr>
          <p:cNvSpPr/>
          <p:nvPr/>
        </p:nvSpPr>
        <p:spPr>
          <a:xfrm>
            <a:off x="5277524" y="3705112"/>
            <a:ext cx="204896" cy="365760"/>
          </a:xfrm>
          <a:prstGeom prst="chevron">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p>
            <a:pPr algn="ctr">
              <a:lnSpc>
                <a:spcPct val="110000"/>
              </a:lnSpc>
            </a:pPr>
            <a:endParaRPr lang="en-US" sz="1200">
              <a:solidFill>
                <a:schemeClr val="tx2"/>
              </a:solidFill>
            </a:endParaRPr>
          </a:p>
        </p:txBody>
      </p:sp>
    </p:spTree>
    <p:extLst>
      <p:ext uri="{BB962C8B-B14F-4D97-AF65-F5344CB8AC3E}">
        <p14:creationId xmlns:p14="http://schemas.microsoft.com/office/powerpoint/2010/main" val="21957034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186B6BC-AEE4-FB99-9799-02B819009B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8" name="think-cell data - do not delete" hidden="1">
                        <a:extLst>
                          <a:ext uri="{FF2B5EF4-FFF2-40B4-BE49-F238E27FC236}">
                            <a16:creationId xmlns:a16="http://schemas.microsoft.com/office/drawing/2014/main" id="{4186B6BC-AEE4-FB99-9799-02B819009B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5573DA-A46E-C10D-72A7-F4E26890EB26}"/>
              </a:ext>
            </a:extLst>
          </p:cNvPr>
          <p:cNvSpPr>
            <a:spLocks noGrp="1"/>
          </p:cNvSpPr>
          <p:nvPr>
            <p:ph type="title"/>
          </p:nvPr>
        </p:nvSpPr>
        <p:spPr/>
        <p:txBody>
          <a:bodyPr vert="horz"/>
          <a:lstStyle/>
          <a:p>
            <a:r>
              <a:rPr lang="en-US" dirty="0"/>
              <a:t>A Significant Balance Sheet Transformation</a:t>
            </a:r>
          </a:p>
        </p:txBody>
      </p:sp>
      <p:sp>
        <p:nvSpPr>
          <p:cNvPr id="16" name="Text Placeholder 15">
            <a:extLst>
              <a:ext uri="{FF2B5EF4-FFF2-40B4-BE49-F238E27FC236}">
                <a16:creationId xmlns:a16="http://schemas.microsoft.com/office/drawing/2014/main" id="{F1D78355-C177-4E7E-D8FE-B7C9996C596E}"/>
              </a:ext>
            </a:extLst>
          </p:cNvPr>
          <p:cNvSpPr>
            <a:spLocks noGrp="1"/>
          </p:cNvSpPr>
          <p:nvPr>
            <p:ph type="body" sz="quarter" idx="18"/>
          </p:nvPr>
        </p:nvSpPr>
        <p:spPr/>
        <p:txBody>
          <a:bodyPr vert="horz" lIns="45720" tIns="45720" rIns="45720" bIns="45720" rtlCol="0" anchor="t">
            <a:noAutofit/>
          </a:bodyPr>
          <a:lstStyle/>
          <a:p>
            <a:pPr indent="-3810"/>
            <a:r>
              <a:rPr lang="en-US" sz="1200">
                <a:solidFill>
                  <a:schemeClr val="bg2"/>
                </a:solidFill>
                <a:latin typeface="Arial"/>
                <a:cs typeface="Arial"/>
              </a:rPr>
              <a:t>Debt</a:t>
            </a:r>
            <a:endParaRPr lang="en-US">
              <a:solidFill>
                <a:schemeClr val="bg2"/>
              </a:solidFill>
            </a:endParaRPr>
          </a:p>
        </p:txBody>
      </p:sp>
      <p:sp>
        <p:nvSpPr>
          <p:cNvPr id="17" name="Text Placeholder 16">
            <a:extLst>
              <a:ext uri="{FF2B5EF4-FFF2-40B4-BE49-F238E27FC236}">
                <a16:creationId xmlns:a16="http://schemas.microsoft.com/office/drawing/2014/main" id="{F406C93B-F4CC-79F8-3C6D-E0413076BF0E}"/>
              </a:ext>
            </a:extLst>
          </p:cNvPr>
          <p:cNvSpPr>
            <a:spLocks noGrp="1"/>
          </p:cNvSpPr>
          <p:nvPr>
            <p:ph type="body" sz="quarter" idx="19"/>
          </p:nvPr>
        </p:nvSpPr>
        <p:spPr/>
        <p:txBody>
          <a:bodyPr vert="horz" lIns="45720" tIns="45720" rIns="45720" bIns="45720" rtlCol="0">
            <a:noAutofit/>
          </a:bodyPr>
          <a:lstStyle/>
          <a:p>
            <a:r>
              <a:rPr lang="en-US"/>
              <a:t>Net Debt (€ Million)</a:t>
            </a:r>
          </a:p>
        </p:txBody>
      </p:sp>
      <p:sp>
        <p:nvSpPr>
          <p:cNvPr id="19" name="Text Placeholder 18">
            <a:extLst>
              <a:ext uri="{FF2B5EF4-FFF2-40B4-BE49-F238E27FC236}">
                <a16:creationId xmlns:a16="http://schemas.microsoft.com/office/drawing/2014/main" id="{631A3FFB-EDAB-B5C9-F0EA-932E239BD22D}"/>
              </a:ext>
            </a:extLst>
          </p:cNvPr>
          <p:cNvSpPr>
            <a:spLocks noGrp="1"/>
          </p:cNvSpPr>
          <p:nvPr>
            <p:ph type="body" sz="quarter" idx="21"/>
          </p:nvPr>
        </p:nvSpPr>
        <p:spPr/>
        <p:txBody>
          <a:bodyPr/>
          <a:lstStyle/>
          <a:p>
            <a:r>
              <a:rPr lang="en-US"/>
              <a:t>Liquidity</a:t>
            </a:r>
          </a:p>
        </p:txBody>
      </p:sp>
      <p:sp>
        <p:nvSpPr>
          <p:cNvPr id="20" name="Text Placeholder 19">
            <a:extLst>
              <a:ext uri="{FF2B5EF4-FFF2-40B4-BE49-F238E27FC236}">
                <a16:creationId xmlns:a16="http://schemas.microsoft.com/office/drawing/2014/main" id="{FE4B7A49-6CC3-954F-5464-8561A9DA2D3F}"/>
              </a:ext>
            </a:extLst>
          </p:cNvPr>
          <p:cNvSpPr>
            <a:spLocks noGrp="1"/>
          </p:cNvSpPr>
          <p:nvPr>
            <p:ph type="body" sz="quarter" idx="22"/>
          </p:nvPr>
        </p:nvSpPr>
        <p:spPr/>
        <p:txBody>
          <a:bodyPr/>
          <a:lstStyle/>
          <a:p>
            <a:r>
              <a:rPr lang="en-US"/>
              <a:t>€ Million</a:t>
            </a:r>
          </a:p>
        </p:txBody>
      </p:sp>
      <p:sp>
        <p:nvSpPr>
          <p:cNvPr id="28" name="Text Placeholder 2">
            <a:extLst>
              <a:ext uri="{FF2B5EF4-FFF2-40B4-BE49-F238E27FC236}">
                <a16:creationId xmlns:a16="http://schemas.microsoft.com/office/drawing/2014/main" id="{80D7E6AA-3B15-B241-9626-6351CADD8EAE}"/>
              </a:ext>
            </a:extLst>
          </p:cNvPr>
          <p:cNvSpPr txBox="1">
            <a:spLocks/>
          </p:cNvSpPr>
          <p:nvPr/>
        </p:nvSpPr>
        <p:spPr>
          <a:xfrm>
            <a:off x="458154" y="4752996"/>
            <a:ext cx="8281035" cy="186013"/>
          </a:xfrm>
          <a:prstGeom prst="rect">
            <a:avLst/>
          </a:prstGeom>
        </p:spPr>
        <p:txBody>
          <a:bodyPr/>
          <a:lstStyle>
            <a:lvl1pPr marL="6350" indent="-4366" algn="l" defTabSz="571477" rtl="0" eaLnBrk="1" latinLnBrk="0" hangingPunct="1">
              <a:lnSpc>
                <a:spcPct val="110000"/>
              </a:lnSpc>
              <a:spcBef>
                <a:spcPts val="568"/>
              </a:spcBef>
              <a:spcAft>
                <a:spcPct val="0"/>
              </a:spcAft>
              <a:buFontTx/>
              <a:buNone/>
              <a:defRPr sz="1201" b="1" i="0" kern="1200">
                <a:solidFill>
                  <a:schemeClr val="tx2"/>
                </a:solidFill>
                <a:latin typeface="Arial" panose="020B0604020202020204" pitchFamily="34" charset="0"/>
                <a:ea typeface="+mn-ea"/>
                <a:cs typeface="+mn-cs"/>
              </a:defRPr>
            </a:lvl1pPr>
            <a:lvl2pPr marL="457292" indent="-171553" algn="l" defTabSz="571477" rtl="0" eaLnBrk="1" latinLnBrk="0" hangingPunct="1">
              <a:lnSpc>
                <a:spcPct val="110000"/>
              </a:lnSpc>
              <a:spcBef>
                <a:spcPts val="375"/>
              </a:spcBef>
              <a:spcAft>
                <a:spcPct val="0"/>
              </a:spcAft>
              <a:buClr>
                <a:schemeClr val="bg2">
                  <a:lumMod val="100000"/>
                </a:schemeClr>
              </a:buClr>
              <a:buSzPct val="140000"/>
              <a:buFont typeface="Arial" panose="020B0604020202020204" pitchFamily="34" charset="0"/>
              <a:buChar char="•"/>
              <a:defRPr sz="1201" b="0" i="0" kern="1200">
                <a:solidFill>
                  <a:schemeClr val="tx2"/>
                </a:solidFill>
                <a:latin typeface="Arial" panose="020B0604020202020204" pitchFamily="34" charset="0"/>
                <a:ea typeface="+mn-ea"/>
                <a:cs typeface="+mn-cs"/>
              </a:defRPr>
            </a:lvl2pPr>
            <a:lvl3pPr marL="743030" indent="-171553" algn="l" defTabSz="571477" rtl="0" eaLnBrk="1" latinLnBrk="0" hangingPunct="1">
              <a:lnSpc>
                <a:spcPct val="110000"/>
              </a:lnSpc>
              <a:spcBef>
                <a:spcPts val="187"/>
              </a:spcBef>
              <a:spcAft>
                <a:spcPct val="0"/>
              </a:spcAft>
              <a:buClr>
                <a:schemeClr val="accent4"/>
              </a:buClr>
              <a:buSzPct val="140000"/>
              <a:buFont typeface="Arial" panose="020B0604020202020204" pitchFamily="34" charset="0"/>
              <a:buChar char="•"/>
              <a:defRPr sz="1001" b="0" i="0" kern="1200">
                <a:solidFill>
                  <a:schemeClr val="tx2"/>
                </a:solidFill>
                <a:latin typeface="Arial" panose="020B0604020202020204" pitchFamily="34" charset="0"/>
                <a:ea typeface="+mn-ea"/>
                <a:cs typeface="+mn-cs"/>
              </a:defRPr>
            </a:lvl3pPr>
            <a:lvl4pPr marL="1028768" indent="-171553" algn="l" defTabSz="571477" rtl="0" eaLnBrk="1" latinLnBrk="0" hangingPunct="1">
              <a:lnSpc>
                <a:spcPct val="110000"/>
              </a:lnSpc>
              <a:spcBef>
                <a:spcPts val="62"/>
              </a:spcBef>
              <a:spcAft>
                <a:spcPct val="0"/>
              </a:spcAft>
              <a:buClr>
                <a:schemeClr val="tx2"/>
              </a:buClr>
              <a:buSzPct val="140000"/>
              <a:buFont typeface="Arial" panose="020B0604020202020204" pitchFamily="34" charset="0"/>
              <a:buChar char="–"/>
              <a:defRPr sz="1001" b="0" i="0" kern="1200">
                <a:solidFill>
                  <a:schemeClr val="tx2"/>
                </a:solidFill>
                <a:latin typeface="Arial" panose="020B0604020202020204" pitchFamily="34" charset="0"/>
                <a:ea typeface="+mn-ea"/>
                <a:cs typeface="+mn-cs"/>
              </a:defRPr>
            </a:lvl4pPr>
            <a:lvl5pPr marL="1314506" indent="-171553" algn="l" defTabSz="571477" rtl="0" eaLnBrk="1" latinLnBrk="0" hangingPunct="1">
              <a:lnSpc>
                <a:spcPct val="110000"/>
              </a:lnSpc>
              <a:spcBef>
                <a:spcPts val="0"/>
              </a:spcBef>
              <a:spcAft>
                <a:spcPct val="0"/>
              </a:spcAft>
              <a:buClr>
                <a:schemeClr val="accent5"/>
              </a:buClr>
              <a:buSzPct val="140000"/>
              <a:buFont typeface="Arial" panose="020B0604020202020204" pitchFamily="34" charset="0"/>
              <a:buChar char="•"/>
              <a:defRPr sz="1001" b="0" i="0" kern="1200">
                <a:solidFill>
                  <a:schemeClr val="tx2"/>
                </a:solidFill>
                <a:latin typeface="Arial" panose="020B0604020202020204" pitchFamily="34" charset="0"/>
                <a:ea typeface="+mn-ea"/>
                <a:cs typeface="+mn-cs"/>
              </a:defRPr>
            </a:lvl5pPr>
            <a:lvl6pPr marL="1571561" indent="-142870" algn="l" defTabSz="571477" rtl="0" eaLnBrk="1" latinLnBrk="0" hangingPunct="1">
              <a:spcBef>
                <a:spcPct val="20000"/>
              </a:spcBef>
              <a:buFont typeface="Arial" panose="020B0604020202020204" pitchFamily="34" charset="0"/>
              <a:buChar char="•"/>
              <a:defRPr sz="1250" kern="1200">
                <a:solidFill>
                  <a:schemeClr val="tx1"/>
                </a:solidFill>
                <a:latin typeface="+mn-lt"/>
                <a:ea typeface="+mn-ea"/>
                <a:cs typeface="+mn-cs"/>
              </a:defRPr>
            </a:lvl6pPr>
            <a:lvl7pPr marL="1857300" indent="-142870" algn="l" defTabSz="571477" rtl="0" eaLnBrk="1" latinLnBrk="0" hangingPunct="1">
              <a:spcBef>
                <a:spcPct val="20000"/>
              </a:spcBef>
              <a:buFont typeface="Arial" panose="020B0604020202020204" pitchFamily="34" charset="0"/>
              <a:buChar char="•"/>
              <a:defRPr sz="1250" kern="1200">
                <a:solidFill>
                  <a:schemeClr val="tx1"/>
                </a:solidFill>
                <a:latin typeface="+mn-lt"/>
                <a:ea typeface="+mn-ea"/>
                <a:cs typeface="+mn-cs"/>
              </a:defRPr>
            </a:lvl7pPr>
            <a:lvl8pPr marL="2143038" indent="-142870" algn="l" defTabSz="571477" rtl="0" eaLnBrk="1" latinLnBrk="0" hangingPunct="1">
              <a:spcBef>
                <a:spcPct val="20000"/>
              </a:spcBef>
              <a:buFont typeface="Arial" panose="020B0604020202020204" pitchFamily="34" charset="0"/>
              <a:buChar char="•"/>
              <a:defRPr sz="1250" kern="1200">
                <a:solidFill>
                  <a:schemeClr val="tx1"/>
                </a:solidFill>
                <a:latin typeface="+mn-lt"/>
                <a:ea typeface="+mn-ea"/>
                <a:cs typeface="+mn-cs"/>
              </a:defRPr>
            </a:lvl8pPr>
            <a:lvl9pPr marL="2428777" indent="-142870" algn="l" defTabSz="571477" rtl="0" eaLnBrk="1" latinLnBrk="0" hangingPunct="1">
              <a:spcBef>
                <a:spcPct val="20000"/>
              </a:spcBef>
              <a:buFont typeface="Arial" panose="020B0604020202020204" pitchFamily="34" charset="0"/>
              <a:buChar char="•"/>
              <a:defRPr sz="1250" kern="1200">
                <a:solidFill>
                  <a:schemeClr val="tx1"/>
                </a:solidFill>
                <a:latin typeface="+mn-lt"/>
                <a:ea typeface="+mn-ea"/>
                <a:cs typeface="+mn-cs"/>
              </a:defRPr>
            </a:lvl9pPr>
          </a:lstStyle>
          <a:p>
            <a:pPr algn="ctr"/>
            <a:r>
              <a:rPr lang="en-US" sz="600" b="0" i="1"/>
              <a:t>Please see “Definitions of Non-GAAP Financial Data” in the Appendix </a:t>
            </a:r>
          </a:p>
        </p:txBody>
      </p:sp>
      <p:graphicFrame>
        <p:nvGraphicFramePr>
          <p:cNvPr id="14" name="Content Placeholder 24">
            <a:extLst>
              <a:ext uri="{FF2B5EF4-FFF2-40B4-BE49-F238E27FC236}">
                <a16:creationId xmlns:a16="http://schemas.microsoft.com/office/drawing/2014/main" id="{3EA952C5-6B73-75F6-D95E-F2365890A809}"/>
              </a:ext>
            </a:extLst>
          </p:cNvPr>
          <p:cNvGraphicFramePr>
            <a:graphicFrameLocks/>
          </p:cNvGraphicFramePr>
          <p:nvPr/>
        </p:nvGraphicFramePr>
        <p:xfrm>
          <a:off x="404812" y="1554480"/>
          <a:ext cx="3886200" cy="12801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ontent Placeholder 24">
            <a:extLst>
              <a:ext uri="{FF2B5EF4-FFF2-40B4-BE49-F238E27FC236}">
                <a16:creationId xmlns:a16="http://schemas.microsoft.com/office/drawing/2014/main" id="{187EB47B-95B9-883A-8FCC-F2EE63707F8B}"/>
              </a:ext>
            </a:extLst>
          </p:cNvPr>
          <p:cNvGraphicFramePr>
            <a:graphicFrameLocks/>
          </p:cNvGraphicFramePr>
          <p:nvPr/>
        </p:nvGraphicFramePr>
        <p:xfrm>
          <a:off x="404812" y="3185646"/>
          <a:ext cx="3886200" cy="1280160"/>
        </p:xfrm>
        <a:graphic>
          <a:graphicData uri="http://schemas.openxmlformats.org/drawingml/2006/chart">
            <c:chart xmlns:c="http://schemas.openxmlformats.org/drawingml/2006/chart" xmlns:r="http://schemas.openxmlformats.org/officeDocument/2006/relationships" r:id="rId7"/>
          </a:graphicData>
        </a:graphic>
      </p:graphicFrame>
      <p:sp>
        <p:nvSpPr>
          <p:cNvPr id="6" name="Text Placeholder 16">
            <a:extLst>
              <a:ext uri="{FF2B5EF4-FFF2-40B4-BE49-F238E27FC236}">
                <a16:creationId xmlns:a16="http://schemas.microsoft.com/office/drawing/2014/main" id="{4C2752CF-CF33-91AB-D8F8-40776342EC72}"/>
              </a:ext>
            </a:extLst>
          </p:cNvPr>
          <p:cNvSpPr txBox="1">
            <a:spLocks/>
          </p:cNvSpPr>
          <p:nvPr/>
        </p:nvSpPr>
        <p:spPr>
          <a:xfrm>
            <a:off x="458153" y="2926080"/>
            <a:ext cx="3886200" cy="274320"/>
          </a:xfrm>
          <a:prstGeom prst="rect">
            <a:avLst/>
          </a:prstGeom>
        </p:spPr>
        <p:txBody>
          <a:bodyPr vert="horz" lIns="45720" tIns="45720" rIns="45720" bIns="45720" rtlCol="0">
            <a:noAutofit/>
          </a:bodyPr>
          <a:lstStyle>
            <a:lvl1pPr marL="6350" indent="-4366" algn="l" defTabSz="571477" rtl="0" eaLnBrk="1" latinLnBrk="0" hangingPunct="1">
              <a:lnSpc>
                <a:spcPct val="110000"/>
              </a:lnSpc>
              <a:spcBef>
                <a:spcPts val="568"/>
              </a:spcBef>
              <a:spcAft>
                <a:spcPct val="0"/>
              </a:spcAft>
              <a:buFontTx/>
              <a:buNone/>
              <a:defRPr sz="1000" b="0" i="1" kern="1200">
                <a:solidFill>
                  <a:schemeClr val="accent4"/>
                </a:solidFill>
                <a:latin typeface="Arial" panose="020B0604020202020204" pitchFamily="34" charset="0"/>
                <a:ea typeface="+mn-ea"/>
                <a:cs typeface="+mn-cs"/>
              </a:defRPr>
            </a:lvl1pPr>
            <a:lvl2pPr marL="457292" indent="-171553" algn="l" defTabSz="571477" rtl="0" eaLnBrk="1" latinLnBrk="0" hangingPunct="1">
              <a:lnSpc>
                <a:spcPct val="110000"/>
              </a:lnSpc>
              <a:spcBef>
                <a:spcPts val="375"/>
              </a:spcBef>
              <a:spcAft>
                <a:spcPct val="0"/>
              </a:spcAft>
              <a:buClr>
                <a:schemeClr val="bg2">
                  <a:lumMod val="100000"/>
                </a:schemeClr>
              </a:buClr>
              <a:buSzPct val="140000"/>
              <a:buFont typeface="Arial" panose="020B0604020202020204" pitchFamily="34" charset="0"/>
              <a:buChar char="•"/>
              <a:defRPr sz="1201" b="0" i="0" kern="1200">
                <a:solidFill>
                  <a:schemeClr val="tx2"/>
                </a:solidFill>
                <a:latin typeface="Arial" panose="020B0604020202020204" pitchFamily="34" charset="0"/>
                <a:ea typeface="+mn-ea"/>
                <a:cs typeface="+mn-cs"/>
              </a:defRPr>
            </a:lvl2pPr>
            <a:lvl3pPr marL="743030" indent="-171553" algn="l" defTabSz="571477" rtl="0" eaLnBrk="1" latinLnBrk="0" hangingPunct="1">
              <a:lnSpc>
                <a:spcPct val="110000"/>
              </a:lnSpc>
              <a:spcBef>
                <a:spcPts val="187"/>
              </a:spcBef>
              <a:spcAft>
                <a:spcPct val="0"/>
              </a:spcAft>
              <a:buClr>
                <a:schemeClr val="accent4"/>
              </a:buClr>
              <a:buSzPct val="140000"/>
              <a:buFont typeface="Arial" panose="020B0604020202020204" pitchFamily="34" charset="0"/>
              <a:buChar char="•"/>
              <a:defRPr sz="1001" b="0" i="0" kern="1200">
                <a:solidFill>
                  <a:schemeClr val="tx2"/>
                </a:solidFill>
                <a:latin typeface="Arial" panose="020B0604020202020204" pitchFamily="34" charset="0"/>
                <a:ea typeface="+mn-ea"/>
                <a:cs typeface="+mn-cs"/>
              </a:defRPr>
            </a:lvl3pPr>
            <a:lvl4pPr marL="1028768" indent="-171553" algn="l" defTabSz="571477" rtl="0" eaLnBrk="1" latinLnBrk="0" hangingPunct="1">
              <a:lnSpc>
                <a:spcPct val="110000"/>
              </a:lnSpc>
              <a:spcBef>
                <a:spcPts val="62"/>
              </a:spcBef>
              <a:spcAft>
                <a:spcPct val="0"/>
              </a:spcAft>
              <a:buClr>
                <a:schemeClr val="tx2"/>
              </a:buClr>
              <a:buSzPct val="140000"/>
              <a:buFont typeface="Arial" panose="020B0604020202020204" pitchFamily="34" charset="0"/>
              <a:buChar char="–"/>
              <a:defRPr sz="1001" b="0" i="0" kern="1200">
                <a:solidFill>
                  <a:schemeClr val="tx2"/>
                </a:solidFill>
                <a:latin typeface="Arial" panose="020B0604020202020204" pitchFamily="34" charset="0"/>
                <a:ea typeface="+mn-ea"/>
                <a:cs typeface="+mn-cs"/>
              </a:defRPr>
            </a:lvl4pPr>
            <a:lvl5pPr marL="1314506" indent="-171553" algn="l" defTabSz="571477" rtl="0" eaLnBrk="1" latinLnBrk="0" hangingPunct="1">
              <a:lnSpc>
                <a:spcPct val="110000"/>
              </a:lnSpc>
              <a:spcBef>
                <a:spcPts val="0"/>
              </a:spcBef>
              <a:spcAft>
                <a:spcPct val="0"/>
              </a:spcAft>
              <a:buClr>
                <a:schemeClr val="accent5"/>
              </a:buClr>
              <a:buSzPct val="140000"/>
              <a:buFont typeface="Arial" panose="020B0604020202020204" pitchFamily="34" charset="0"/>
              <a:buChar char="•"/>
              <a:defRPr sz="1001" b="0" i="0" kern="1200">
                <a:solidFill>
                  <a:schemeClr val="tx2"/>
                </a:solidFill>
                <a:latin typeface="Arial" panose="020B0604020202020204" pitchFamily="34" charset="0"/>
                <a:ea typeface="+mn-ea"/>
                <a:cs typeface="+mn-cs"/>
              </a:defRPr>
            </a:lvl5pPr>
            <a:lvl6pPr marL="1571561" indent="-142870" algn="l" defTabSz="571477" rtl="0" eaLnBrk="1" latinLnBrk="0" hangingPunct="1">
              <a:spcBef>
                <a:spcPct val="20000"/>
              </a:spcBef>
              <a:buFont typeface="Arial" panose="020B0604020202020204" pitchFamily="34" charset="0"/>
              <a:buChar char="•"/>
              <a:defRPr sz="1250" kern="1200">
                <a:solidFill>
                  <a:schemeClr val="tx1"/>
                </a:solidFill>
                <a:latin typeface="+mn-lt"/>
                <a:ea typeface="+mn-ea"/>
                <a:cs typeface="+mn-cs"/>
              </a:defRPr>
            </a:lvl6pPr>
            <a:lvl7pPr marL="1857300" indent="-142870" algn="l" defTabSz="571477" rtl="0" eaLnBrk="1" latinLnBrk="0" hangingPunct="1">
              <a:spcBef>
                <a:spcPct val="20000"/>
              </a:spcBef>
              <a:buFont typeface="Arial" panose="020B0604020202020204" pitchFamily="34" charset="0"/>
              <a:buChar char="•"/>
              <a:defRPr sz="1250" kern="1200">
                <a:solidFill>
                  <a:schemeClr val="tx1"/>
                </a:solidFill>
                <a:latin typeface="+mn-lt"/>
                <a:ea typeface="+mn-ea"/>
                <a:cs typeface="+mn-cs"/>
              </a:defRPr>
            </a:lvl7pPr>
            <a:lvl8pPr marL="2143038" indent="-142870" algn="l" defTabSz="571477" rtl="0" eaLnBrk="1" latinLnBrk="0" hangingPunct="1">
              <a:spcBef>
                <a:spcPct val="20000"/>
              </a:spcBef>
              <a:buFont typeface="Arial" panose="020B0604020202020204" pitchFamily="34" charset="0"/>
              <a:buChar char="•"/>
              <a:defRPr sz="1250" kern="1200">
                <a:solidFill>
                  <a:schemeClr val="tx1"/>
                </a:solidFill>
                <a:latin typeface="+mn-lt"/>
                <a:ea typeface="+mn-ea"/>
                <a:cs typeface="+mn-cs"/>
              </a:defRPr>
            </a:lvl8pPr>
            <a:lvl9pPr marL="2428777" indent="-142870" algn="l" defTabSz="571477" rtl="0" eaLnBrk="1" latinLnBrk="0" hangingPunct="1">
              <a:spcBef>
                <a:spcPct val="20000"/>
              </a:spcBef>
              <a:buFont typeface="Arial" panose="020B0604020202020204" pitchFamily="34" charset="0"/>
              <a:buChar char="•"/>
              <a:defRPr sz="1250" kern="1200">
                <a:solidFill>
                  <a:schemeClr val="tx1"/>
                </a:solidFill>
                <a:latin typeface="+mn-lt"/>
                <a:ea typeface="+mn-ea"/>
                <a:cs typeface="+mn-cs"/>
              </a:defRPr>
            </a:lvl9pPr>
          </a:lstStyle>
          <a:p>
            <a:r>
              <a:rPr lang="en-US"/>
              <a:t>Gross Debt (€ Million)</a:t>
            </a:r>
          </a:p>
        </p:txBody>
      </p:sp>
      <p:graphicFrame>
        <p:nvGraphicFramePr>
          <p:cNvPr id="3" name="Graphique 14">
            <a:extLst>
              <a:ext uri="{FF2B5EF4-FFF2-40B4-BE49-F238E27FC236}">
                <a16:creationId xmlns:a16="http://schemas.microsoft.com/office/drawing/2014/main" id="{39D2DE8C-4F6F-7A23-E4A7-30A93140FC7D}"/>
              </a:ext>
            </a:extLst>
          </p:cNvPr>
          <p:cNvGraphicFramePr>
            <a:graphicFrameLocks/>
          </p:cNvGraphicFramePr>
          <p:nvPr/>
        </p:nvGraphicFramePr>
        <p:xfrm>
          <a:off x="4799646" y="1554480"/>
          <a:ext cx="3886199" cy="292419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254497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5">
            <a:extLst>
              <a:ext uri="{FF2B5EF4-FFF2-40B4-BE49-F238E27FC236}">
                <a16:creationId xmlns:a16="http://schemas.microsoft.com/office/drawing/2014/main" id="{BB39A06E-A48A-D57B-6B1A-B713B504EF85}"/>
              </a:ext>
            </a:extLst>
          </p:cNvPr>
          <p:cNvSpPr>
            <a:spLocks noGrp="1"/>
          </p:cNvSpPr>
          <p:nvPr>
            <p:ph type="title"/>
          </p:nvPr>
        </p:nvSpPr>
        <p:spPr/>
        <p:txBody>
          <a:bodyPr/>
          <a:lstStyle/>
          <a:p>
            <a:r>
              <a:rPr lang="en-US" dirty="0"/>
              <a:t>Holistic Debt Refinancing Executed in April 2024</a:t>
            </a:r>
          </a:p>
        </p:txBody>
      </p:sp>
      <p:sp>
        <p:nvSpPr>
          <p:cNvPr id="37" name="Text Placeholder 36">
            <a:extLst>
              <a:ext uri="{FF2B5EF4-FFF2-40B4-BE49-F238E27FC236}">
                <a16:creationId xmlns:a16="http://schemas.microsoft.com/office/drawing/2014/main" id="{DC5EFAF2-53C5-6D38-94CD-494A9EEE5F11}"/>
              </a:ext>
            </a:extLst>
          </p:cNvPr>
          <p:cNvSpPr>
            <a:spLocks noGrp="1"/>
          </p:cNvSpPr>
          <p:nvPr>
            <p:ph type="body" sz="quarter" idx="11"/>
          </p:nvPr>
        </p:nvSpPr>
        <p:spPr>
          <a:xfrm>
            <a:off x="458154" y="4276917"/>
            <a:ext cx="8281035" cy="369332"/>
          </a:xfrm>
        </p:spPr>
        <p:txBody>
          <a:bodyPr/>
          <a:lstStyle/>
          <a:p>
            <a:pPr>
              <a:lnSpc>
                <a:spcPct val="100000"/>
              </a:lnSpc>
              <a:spcBef>
                <a:spcPts val="0"/>
              </a:spcBef>
            </a:pPr>
            <a:r>
              <a:rPr lang="en-US" baseline="30000"/>
              <a:t>1 </a:t>
            </a:r>
            <a:r>
              <a:rPr lang="en-US"/>
              <a:t>Includes effect of estimated transaction costs related to note issuance which will be amortized over the life of the debt</a:t>
            </a:r>
            <a:r>
              <a:rPr lang="en-US" dirty="0"/>
              <a:t>, assuming </a:t>
            </a:r>
            <a:r>
              <a:rPr lang="en-US"/>
              <a:t>a Euro</a:t>
            </a:r>
            <a:r>
              <a:rPr lang="en-US" dirty="0"/>
              <a:t>/US dollar FX rate of ~1,07.</a:t>
            </a:r>
            <a:endParaRPr lang="en-US"/>
          </a:p>
          <a:p>
            <a:pPr>
              <a:lnSpc>
                <a:spcPct val="100000"/>
              </a:lnSpc>
              <a:spcBef>
                <a:spcPts val="0"/>
              </a:spcBef>
            </a:pPr>
            <a:r>
              <a:rPr lang="en-US" baseline="30000"/>
              <a:t>2</a:t>
            </a:r>
            <a:r>
              <a:rPr lang="en-US"/>
              <a:t> “Other effects” include the reversal of fair value accounting, accrued interest on 2026 notes and PGE as of March 31st 2024, and estimated </a:t>
            </a:r>
            <a:r>
              <a:rPr lang="en-US" dirty="0"/>
              <a:t>other </a:t>
            </a:r>
            <a:r>
              <a:rPr lang="en-US"/>
              <a:t>transaction costs</a:t>
            </a:r>
            <a:r>
              <a:rPr lang="en-US" dirty="0"/>
              <a:t>.</a:t>
            </a:r>
            <a:r>
              <a:rPr lang="en-US"/>
              <a:t> </a:t>
            </a:r>
          </a:p>
          <a:p>
            <a:pPr>
              <a:lnSpc>
                <a:spcPct val="100000"/>
              </a:lnSpc>
              <a:spcBef>
                <a:spcPts val="0"/>
              </a:spcBef>
            </a:pPr>
            <a:r>
              <a:rPr lang="en-US" baseline="30000"/>
              <a:t>3</a:t>
            </a:r>
            <a:r>
              <a:rPr lang="en-US"/>
              <a:t> Includes accrued interest on 2026 notes and PGE as of March 31st 2024, and estimated transaction costs</a:t>
            </a:r>
            <a:r>
              <a:rPr lang="en-US" dirty="0"/>
              <a:t>. </a:t>
            </a:r>
            <a:endParaRPr lang="en-US"/>
          </a:p>
        </p:txBody>
      </p:sp>
      <p:sp>
        <p:nvSpPr>
          <p:cNvPr id="11" name="Text Placeholder 10">
            <a:extLst>
              <a:ext uri="{FF2B5EF4-FFF2-40B4-BE49-F238E27FC236}">
                <a16:creationId xmlns:a16="http://schemas.microsoft.com/office/drawing/2014/main" id="{DCFD5896-9175-039F-8DFE-D8006C5B0FF4}"/>
              </a:ext>
            </a:extLst>
          </p:cNvPr>
          <p:cNvSpPr>
            <a:spLocks noGrp="1"/>
          </p:cNvSpPr>
          <p:nvPr>
            <p:ph type="body" sz="quarter" idx="18"/>
          </p:nvPr>
        </p:nvSpPr>
        <p:spPr/>
        <p:txBody>
          <a:bodyPr/>
          <a:lstStyle/>
          <a:p>
            <a:r>
              <a:rPr lang="en-US"/>
              <a:t>Gross debt to be reduced by €550m+</a:t>
            </a:r>
            <a:endParaRPr lang="en-US">
              <a:highlight>
                <a:srgbClr val="FFFF00"/>
              </a:highlight>
            </a:endParaRPr>
          </a:p>
        </p:txBody>
      </p:sp>
      <p:sp>
        <p:nvSpPr>
          <p:cNvPr id="12" name="Text Placeholder 11">
            <a:extLst>
              <a:ext uri="{FF2B5EF4-FFF2-40B4-BE49-F238E27FC236}">
                <a16:creationId xmlns:a16="http://schemas.microsoft.com/office/drawing/2014/main" id="{7E5997BE-2EF4-377A-A1D0-CEFD8B01828B}"/>
              </a:ext>
            </a:extLst>
          </p:cNvPr>
          <p:cNvSpPr>
            <a:spLocks noGrp="1"/>
          </p:cNvSpPr>
          <p:nvPr>
            <p:ph type="body" sz="quarter" idx="19"/>
          </p:nvPr>
        </p:nvSpPr>
        <p:spPr/>
        <p:txBody>
          <a:bodyPr/>
          <a:lstStyle/>
          <a:p>
            <a:r>
              <a:rPr lang="en-US"/>
              <a:t>€ Million</a:t>
            </a:r>
          </a:p>
        </p:txBody>
      </p:sp>
      <p:graphicFrame>
        <p:nvGraphicFramePr>
          <p:cNvPr id="17" name="Content Placeholder 20">
            <a:extLst>
              <a:ext uri="{FF2B5EF4-FFF2-40B4-BE49-F238E27FC236}">
                <a16:creationId xmlns:a16="http://schemas.microsoft.com/office/drawing/2014/main" id="{8674919A-AB30-08E6-9596-27DC68ED0043}"/>
              </a:ext>
            </a:extLst>
          </p:cNvPr>
          <p:cNvGraphicFramePr>
            <a:graphicFrameLocks noGrp="1"/>
          </p:cNvGraphicFramePr>
          <p:nvPr>
            <p:ph sz="quarter" idx="20"/>
          </p:nvPr>
        </p:nvGraphicFramePr>
        <p:xfrm>
          <a:off x="458153" y="1557339"/>
          <a:ext cx="3886200" cy="271957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 Placeholder 13">
            <a:extLst>
              <a:ext uri="{FF2B5EF4-FFF2-40B4-BE49-F238E27FC236}">
                <a16:creationId xmlns:a16="http://schemas.microsoft.com/office/drawing/2014/main" id="{9BC07849-AE10-F3F4-93F3-C16A3BCDB3CC}"/>
              </a:ext>
            </a:extLst>
          </p:cNvPr>
          <p:cNvSpPr>
            <a:spLocks noGrp="1"/>
          </p:cNvSpPr>
          <p:nvPr>
            <p:ph type="body" sz="quarter" idx="21"/>
          </p:nvPr>
        </p:nvSpPr>
        <p:spPr/>
        <p:txBody>
          <a:bodyPr/>
          <a:lstStyle/>
          <a:p>
            <a:r>
              <a:rPr lang="en-US"/>
              <a:t>Strong liquidity for all market conditions</a:t>
            </a:r>
          </a:p>
        </p:txBody>
      </p:sp>
      <p:sp>
        <p:nvSpPr>
          <p:cNvPr id="15" name="Text Placeholder 14">
            <a:extLst>
              <a:ext uri="{FF2B5EF4-FFF2-40B4-BE49-F238E27FC236}">
                <a16:creationId xmlns:a16="http://schemas.microsoft.com/office/drawing/2014/main" id="{BBB7A3E5-9F2D-96F2-3C09-880A5B4AC0E6}"/>
              </a:ext>
            </a:extLst>
          </p:cNvPr>
          <p:cNvSpPr>
            <a:spLocks noGrp="1"/>
          </p:cNvSpPr>
          <p:nvPr>
            <p:ph type="body" sz="quarter" idx="22"/>
          </p:nvPr>
        </p:nvSpPr>
        <p:spPr/>
        <p:txBody>
          <a:bodyPr/>
          <a:lstStyle/>
          <a:p>
            <a:r>
              <a:rPr lang="en-US"/>
              <a:t>€ Million</a:t>
            </a:r>
          </a:p>
        </p:txBody>
      </p:sp>
      <p:grpSp>
        <p:nvGrpSpPr>
          <p:cNvPr id="35" name="Group 34">
            <a:extLst>
              <a:ext uri="{FF2B5EF4-FFF2-40B4-BE49-F238E27FC236}">
                <a16:creationId xmlns:a16="http://schemas.microsoft.com/office/drawing/2014/main" id="{C3B01CB7-0EF2-E429-21E8-A8C469C9DD2F}"/>
              </a:ext>
            </a:extLst>
          </p:cNvPr>
          <p:cNvGrpSpPr/>
          <p:nvPr/>
        </p:nvGrpSpPr>
        <p:grpSpPr>
          <a:xfrm>
            <a:off x="554037" y="3664776"/>
            <a:ext cx="3695581" cy="457200"/>
            <a:chOff x="549114" y="3533130"/>
            <a:chExt cx="3695581" cy="548640"/>
          </a:xfrm>
        </p:grpSpPr>
        <p:sp>
          <p:nvSpPr>
            <p:cNvPr id="28" name="TextBox 27">
              <a:extLst>
                <a:ext uri="{FF2B5EF4-FFF2-40B4-BE49-F238E27FC236}">
                  <a16:creationId xmlns:a16="http://schemas.microsoft.com/office/drawing/2014/main" id="{AE3A6E3F-E9ED-0C25-2309-E9A17D7BDC3E}"/>
                </a:ext>
              </a:extLst>
            </p:cNvPr>
            <p:cNvSpPr txBox="1"/>
            <p:nvPr/>
          </p:nvSpPr>
          <p:spPr>
            <a:xfrm>
              <a:off x="1067238" y="3533130"/>
              <a:ext cx="586838" cy="548640"/>
            </a:xfrm>
            <a:prstGeom prst="rect">
              <a:avLst/>
            </a:prstGeom>
            <a:noFill/>
          </p:spPr>
          <p:txBody>
            <a:bodyPr wrap="square" lIns="0" rIns="0" rtlCol="0">
              <a:noAutofit/>
            </a:bodyPr>
            <a:lstStyle/>
            <a:p>
              <a:pPr algn="ctr"/>
              <a:r>
                <a:rPr lang="en-US" sz="900">
                  <a:solidFill>
                    <a:srgbClr val="595959"/>
                  </a:solidFill>
                </a:rPr>
                <a:t>2026 Senior Notes</a:t>
              </a:r>
            </a:p>
          </p:txBody>
        </p:sp>
        <p:sp>
          <p:nvSpPr>
            <p:cNvPr id="29" name="TextBox 28">
              <a:extLst>
                <a:ext uri="{FF2B5EF4-FFF2-40B4-BE49-F238E27FC236}">
                  <a16:creationId xmlns:a16="http://schemas.microsoft.com/office/drawing/2014/main" id="{03093099-3697-811F-B1EA-A7D89736C57B}"/>
                </a:ext>
              </a:extLst>
            </p:cNvPr>
            <p:cNvSpPr txBox="1"/>
            <p:nvPr/>
          </p:nvSpPr>
          <p:spPr>
            <a:xfrm>
              <a:off x="1553460" y="3533130"/>
              <a:ext cx="586838" cy="548640"/>
            </a:xfrm>
            <a:prstGeom prst="rect">
              <a:avLst/>
            </a:prstGeom>
            <a:noFill/>
          </p:spPr>
          <p:txBody>
            <a:bodyPr wrap="square" lIns="0" rIns="0" rtlCol="0">
              <a:noAutofit/>
            </a:bodyPr>
            <a:lstStyle/>
            <a:p>
              <a:pPr algn="ctr"/>
              <a:r>
                <a:rPr lang="en-US" sz="900">
                  <a:solidFill>
                    <a:srgbClr val="595959"/>
                  </a:solidFill>
                </a:rPr>
                <a:t>PGE Repaid in April</a:t>
              </a:r>
            </a:p>
          </p:txBody>
        </p:sp>
        <p:sp>
          <p:nvSpPr>
            <p:cNvPr id="30" name="TextBox 29">
              <a:extLst>
                <a:ext uri="{FF2B5EF4-FFF2-40B4-BE49-F238E27FC236}">
                  <a16:creationId xmlns:a16="http://schemas.microsoft.com/office/drawing/2014/main" id="{3D7646A2-067B-0A36-E6FF-A1F7C311C7CA}"/>
                </a:ext>
              </a:extLst>
            </p:cNvPr>
            <p:cNvSpPr txBox="1"/>
            <p:nvPr/>
          </p:nvSpPr>
          <p:spPr>
            <a:xfrm>
              <a:off x="2103487" y="3533130"/>
              <a:ext cx="586838" cy="548640"/>
            </a:xfrm>
            <a:prstGeom prst="rect">
              <a:avLst/>
            </a:prstGeom>
            <a:noFill/>
          </p:spPr>
          <p:txBody>
            <a:bodyPr wrap="square" lIns="0" rIns="0" rtlCol="0">
              <a:noAutofit/>
            </a:bodyPr>
            <a:lstStyle/>
            <a:p>
              <a:pPr algn="ctr"/>
              <a:r>
                <a:rPr lang="en-US" sz="900">
                  <a:solidFill>
                    <a:srgbClr val="595959"/>
                  </a:solidFill>
                </a:rPr>
                <a:t>PGE to be Repaid by Year-End</a:t>
              </a:r>
            </a:p>
          </p:txBody>
        </p:sp>
        <p:sp>
          <p:nvSpPr>
            <p:cNvPr id="31" name="TextBox 30">
              <a:extLst>
                <a:ext uri="{FF2B5EF4-FFF2-40B4-BE49-F238E27FC236}">
                  <a16:creationId xmlns:a16="http://schemas.microsoft.com/office/drawing/2014/main" id="{5B0ED7B3-CA08-A59F-0357-89140E3AE563}"/>
                </a:ext>
              </a:extLst>
            </p:cNvPr>
            <p:cNvSpPr txBox="1"/>
            <p:nvPr/>
          </p:nvSpPr>
          <p:spPr>
            <a:xfrm>
              <a:off x="2648132" y="3533130"/>
              <a:ext cx="586838" cy="548640"/>
            </a:xfrm>
            <a:prstGeom prst="rect">
              <a:avLst/>
            </a:prstGeom>
            <a:noFill/>
          </p:spPr>
          <p:txBody>
            <a:bodyPr wrap="square" lIns="0" rIns="0" rtlCol="0">
              <a:noAutofit/>
            </a:bodyPr>
            <a:lstStyle/>
            <a:p>
              <a:pPr algn="ctr"/>
              <a:r>
                <a:rPr lang="en-US" sz="900">
                  <a:solidFill>
                    <a:srgbClr val="595959"/>
                  </a:solidFill>
                </a:rPr>
                <a:t>2032 Senior Notes</a:t>
              </a:r>
              <a:r>
                <a:rPr lang="en-US" sz="900" baseline="30000">
                  <a:solidFill>
                    <a:srgbClr val="595959"/>
                  </a:solidFill>
                </a:rPr>
                <a:t>1</a:t>
              </a:r>
            </a:p>
          </p:txBody>
        </p:sp>
        <p:sp>
          <p:nvSpPr>
            <p:cNvPr id="32" name="TextBox 31">
              <a:extLst>
                <a:ext uri="{FF2B5EF4-FFF2-40B4-BE49-F238E27FC236}">
                  <a16:creationId xmlns:a16="http://schemas.microsoft.com/office/drawing/2014/main" id="{5D7B48F2-05D8-D4E2-A21D-1640B44E8646}"/>
                </a:ext>
              </a:extLst>
            </p:cNvPr>
            <p:cNvSpPr txBox="1"/>
            <p:nvPr/>
          </p:nvSpPr>
          <p:spPr>
            <a:xfrm>
              <a:off x="3657857" y="3533130"/>
              <a:ext cx="586838" cy="548640"/>
            </a:xfrm>
            <a:prstGeom prst="rect">
              <a:avLst/>
            </a:prstGeom>
            <a:noFill/>
          </p:spPr>
          <p:txBody>
            <a:bodyPr wrap="square" lIns="0" rIns="0" rtlCol="0">
              <a:noAutofit/>
            </a:bodyPr>
            <a:lstStyle/>
            <a:p>
              <a:pPr algn="ctr"/>
              <a:r>
                <a:rPr lang="en-US" sz="900" b="1">
                  <a:solidFill>
                    <a:srgbClr val="595959"/>
                  </a:solidFill>
                </a:rPr>
                <a:t>Pro Forma</a:t>
              </a:r>
            </a:p>
            <a:p>
              <a:pPr algn="ctr"/>
              <a:r>
                <a:rPr lang="en-US" sz="900" b="1">
                  <a:solidFill>
                    <a:srgbClr val="595959"/>
                  </a:solidFill>
                </a:rPr>
                <a:t>Gross Debt</a:t>
              </a:r>
            </a:p>
          </p:txBody>
        </p:sp>
        <p:sp>
          <p:nvSpPr>
            <p:cNvPr id="33" name="TextBox 32">
              <a:extLst>
                <a:ext uri="{FF2B5EF4-FFF2-40B4-BE49-F238E27FC236}">
                  <a16:creationId xmlns:a16="http://schemas.microsoft.com/office/drawing/2014/main" id="{717D38D8-3EBE-EFF0-B84E-43C854B6166A}"/>
                </a:ext>
              </a:extLst>
            </p:cNvPr>
            <p:cNvSpPr txBox="1"/>
            <p:nvPr/>
          </p:nvSpPr>
          <p:spPr>
            <a:xfrm>
              <a:off x="549114" y="3533130"/>
              <a:ext cx="586838" cy="548640"/>
            </a:xfrm>
            <a:prstGeom prst="rect">
              <a:avLst/>
            </a:prstGeom>
            <a:noFill/>
          </p:spPr>
          <p:txBody>
            <a:bodyPr wrap="square" lIns="0" rIns="0" rtlCol="0">
              <a:noAutofit/>
            </a:bodyPr>
            <a:lstStyle/>
            <a:p>
              <a:pPr algn="ctr"/>
              <a:r>
                <a:rPr lang="en-US" sz="900" b="1">
                  <a:solidFill>
                    <a:srgbClr val="595959"/>
                  </a:solidFill>
                </a:rPr>
                <a:t>Q1 2024</a:t>
              </a:r>
            </a:p>
            <a:p>
              <a:pPr algn="ctr"/>
              <a:r>
                <a:rPr lang="en-US" sz="900" b="1">
                  <a:solidFill>
                    <a:srgbClr val="595959"/>
                  </a:solidFill>
                </a:rPr>
                <a:t>Gross Debt</a:t>
              </a:r>
            </a:p>
          </p:txBody>
        </p:sp>
        <p:sp>
          <p:nvSpPr>
            <p:cNvPr id="34" name="TextBox 33">
              <a:extLst>
                <a:ext uri="{FF2B5EF4-FFF2-40B4-BE49-F238E27FC236}">
                  <a16:creationId xmlns:a16="http://schemas.microsoft.com/office/drawing/2014/main" id="{3D707830-D471-4B57-1B60-D6A6EF6D5941}"/>
                </a:ext>
              </a:extLst>
            </p:cNvPr>
            <p:cNvSpPr txBox="1"/>
            <p:nvPr/>
          </p:nvSpPr>
          <p:spPr>
            <a:xfrm>
              <a:off x="3134354" y="3533130"/>
              <a:ext cx="586838" cy="548640"/>
            </a:xfrm>
            <a:prstGeom prst="rect">
              <a:avLst/>
            </a:prstGeom>
            <a:noFill/>
          </p:spPr>
          <p:txBody>
            <a:bodyPr wrap="square" lIns="0" rIns="0" rtlCol="0">
              <a:noAutofit/>
            </a:bodyPr>
            <a:lstStyle/>
            <a:p>
              <a:pPr algn="ctr"/>
              <a:r>
                <a:rPr lang="en-US" sz="900">
                  <a:solidFill>
                    <a:srgbClr val="595959"/>
                  </a:solidFill>
                </a:rPr>
                <a:t>Other Effects</a:t>
              </a:r>
              <a:r>
                <a:rPr lang="en-US" sz="900" baseline="30000">
                  <a:solidFill>
                    <a:srgbClr val="595959"/>
                  </a:solidFill>
                </a:rPr>
                <a:t>2</a:t>
              </a:r>
            </a:p>
          </p:txBody>
        </p:sp>
      </p:grpSp>
      <p:graphicFrame>
        <p:nvGraphicFramePr>
          <p:cNvPr id="39" name="Content Placeholder 38">
            <a:extLst>
              <a:ext uri="{FF2B5EF4-FFF2-40B4-BE49-F238E27FC236}">
                <a16:creationId xmlns:a16="http://schemas.microsoft.com/office/drawing/2014/main" id="{CC9C1B72-DBAD-41C8-A278-B4B2E1315EE7}"/>
              </a:ext>
            </a:extLst>
          </p:cNvPr>
          <p:cNvGraphicFramePr>
            <a:graphicFrameLocks noGrp="1"/>
          </p:cNvGraphicFramePr>
          <p:nvPr>
            <p:ph sz="quarter" idx="23"/>
          </p:nvPr>
        </p:nvGraphicFramePr>
        <p:xfrm>
          <a:off x="4852988" y="1557339"/>
          <a:ext cx="3886200" cy="2719578"/>
        </p:xfrm>
        <a:graphic>
          <a:graphicData uri="http://schemas.openxmlformats.org/drawingml/2006/chart">
            <c:chart xmlns:c="http://schemas.openxmlformats.org/drawingml/2006/chart" xmlns:r="http://schemas.openxmlformats.org/officeDocument/2006/relationships" r:id="rId3"/>
          </a:graphicData>
        </a:graphic>
      </p:graphicFrame>
      <p:grpSp>
        <p:nvGrpSpPr>
          <p:cNvPr id="40" name="Group 39">
            <a:extLst>
              <a:ext uri="{FF2B5EF4-FFF2-40B4-BE49-F238E27FC236}">
                <a16:creationId xmlns:a16="http://schemas.microsoft.com/office/drawing/2014/main" id="{10B8FF84-3F0A-6459-305C-42B7A216536C}"/>
              </a:ext>
            </a:extLst>
          </p:cNvPr>
          <p:cNvGrpSpPr/>
          <p:nvPr/>
        </p:nvGrpSpPr>
        <p:grpSpPr>
          <a:xfrm>
            <a:off x="4990266" y="3619056"/>
            <a:ext cx="3599697" cy="548640"/>
            <a:chOff x="549114" y="3533130"/>
            <a:chExt cx="3599697" cy="548640"/>
          </a:xfrm>
        </p:grpSpPr>
        <p:sp>
          <p:nvSpPr>
            <p:cNvPr id="41" name="TextBox 40">
              <a:extLst>
                <a:ext uri="{FF2B5EF4-FFF2-40B4-BE49-F238E27FC236}">
                  <a16:creationId xmlns:a16="http://schemas.microsoft.com/office/drawing/2014/main" id="{3CF7298D-F05F-6455-9D49-65BAF64C8127}"/>
                </a:ext>
              </a:extLst>
            </p:cNvPr>
            <p:cNvSpPr txBox="1"/>
            <p:nvPr/>
          </p:nvSpPr>
          <p:spPr>
            <a:xfrm>
              <a:off x="1094855" y="3533130"/>
              <a:ext cx="700500" cy="548640"/>
            </a:xfrm>
            <a:prstGeom prst="rect">
              <a:avLst/>
            </a:prstGeom>
            <a:noFill/>
          </p:spPr>
          <p:txBody>
            <a:bodyPr wrap="square" lIns="0" rIns="0" rtlCol="0">
              <a:noAutofit/>
            </a:bodyPr>
            <a:lstStyle/>
            <a:p>
              <a:pPr algn="ctr"/>
              <a:r>
                <a:rPr lang="en-US" sz="900">
                  <a:solidFill>
                    <a:srgbClr val="595959"/>
                  </a:solidFill>
                </a:rPr>
                <a:t>Cash </a:t>
              </a:r>
            </a:p>
            <a:p>
              <a:pPr algn="ctr"/>
              <a:r>
                <a:rPr lang="en-US" sz="900">
                  <a:solidFill>
                    <a:srgbClr val="595959"/>
                  </a:solidFill>
                </a:rPr>
                <a:t>Used in Refinancing</a:t>
              </a:r>
              <a:r>
                <a:rPr lang="en-US" sz="900" baseline="30000">
                  <a:solidFill>
                    <a:srgbClr val="595959"/>
                  </a:solidFill>
                </a:rPr>
                <a:t>3</a:t>
              </a:r>
            </a:p>
          </p:txBody>
        </p:sp>
        <p:sp>
          <p:nvSpPr>
            <p:cNvPr id="42" name="TextBox 41">
              <a:extLst>
                <a:ext uri="{FF2B5EF4-FFF2-40B4-BE49-F238E27FC236}">
                  <a16:creationId xmlns:a16="http://schemas.microsoft.com/office/drawing/2014/main" id="{E0E93B01-CA45-A3DA-0717-66DAC66A0604}"/>
                </a:ext>
              </a:extLst>
            </p:cNvPr>
            <p:cNvSpPr txBox="1"/>
            <p:nvPr/>
          </p:nvSpPr>
          <p:spPr>
            <a:xfrm>
              <a:off x="1754258" y="3533130"/>
              <a:ext cx="586838" cy="548640"/>
            </a:xfrm>
            <a:prstGeom prst="rect">
              <a:avLst/>
            </a:prstGeom>
            <a:noFill/>
          </p:spPr>
          <p:txBody>
            <a:bodyPr wrap="square" lIns="0" rIns="0" rtlCol="0">
              <a:noAutofit/>
            </a:bodyPr>
            <a:lstStyle/>
            <a:p>
              <a:pPr algn="ctr"/>
              <a:r>
                <a:rPr lang="en-US" sz="900">
                  <a:solidFill>
                    <a:srgbClr val="595959"/>
                  </a:solidFill>
                </a:rPr>
                <a:t>PGE to be Repaid by Year-End</a:t>
              </a:r>
            </a:p>
          </p:txBody>
        </p:sp>
        <p:sp>
          <p:nvSpPr>
            <p:cNvPr id="43" name="TextBox 42">
              <a:extLst>
                <a:ext uri="{FF2B5EF4-FFF2-40B4-BE49-F238E27FC236}">
                  <a16:creationId xmlns:a16="http://schemas.microsoft.com/office/drawing/2014/main" id="{8259BEEB-788C-A940-336A-81FB5D6448A1}"/>
                </a:ext>
              </a:extLst>
            </p:cNvPr>
            <p:cNvSpPr txBox="1"/>
            <p:nvPr/>
          </p:nvSpPr>
          <p:spPr>
            <a:xfrm>
              <a:off x="2356830" y="3533130"/>
              <a:ext cx="586838" cy="548640"/>
            </a:xfrm>
            <a:prstGeom prst="rect">
              <a:avLst/>
            </a:prstGeom>
            <a:noFill/>
          </p:spPr>
          <p:txBody>
            <a:bodyPr wrap="square" lIns="0" rIns="0" rtlCol="0">
              <a:noAutofit/>
            </a:bodyPr>
            <a:lstStyle/>
            <a:p>
              <a:pPr algn="ctr"/>
              <a:r>
                <a:rPr lang="en-US" sz="900">
                  <a:solidFill>
                    <a:srgbClr val="595959"/>
                  </a:solidFill>
                </a:rPr>
                <a:t>Increased RCF</a:t>
              </a:r>
            </a:p>
          </p:txBody>
        </p:sp>
        <p:sp>
          <p:nvSpPr>
            <p:cNvPr id="44" name="TextBox 43">
              <a:extLst>
                <a:ext uri="{FF2B5EF4-FFF2-40B4-BE49-F238E27FC236}">
                  <a16:creationId xmlns:a16="http://schemas.microsoft.com/office/drawing/2014/main" id="{7EC3FECE-99B9-ADC3-570C-CE9A2FCAACD3}"/>
                </a:ext>
              </a:extLst>
            </p:cNvPr>
            <p:cNvSpPr txBox="1"/>
            <p:nvPr/>
          </p:nvSpPr>
          <p:spPr>
            <a:xfrm>
              <a:off x="2959402" y="3533130"/>
              <a:ext cx="586838" cy="548640"/>
            </a:xfrm>
            <a:prstGeom prst="rect">
              <a:avLst/>
            </a:prstGeom>
            <a:noFill/>
          </p:spPr>
          <p:txBody>
            <a:bodyPr wrap="square" lIns="0" rIns="0" rtlCol="0">
              <a:noAutofit/>
            </a:bodyPr>
            <a:lstStyle/>
            <a:p>
              <a:pPr algn="ctr"/>
              <a:r>
                <a:rPr lang="en-US" sz="900">
                  <a:solidFill>
                    <a:srgbClr val="595959"/>
                  </a:solidFill>
                </a:rPr>
                <a:t>Increased ABL</a:t>
              </a:r>
            </a:p>
          </p:txBody>
        </p:sp>
        <p:sp>
          <p:nvSpPr>
            <p:cNvPr id="45" name="TextBox 44">
              <a:extLst>
                <a:ext uri="{FF2B5EF4-FFF2-40B4-BE49-F238E27FC236}">
                  <a16:creationId xmlns:a16="http://schemas.microsoft.com/office/drawing/2014/main" id="{7AD89DC2-AC14-AF9E-BF44-A7F41A3C9BE3}"/>
                </a:ext>
              </a:extLst>
            </p:cNvPr>
            <p:cNvSpPr txBox="1"/>
            <p:nvPr/>
          </p:nvSpPr>
          <p:spPr>
            <a:xfrm>
              <a:off x="3561973" y="3533130"/>
              <a:ext cx="586838" cy="548640"/>
            </a:xfrm>
            <a:prstGeom prst="rect">
              <a:avLst/>
            </a:prstGeom>
            <a:noFill/>
          </p:spPr>
          <p:txBody>
            <a:bodyPr wrap="square" lIns="0" rIns="0" rtlCol="0">
              <a:noAutofit/>
            </a:bodyPr>
            <a:lstStyle/>
            <a:p>
              <a:pPr algn="ctr"/>
              <a:r>
                <a:rPr lang="en-US" sz="900" b="1">
                  <a:solidFill>
                    <a:srgbClr val="595959"/>
                  </a:solidFill>
                </a:rPr>
                <a:t>Pro Forma</a:t>
              </a:r>
            </a:p>
            <a:p>
              <a:pPr algn="ctr"/>
              <a:r>
                <a:rPr lang="en-US" sz="900" b="1">
                  <a:solidFill>
                    <a:srgbClr val="595959"/>
                  </a:solidFill>
                </a:rPr>
                <a:t>Liquidity</a:t>
              </a:r>
            </a:p>
          </p:txBody>
        </p:sp>
        <p:sp>
          <p:nvSpPr>
            <p:cNvPr id="46" name="TextBox 45">
              <a:extLst>
                <a:ext uri="{FF2B5EF4-FFF2-40B4-BE49-F238E27FC236}">
                  <a16:creationId xmlns:a16="http://schemas.microsoft.com/office/drawing/2014/main" id="{6973CB12-6A7B-B28A-8ACB-2DB9D5291BCD}"/>
                </a:ext>
              </a:extLst>
            </p:cNvPr>
            <p:cNvSpPr txBox="1"/>
            <p:nvPr/>
          </p:nvSpPr>
          <p:spPr>
            <a:xfrm>
              <a:off x="549114" y="3533130"/>
              <a:ext cx="586838" cy="548640"/>
            </a:xfrm>
            <a:prstGeom prst="rect">
              <a:avLst/>
            </a:prstGeom>
            <a:noFill/>
          </p:spPr>
          <p:txBody>
            <a:bodyPr wrap="square" lIns="0" rIns="0" rtlCol="0">
              <a:noAutofit/>
            </a:bodyPr>
            <a:lstStyle/>
            <a:p>
              <a:pPr algn="ctr"/>
              <a:r>
                <a:rPr lang="en-US" sz="900" b="1">
                  <a:solidFill>
                    <a:srgbClr val="595959"/>
                  </a:solidFill>
                </a:rPr>
                <a:t>Q1 2024</a:t>
              </a:r>
            </a:p>
            <a:p>
              <a:pPr algn="ctr"/>
              <a:r>
                <a:rPr lang="en-US" sz="900" b="1">
                  <a:solidFill>
                    <a:srgbClr val="595959"/>
                  </a:solidFill>
                </a:rPr>
                <a:t>Liquidity</a:t>
              </a:r>
            </a:p>
          </p:txBody>
        </p:sp>
      </p:grpSp>
    </p:spTree>
    <p:extLst>
      <p:ext uri="{BB962C8B-B14F-4D97-AF65-F5344CB8AC3E}">
        <p14:creationId xmlns:p14="http://schemas.microsoft.com/office/powerpoint/2010/main" val="17670082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MPLATEVERSIONHASH" val="g0AdsyYh0JIB+AzzrU+kfVesQJdG+FG7fi6Tv2sgnUg="/>
  <p:tag name="TEMPLATEVERSIONDATE" val="09/29/2022 21:08:28"/>
  <p:tag name="TEMPLATENAME" val="PitchPRO+"/>
  <p:tag name="PITCHPROPLUSDOCUMENTPROPERTIESGUID" val="d3c0ec07-d850-48a8-8c75-795874c42ae9"/>
  <p:tag name="SLIDEMASTERBRANDLOGORIGHT" val="144.72"/>
  <p:tag name="SLIDEMASTERBRANDLOGOBOTTOM" val="635.76"/>
  <p:tag name="SLIDEMASTERBRANDLOGOHEIGHT" val="12.96"/>
  <p:tag name="SLIDEMASTERBRANDLOGOWIDTH" val="90"/>
  <p:tag name="CUSTOMIZATIONWIZARD" val="3bf3be9c-ce56-4f86-8ee9-8d454c06762b"/>
  <p:tag name="PITCHPROCUSTOMIZATIONPROPERTIES" val="&lt;?xml version=&quot;1.0&quot; encoding=&quot;utf-16&quot;?&gt;&#10;&lt;CustomizationProperties xmlns:xsi=&quot;http://www.w3.org/2001/XMLSchema-instance&quot; xmlns:xsd=&quot;http://www.w3.org/2001/XMLSchema&quot;&gt;&#10;  &lt;Version&gt;1.0.0&lt;/Version&gt;&#10;  &lt;ObjectTitleCustomization&gt;&#10;    &lt;ObjectTitleNoLine&gt;&#10;      &lt;Type&gt;ObjectTitleNoLine&lt;/Type&gt;&#10;      &lt;Style&gt;RectangleRound&lt;/Style&gt;&#10;      &lt;ObjectShape name=&quot;ObjectTitleNoLine_RectangleRound&quot;&gt;&#10;        &lt;Formats&gt;&#10;          &lt;Format xsi:type=&quot;FontFormat&quot; name=&quot;Arial&quot; size=&quot;10&quot; themeColor=&quot;ColorBackground1&quot; brightnessSpecified=&quot;false&quot; themeColorSpecified=&quot;true&quot; colorSpecified=&quot;false&quot; isBold=&quot;true&quot; isItalic=&quot;false&quot; allCapsSpecified=&quot;false&quot; nameSpecified=&quot;true&quot; spacingSpecified=&quot;false&quot; kerningSpecified=&quot;false&quot; /&gt;&#10;          &lt;Format xsi:type=&quot;FillFormat&quot; themeColor=&quot;ColorLight2&quot; themeColorSpecified=&quot;true&quot; colorSpecified=&quot;false&quot; fillTypeSpecified=&quot;true&quot; fillType=&quot;Solid&quot; transparencySpecified=&quot;false&quot; /&gt;&#10;          &lt;Format xsi:type=&quot;TextBoxFormat&quot; autoSize=&quot;None&quot; characterSpacingSpecified=&quot;false&quot; isWordWrap=&quot;true&quot; isDefault=&quot;false&quot; isWordWrapSpecified=&quot;true&quot; indentationBeforeText=&quot;0&quot; lineSpacing=&quot;1&quot; lineSpacingRule=&quot;Single&quot; lineSpacingSpecified=&quot;true&quot; marginBottom=&quot;0.03&quot; marginLeft=&quot;0.08&quot; marginRight=&quot;0.05&quot; marginTop=&quot;0.05&quot; paragraphAlignment=&quot;AlignLeft&quot; spaceAfterText=&quot;0&quot; spaceAfterTextSpecified=&quot;true&quot; spaceBeforeText=&quot;0&quot; spaceBeforeTextSpecified=&quot;true&quot; text=&quot;&quot; textDirection=&quot;Horizontal&quot; verticalAlignment=&quot;Bottom&quot; horizontalAlignmentSpecified=&quot;false&quot; /&gt;&#10;          &lt;Format xsi:type=&quot;LineFormat&quot; hide=&quot;true&quot; width=&quot;0&quot; themeColorSpecified=&quot;false&quot; color=&quot;16777215&quot; colorSpecified=&quot;true&quot; isDefault=&quot;false&quot; /&gt;&#10;        &lt;/Formats&gt;&#10;      &lt;/ObjectShape&gt;&#10;    &lt;/ObjectTitleNoLine&gt;&#10;    &lt;ObjectTitleWithLine&gt;&#10;      &lt;Type&gt;ObjectTitleWithLine&lt;/Type&gt;&#10;      &lt;Style&gt;RectangleWithNoFill&lt;/Style&gt;&#10;      &lt;ObjectShape name=&quot;ObjectTitleWithLine_RectangleWithNoFill&quot;&gt;&#10;        &lt;Formats&gt;&#10;          &lt;Format xsi:type=&quot;FontFormat&quot; name=&quot;Arial&quot; size=&quot;10&quot; themeColor=&quot;ColorLight2&quot; brightnessSpecified=&quot;false&quot; themeColorSpecified=&quot;true&quot; colorSpecified=&quot;false&quot; isBold=&quot;true&quot; isItalic=&quot;false&quot; allCapsSpecified=&quot;false&quot; nameSpecified=&quot;true&quot; spacingSpecified=&quot;false&quot; kerningSpecified=&quot;false&quot; /&gt;&#10;          &lt;Format xsi:type=&quot;FillFormat&quot; themeColorSpecified=&quot;false&quot; colorSpecified=&quot;false&quot; fillTypeSpecified=&quot;true&quot; fillType=&quot;None&quot; transparencySpecified=&quot;false&quot; /&gt;&#10;          &lt;Format xsi:type=&quot;TextBoxFormat&quot; autoSize=&quot;None&quot; characterSpacingSpecified=&quot;false&quot; isWordWrap=&quot;true&quot; isDefault=&quot;false&quot; isWordWrapSpecified=&quot;true&quot; indentationBeforeText=&quot;0&quot; lineSpacing=&quot;1&quot; lineSpacingRule=&quot;Single&quot; lineSpacingSpecified=&quot;true&quot; marginBottom=&quot;0.03&quot; marginLeft=&quot;0.08&quot; marginRight=&quot;0.05&quot; marginTop=&quot;0.05&quot; paragraphAlignment=&quot;AlignLeft&quot; spaceAfterText=&quot;0&quot; spaceAfterTextSpecified=&quot;true&quot; spaceBeforeText=&quot;0&quot; spaceBeforeTextSpecified=&quot;true&quot; text=&quot;&quot; textDirection=&quot;Horizontal&quot; verticalAlignment=&quot;Bottom&quot; horizontalAlignmentSpecified=&quot;false&quot; /&gt;&#10;          &lt;Format xsi:type=&quot;LineFormat&quot; hide=&quot;true&quot; width=&quot;0&quot; themeColorSpecified=&quot;false&quot; color=&quot;16777215&quot; colorSpecified=&quot;true&quot; isDefault=&quot;false&quot; /&gt;&#10;          &lt;Format xsi:type=&quot;GradientFormat&quot; gradientStyle=&quot;GradientHorizontal&quot; gradientAngle=&quot;0.9&quot; gradientVariant=&quot;1&quot; rotateWithObject=&quot;true&quot;&gt;&#10;            &lt;GradientStops&gt;&#10;              &lt;Format xsi:type=&quot;GradientStopFormat&quot; color=&quot;0&quot; position=&quot;0&quot; transparency=&quot;1&quot; brightness=&quot;0&quot; themeColorSpecified=&quot;true&quot; themeColor=&quot;ColorLight2&quot; /&gt;&#10;              &lt;Format xsi:type=&quot;GradientStopFormat&quot; color=&quot;0&quot; position=&quot;0.96&quot; transparency=&quot;1&quot; brightness=&quot;0&quot; themeColorSpecified=&quot;true&quot; themeColor=&quot;ColorLight2&quot; /&gt;&#10;              &lt;Format xsi:type=&quot;GradientStopFormat&quot; color=&quot;0&quot; position=&quot;0.97&quot; transparency=&quot;0&quot; brightness=&quot;0&quot; themeColorSpecified=&quot;true&quot; themeColor=&quot;ColorLight2&quot; /&gt;&#10;              &lt;Format xsi:type=&quot;GradientStopFormat&quot; color=&quot;0&quot; position=&quot;1&quot; transparency=&quot;0&quot; brightness=&quot;0&quot; themeColorSpecified=&quot;true&quot; themeColor=&quot;ColorLight2&quot; /&gt;&#10;            &lt;/GradientStops&gt;&#10;          &lt;/Format&gt;&#10;        &lt;/Formats&gt;&#10;      &lt;/ObjectShape&gt;&#10;    &lt;/ObjectTitleWithLine&gt;&#10;  &lt;/ObjectTitleCustomization&gt;&#10;  &lt;BulletCustomization&gt;&#10;    &lt;BulletStyleType&gt;Circle&lt;/BulletStyleType&gt;&#10;  &lt;/BulletCustomization&gt;&#10;  &lt;FontCustomization&gt;&#10;    &lt;FontName&gt;Arial&lt;/FontName&gt;&#10;  &lt;/FontCustomization&gt;&#10;&lt;/CustomizationProperties&gt;"/>
  <p:tag name="SIZEANDPOSITION" val="fd56cf37-7a38-497c-bf26-aac5ac351b3e"/>
  <p:tag name="UNDOENTRY" val="9fa8f32b-f3a6-4cc6-a6f1-b4a35a8e633d"/>
  <p:tag name="REFRESHOPTIONS" val="&lt;?xml version=&quot;1.0&quot; encoding=&quot;utf-16&quot;?&gt;&#10;&lt;PowerpointRefreshOptions xmlns:xsi=&quot;http://www.w3.org/2001/XMLSchema-instance&quot; xmlns:xsd=&quot;http://www.w3.org/2001/XMLSchema&quot;&gt;&#10;  &lt;CoverPageAllElements&gt;true&lt;/CoverPageAllElements&gt;&#10;  &lt;CoverPageBrandLogo&gt;true&lt;/CoverPageBrandLogo&gt;&#10;  &lt;CoverPageClientLogo&gt;true&lt;/CoverPageClientLogo&gt;&#10;  &lt;CoverPageDate&gt;true&lt;/CoverPageDate&gt;&#10;  &lt;CoverPageJointPitchLogo&gt;true&lt;/CoverPageJointPitchLogo&gt;&#10;  &lt;CoverPageVerticalTextRunner&gt;true&lt;/CoverPageVerticalTextRunner&gt;&#10;  &lt;ShowCoverPage&gt;true&lt;/ShowCoverPage&gt;&#10;  &lt;ShowDisclaimer&gt;true&lt;/ShowDisclaimer&gt;&#10;  &lt;TemplateLayoutAllElements&gt;true&lt;/TemplateLayoutAllElements&gt;&#10;  &lt;ForceRefresh&gt;false&lt;/ForceRefresh&gt;&#10;  &lt;CoverPageSubTitle&gt;true&lt;/CoverPageSubTitle&gt;&#10;  &lt;CoverPageTitle&gt;true&lt;/CoverPageTitle&gt;&#10;  &lt;ShowAgenda&gt;true&lt;/ShowAgenda&gt;&#10;  &lt;TemplatePageLabel&gt;true&lt;/TemplatePageLabel&gt;&#10;  &lt;TemplateVerticalRunner&gt;true&lt;/TemplateVerticalRunner&gt;&#10;&lt;/PowerpointRefreshOptions&gt;"/>
  <p:tag name="PITCHPROPROPERTIES" val="WXMfvE09DOs/mOl3u2AQ27QcgezyWkN+AkNAGXAeBoJKuBgxGBLGhI25m9bRHcM9RQscs7I4QY855HmZ9wiaScAkUiOahXjpa1GKbzxmDEgaRBFj1zbbNiHbJmtUv1DL609CXp4T5pMYpHCyOsiSfF8m1Ewd7e9Ul0r6wpaN5snm+kgLZOP8JKF1hv7kQD68zePpF4CHYvR4U9v1KCnkRXPe9cGBqoHIVzS4uiFBaX6FZuSb3bbgBcbiqr1rYEWwYF8jf8azIl5HPE/gAmNADkEljo1X/k0tHOSo3cRUt5y7ELLuubMobIvHRWXfymwJHSKP2795UlXiF04xtOvglG+JVAyzHw51eDyYadLvZRmxbcTRyg+tzofSEDUlmZcpAcL4kw507X7LqBdfoSXA97zYfGUKeExX3aty7JX12DgpJi0W85I/GoH19vNXG81VxMM6XxtCSEBZI0ES6e7w8fgkfLXXtAxAFbVgAWVRD0bzb4LE2c5ZQzgZYpEO266CBd9uIthzUYR3UqSJBhO1XakVUIYgrCm2Gn3kjHk2M3b6k61IHynUoR+3K3/repgLn7LqvkydDnN65xPj6Of7gYpua8gaJFwdPiE3oP3nZLiVKOEHGac4sDPZ5FY+QXCevXrFzeJjmD3PZY9VSv6LUT59dalLYXV6DBCl60yNWDKsEUTd/JLjoiXZCo4vlJIIG2R9f/DUmMYeKhG831ESiT3HtVhOmzixRNOwaX3g4xsJ9OP8OBmiTwsdn/JduZaKpiPdzAdGU0RdQlOObh3Fk63qAh3USw66slTUvLQwxRFWzkACXk5rZT/oh0DeUtGf2GbtIUuwxxHtoqu5WtdE9KsFPjEqheNnJr3Fe4Yleb8z4C5wDySE/YhXOzmkCv7Ggb3Aqec7OL9LU/Udponu0qf5ES9Vq1zqFR6lrch+a9QC0S6QR0QX1zmTLtBnKOJFm5DAZCXc+FT3ochMb5v0ABXpJPCqhAyGpt99QvFnOsZgwnDG71lFRh9b+eC8FUpmLihZLbB9kN0kg3/ym3CmCzIhFLX8QZbXJ3VHwjbdRGET5en5OJkiqB0C9S5ueatRfu+RIuq2TUgKV409zBz69KQBCnXFObEOrVLB08KkoQGucnXwZ0cLkGGcyYWI4acnk9hO5aYMr5FjtB9rlZXdwYhr4V40gtHHYYI2NlHDlkSYTVM51qNA+hE5J8FsfQW51YVJPq+aL4oR5GUGoC/3ODUc58DwApOdSLEt3D+6igrLOkaPBl91eIrOQhB3LBF9DUrkJ2lKmGz29LQa/DnELE7zAF5EvcNnYj2zddkoLM5MqCN4RYbpvbfI41kWpgKeZZpou13UL93EFVXnoIIuM/oKaxPtfs4Ud8gtCP6iLduY4+9AtJHzB7xe5+gPLnEd/5F0PoZsMNg6fojwF2eAi+hw0BjoHK6Z4MWpIVurB8Ky9f4RW09UMUIfPv39hYldSUwhvQXom6vkOoFp6bMBJHnDBfsvCdz2kHxcCpVnQ5Vk5Kpg/iJf0H8giiaCuCNiygMv1grv7sdeZrgACoPYZZKR9M3tIPmI5AGMIGMHHFjZEU4DXhx8bFX+Ol1MkARRil2Y5aU2stynahJjnJmcEmDiVy584VXLHP5uDWa+yKd7ooFchZhB9PZPFZmCQkofpxt2LnKNWUehyC52PzT2roHXtxLJ/uXZowcK3RYsFgLkm53r1BUMATQEW8sB5t6PAnxJkcRAAJqZQjwGsk04AaT2Pj/DWdVmB3Uha8Zxrrj1bnq2ix1/MBeIcXeKZ/s57q9+ltzygMelqD1lyl3u+j+U8SuuOcXsKbaNCDrjDGMG/4vzrjDSd5YXpqsLamcTPTD0jZZI7nxvcfiiSNBDluFHX7t8Yu0Hbc3LhtE1wIye7BOHi6tP76dwUoxWuF58qWqvbQ38/TM1UsRMfxlsmb+k61Jx7WoC0xkN7RrglTpiMYRe3ayV1zHIYmEKfMcCnfPH7i5tfYg4mQeVO/3SKxj3HmUz6CMaH1abKyQRPe1KmH+nyFeeoiBpB4o4IAvxBnfkdBZkQU+oblpz+ecespaKKrNGdyakqRO/NNvzlPTbWmPgtyTucRZ1mcUGOatbhYVzywZPw3K3irSPpFVb58YicGS+WbCZ1Oj9cHnhcmKhG2rGuLxrHhz++b/WCvsXMA8Xubs3948pJAAGGdenmGf0gSSspuKKhYxjvl5PDIMi4tTFoPCAJlta5Qx/2twmc+IIZ8wTq6AZ61CdRMAOXEXC1x7E26pkfBVAzKuuOGH5mExArivtwbb8aMwwxk5EOzFSzU29or6gjr6sZSl8rJPffp4nS559ZfcXKDivmC5b95sjVVzFzO1M6NtTgDU6eWxkJcMDRSf3GQYUyYXwY8mA4PxWr5J2aPFwZyoqUJVb3C6s1O8Tfvwkn+zp9z/Xwti/zaU9EZ56x7OvBPai3ZZI1wE1lTy7l7KrWh2fUBLOIYqBxitAIh0XStVM31I5b7laRFbfLgZR8Cf4DYovPBpWnvbrFuXSozMHz/NgL/7IaXGI7p1MJE4CR1ViXiVEPrt+8BrwvhuG+xAYQF2ktiIpfjysksjNLYB3j5SPDdwjFfyLBjJQhRQrfoBbGX3/bAzOYquy9FpljWZlirFPqjiOPC9IcxlJlBcX3f4jthY8UX17GBuFT45Ec0Q2vPJ3v0GOt0kbdbr7ydUEKkk89H95f9c8yS6+qsBEwAKuHGtKsJIbdiditViy4nMRQuw0B4c7WfPEAKe6ll9hsmyN0/mcr8PAOEwuX+1eCfrSzQpk6mg/2Nb8QjPmumrN2QEHapzCqZc03WPhr8t0I6IISHxgWbvNRQvctapI6CiMY7dsULLegSSVCDwNLfc4hv3iytQGdxp0RxyMUfsHrQ4cXA0lsZmea9XPyIhTOUynVHY1iWhPsbM5WadQkR6PoCUoB9Ne8Ewq71nX4mcFgcYkHdgHuG47abS+n9KOsQF+Pln4M6bW5LEmCneZ8jjo/aWVshmdMvxy3OgXx5dIJ2ySKKzzdoAbQ2dSqqGQPpI2SVdJb8zXTu1LF3sNRkNr/sn0gICvqfAXZdwk5x4lR/31+yIg8OKDrqusw9K2pcH22Sn5YKCF4eWh7D2Oc19+gxpW51N2219QGCvisOsGa7uCG7XEWNOf00jaPLvEy1M7JnjB/vDt/ZaWOgA+JN5LECG0szS4kVa5p2/CNaOvUb3ILOHZDDa8oYJBgFlUeh5RdBgnItubUhawlAU4HG5+/DSJsgH9ZX1xgb802sCeDkbyOSOzgJjHCFlFHN+P7jCV/4ziTrt9arcsrItvmReF83XR"/>
  <p:tag name="PITCHPROSLIDECOUNT" val="11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FONTSIZE" val="11"/>
</p:tagLst>
</file>

<file path=ppt/tags/tag11.xml><?xml version="1.0" encoding="utf-8"?>
<p:tagLst xmlns:a="http://schemas.openxmlformats.org/drawingml/2006/main" xmlns:r="http://schemas.openxmlformats.org/officeDocument/2006/relationships" xmlns:p="http://schemas.openxmlformats.org/presentationml/2006/main">
  <p:tag name="SHAPEFONTSIZE" val="11"/>
</p:tagLst>
</file>

<file path=ppt/tags/tag12.xml><?xml version="1.0" encoding="utf-8"?>
<p:tagLst xmlns:a="http://schemas.openxmlformats.org/drawingml/2006/main" xmlns:r="http://schemas.openxmlformats.org/officeDocument/2006/relationships" xmlns:p="http://schemas.openxmlformats.org/presentationml/2006/main">
  <p:tag name="OBJECTTITLETYPE" val="ObjectTitle"/>
</p:tagLst>
</file>

<file path=ppt/tags/tag13.xml><?xml version="1.0" encoding="utf-8"?>
<p:tagLst xmlns:a="http://schemas.openxmlformats.org/drawingml/2006/main" xmlns:r="http://schemas.openxmlformats.org/officeDocument/2006/relationships" xmlns:p="http://schemas.openxmlformats.org/presentationml/2006/main">
  <p:tag name="SHAPEFONTSIZE" val="11"/>
</p:tagLst>
</file>

<file path=ppt/tags/tag14.xml><?xml version="1.0" encoding="utf-8"?>
<p:tagLst xmlns:a="http://schemas.openxmlformats.org/drawingml/2006/main" xmlns:r="http://schemas.openxmlformats.org/officeDocument/2006/relationships" xmlns:p="http://schemas.openxmlformats.org/presentationml/2006/main">
  <p:tag name="OBJECTTITLETYPE" val="ObjectTitle"/>
</p:tagLst>
</file>

<file path=ppt/tags/tag15.xml><?xml version="1.0" encoding="utf-8"?>
<p:tagLst xmlns:a="http://schemas.openxmlformats.org/drawingml/2006/main" xmlns:r="http://schemas.openxmlformats.org/officeDocument/2006/relationships" xmlns:p="http://schemas.openxmlformats.org/presentationml/2006/main">
  <p:tag name="SHAPEFONTSIZE" val="11"/>
</p:tagLst>
</file>

<file path=ppt/tags/tag16.xml><?xml version="1.0" encoding="utf-8"?>
<p:tagLst xmlns:a="http://schemas.openxmlformats.org/drawingml/2006/main" xmlns:r="http://schemas.openxmlformats.org/officeDocument/2006/relationships" xmlns:p="http://schemas.openxmlformats.org/presentationml/2006/main">
  <p:tag name="OBJECTTITLETYPE" val="ObjectTitle"/>
</p:tagLst>
</file>

<file path=ppt/tags/tag17.xml><?xml version="1.0" encoding="utf-8"?>
<p:tagLst xmlns:a="http://schemas.openxmlformats.org/drawingml/2006/main" xmlns:r="http://schemas.openxmlformats.org/officeDocument/2006/relationships" xmlns:p="http://schemas.openxmlformats.org/presentationml/2006/main">
  <p:tag name="SHAPEFONTSIZE" val="11"/>
</p:tagLst>
</file>

<file path=ppt/tags/tag18.xml><?xml version="1.0" encoding="utf-8"?>
<p:tagLst xmlns:a="http://schemas.openxmlformats.org/drawingml/2006/main" xmlns:r="http://schemas.openxmlformats.org/officeDocument/2006/relationships" xmlns:p="http://schemas.openxmlformats.org/presentationml/2006/main">
  <p:tag name="OBJECTTITLETYPE" val="ObjectTitle"/>
</p:tagLst>
</file>

<file path=ppt/tags/tag19.xml><?xml version="1.0" encoding="utf-8"?>
<p:tagLst xmlns:a="http://schemas.openxmlformats.org/drawingml/2006/main" xmlns:r="http://schemas.openxmlformats.org/officeDocument/2006/relationships" xmlns:p="http://schemas.openxmlformats.org/presentationml/2006/main">
  <p:tag name="SHAPEFONTSIZE" val="1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OBJECTTITLETYPE" val="ObjectTitle"/>
</p:tagLst>
</file>

<file path=ppt/tags/tag21.xml><?xml version="1.0" encoding="utf-8"?>
<p:tagLst xmlns:a="http://schemas.openxmlformats.org/drawingml/2006/main" xmlns:r="http://schemas.openxmlformats.org/officeDocument/2006/relationships" xmlns:p="http://schemas.openxmlformats.org/presentationml/2006/main">
  <p:tag name="SHAPEFONTSIZE" val="11"/>
</p:tagLst>
</file>

<file path=ppt/tags/tag22.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91"/>
  <p:tag name="PRESENTATIONID" val="d3c0ec07-d850-48a8-8c75-795874c42ae9"/>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79"/>
  <p:tag name="PRESENTATIONID" val="d3c0ec07-d850-48a8-8c75-795874c42ae9"/>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DISTRIBUTIONTYPE" val="External"/>
  <p:tag name="PITCHPROSLIDEID" val="267"/>
  <p:tag name="PRESENTATIONID" val="d3c0ec07-d850-48a8-8c75-795874c42ae9"/>
</p:tagLst>
</file>

<file path=ppt/tags/tag27.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10"/>
  <p:tag name="PRESENTATIONID" val="d3c0ec07-d850-48a8-8c75-795874c42ae9"/>
</p:tagLst>
</file>

<file path=ppt/tags/tag28.xml><?xml version="1.0" encoding="utf-8"?>
<p:tagLst xmlns:a="http://schemas.openxmlformats.org/drawingml/2006/main" xmlns:r="http://schemas.openxmlformats.org/officeDocument/2006/relationships" xmlns:p="http://schemas.openxmlformats.org/presentationml/2006/main">
  <p:tag name="TYPE" val="Standard Numeric Table"/>
  <p:tag name="OBJECTSOURCESHAPEID" val="7"/>
  <p:tag name="THISSHAPESIZEANDPOSITIONDETAILS" val="top=165.6&amp;left=37.44&amp;height=317.3846&amp;width=717.1198"/>
  <p:tag name="AFSPANMODE" val="span"/>
</p:tagLst>
</file>

<file path=ppt/tags/tag29.xml><?xml version="1.0" encoding="utf-8"?>
<p:tagLst xmlns:a="http://schemas.openxmlformats.org/drawingml/2006/main" xmlns:r="http://schemas.openxmlformats.org/officeDocument/2006/relationships" xmlns:p="http://schemas.openxmlformats.org/presentationml/2006/main">
  <p:tag name="DISTRIBUTIONTYPE" val="External"/>
  <p:tag name="PITCHPROSLIDEID" val="429"/>
  <p:tag name="PRESENTATIONID" val="d3c0ec07-d850-48a8-8c75-795874c42ae9"/>
</p:tagLst>
</file>

<file path=ppt/tags/tag3.xml><?xml version="1.0" encoding="utf-8"?>
<p:tagLst xmlns:a="http://schemas.openxmlformats.org/drawingml/2006/main" xmlns:r="http://schemas.openxmlformats.org/officeDocument/2006/relationships" xmlns:p="http://schemas.openxmlformats.org/presentationml/2006/main">
  <p:tag name="SHAPETYPE" val="Confidential"/>
</p:tagLst>
</file>

<file path=ppt/tags/tag30.xml><?xml version="1.0" encoding="utf-8"?>
<p:tagLst xmlns:a="http://schemas.openxmlformats.org/drawingml/2006/main" xmlns:r="http://schemas.openxmlformats.org/officeDocument/2006/relationships" xmlns:p="http://schemas.openxmlformats.org/presentationml/2006/main">
  <p:tag name="DISTRIBUTIONTYPE" val="External"/>
  <p:tag name="PITCHPROSLIDEID" val="343"/>
  <p:tag name="PRESENTATIONID" val="d3c0ec07-d850-48a8-8c75-795874c42ae9"/>
</p:tagLst>
</file>

<file path=ppt/tags/tag4.xml><?xml version="1.0" encoding="utf-8"?>
<p:tagLst xmlns:a="http://schemas.openxmlformats.org/drawingml/2006/main" xmlns:r="http://schemas.openxmlformats.org/officeDocument/2006/relationships" xmlns:p="http://schemas.openxmlformats.org/presentationml/2006/main">
  <p:tag name="MASTERSHAPETYPE" val="ClientName"/>
</p:tagLst>
</file>

<file path=ppt/tags/tag5.xml><?xml version="1.0" encoding="utf-8"?>
<p:tagLst xmlns:a="http://schemas.openxmlformats.org/drawingml/2006/main" xmlns:r="http://schemas.openxmlformats.org/officeDocument/2006/relationships" xmlns:p="http://schemas.openxmlformats.org/presentationml/2006/main">
  <p:tag name="APIADDED" val="True"/>
  <p:tag name="DISTRIBUTIONTYPE" val="External"/>
  <p:tag name="PITCHPROSLIDEID" val="285"/>
  <p:tag name="PRESENTATIONID" val="d3c0ec07-d850-48a8-8c75-795874c42ae9"/>
</p:tagLst>
</file>

<file path=ppt/tags/tag6.xml><?xml version="1.0" encoding="utf-8"?>
<p:tagLst xmlns:a="http://schemas.openxmlformats.org/drawingml/2006/main" xmlns:r="http://schemas.openxmlformats.org/officeDocument/2006/relationships" xmlns:p="http://schemas.openxmlformats.org/presentationml/2006/main">
  <p:tag name="DISTRIBUTIONTYPE" val="External"/>
  <p:tag name="PITCHPROSLIDEID" val="291"/>
  <p:tag name="PRESENTATIONID" val="d3c0ec07-d850-48a8-8c75-795874c42ae9"/>
</p:tagLst>
</file>

<file path=ppt/tags/tag7.xml><?xml version="1.0" encoding="utf-8"?>
<p:tagLst xmlns:a="http://schemas.openxmlformats.org/drawingml/2006/main" xmlns:r="http://schemas.openxmlformats.org/officeDocument/2006/relationships" xmlns:p="http://schemas.openxmlformats.org/presentationml/2006/main">
  <p:tag name="DISTRIBUTIONTYPE" val="External"/>
  <p:tag name="PITCHPROSLIDEID" val="433"/>
  <p:tag name="PRESENTATIONID" val="d3c0ec07-d850-48a8-8c75-795874c42ae9"/>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DISTRIBUTIONTYPE" val="External"/>
  <p:tag name="APIDELETED" val="True"/>
  <p:tag name="PITCHPROSLIDEID" val="435"/>
  <p:tag name="PRESENTATIONID" val="d3c0ec07-d850-48a8-8c75-795874c42ae9"/>
</p:tagLst>
</file>

<file path=ppt/theme/theme1.xml><?xml version="1.0" encoding="utf-8"?>
<a:theme xmlns:a="http://schemas.openxmlformats.org/drawingml/2006/main" name="Vallourec IR Format">
  <a:themeElements>
    <a:clrScheme name="CMD Theme">
      <a:dk1>
        <a:srgbClr val="000000"/>
      </a:dk1>
      <a:lt1>
        <a:srgbClr val="FFFFFF"/>
      </a:lt1>
      <a:dk2>
        <a:srgbClr val="32383E"/>
      </a:dk2>
      <a:lt2>
        <a:srgbClr val="27338B"/>
      </a:lt2>
      <a:accent1>
        <a:srgbClr val="27338B"/>
      </a:accent1>
      <a:accent2>
        <a:srgbClr val="0077C1"/>
      </a:accent2>
      <a:accent3>
        <a:srgbClr val="25ABE6"/>
      </a:accent3>
      <a:accent4>
        <a:srgbClr val="7F7F7F"/>
      </a:accent4>
      <a:accent5>
        <a:srgbClr val="A0CFE0"/>
      </a:accent5>
      <a:accent6>
        <a:srgbClr val="8EEE99"/>
      </a:accent6>
      <a:hlink>
        <a:srgbClr val="F2F2F2"/>
      </a:hlink>
      <a:folHlink>
        <a:srgbClr val="DEFAE1"/>
      </a:folHlink>
    </a:clrScheme>
    <a:fontScheme name="Pitchbook-US">
      <a:majorFont>
        <a:latin typeface="Arial"/>
        <a:ea typeface="LF_Kai"/>
        <a:cs typeface=""/>
      </a:majorFont>
      <a:minorFont>
        <a:latin typeface="Arial"/>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2"/>
          </a:solidFill>
        </a:ln>
        <a:extLst>
          <a:ext uri="{909E8E84-426E-40DD-AFC4-6F175D3DCCD1}">
            <a14:hiddenFill xmlns:a14="http://schemas.microsoft.com/office/drawing/2010/main">
              <a:solidFill>
                <a:scrgbClr r="0" g="0" b="0"/>
              </a:solidFill>
            </a14:hiddenFill>
          </a:ext>
        </a:extLst>
      </a:spPr>
      <a:bodyPr rot="0" spcFirstLastPara="0" vertOverflow="overflow" horzOverflow="overflow" vert="horz" wrap="square" lIns="91440" tIns="45720" rIns="91440" bIns="45720" numCol="1" spcCol="0" rtlCol="0" fromWordArt="0" anchor="ctr" anchorCtr="0" forceAA="0" compatLnSpc="0">
        <a:prstTxWarp prst="textNoShape">
          <a:avLst/>
        </a:prstTxWarp>
        <a:noAutofit/>
      </a:bodyPr>
      <a:lstStyle>
        <a:defPPr>
          <a:lnSpc>
            <a:spcPct val="110000"/>
          </a:lnSpc>
          <a:defRPr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wrap="none" lIns="45720" rIns="45720" rtlCol="0" anchor="ctr" anchorCtr="0">
        <a:spAutoFit/>
      </a:bodyPr>
      <a:lstStyle>
        <a:defPPr algn="ctr">
          <a:defRPr sz="1000" dirty="0" smtClean="0"/>
        </a:defPPr>
      </a:lstStyle>
    </a:txDef>
  </a:objectDefaults>
  <a:extraClrSchemeLst>
    <a:extraClrScheme>
      <a:clrScheme name="PitchPRO+">
        <a:dk1>
          <a:srgbClr val="000000"/>
        </a:dk1>
        <a:lt1>
          <a:srgbClr val="FFFFFF"/>
        </a:lt1>
        <a:dk2>
          <a:srgbClr val="32383E"/>
        </a:dk2>
        <a:lt2>
          <a:srgbClr val="936946"/>
        </a:lt2>
        <a:accent1>
          <a:srgbClr val="1E7C99"/>
        </a:accent1>
        <a:accent2>
          <a:srgbClr val="DF6F26"/>
        </a:accent2>
        <a:accent3>
          <a:srgbClr val="041E42"/>
        </a:accent3>
        <a:accent4>
          <a:srgbClr val="9B57A3"/>
        </a:accent4>
        <a:accent5>
          <a:srgbClr val="B75530"/>
        </a:accent5>
        <a:accent6>
          <a:srgbClr val="358159"/>
        </a:accent6>
        <a:hlink>
          <a:srgbClr val="1E7C99"/>
        </a:hlink>
        <a:folHlink>
          <a:srgbClr val="005075"/>
        </a:folHlink>
      </a:clrScheme>
    </a:extraClrScheme>
  </a:extraClrSchemeLst>
  <a:custClrLst>
    <a:custClr name="Brown 400. RGB(175,132,98)">
      <a:srgbClr val="AF8462"/>
    </a:custClr>
    <a:custClr name="Ruby 700. RGB(165,0,52)">
      <a:srgbClr val="A50034"/>
    </a:custClr>
    <a:custClr name="Dark Topaz. RGB(9,97,131)">
      <a:srgbClr val="096183"/>
    </a:custClr>
    <a:custClr name="Clementine. RGB(255,158,66)">
      <a:srgbClr val="FF9E42"/>
    </a:custClr>
    <a:custClr name="Navy. RGB(0,70,146)">
      <a:srgbClr val="004692"/>
    </a:custClr>
    <a:custClr name="Dark Quartz. RGB(131,49,119)">
      <a:srgbClr val="833177"/>
    </a:custClr>
    <a:custClr name="Brown. RGB(215,186,157)">
      <a:srgbClr val="D7BA9D"/>
    </a:custClr>
    <a:custClr name="Dark Emerald. RGB(0,75,38)">
      <a:srgbClr val="004B26"/>
    </a:custClr>
    <a:custClr name="Cyan. RGB(60,203,218)">
      <a:srgbClr val="3CCBDA"/>
    </a:custClr>
    <a:custClr name="Rose. RGB(244,153,141)">
      <a:srgbClr val="F4998D"/>
    </a:custClr>
    <a:custClr name="Jet. RGB(16,24,32)">
      <a:srgbClr val="101820"/>
    </a:custClr>
    <a:custClr name="Topaz 200. RGB(157,229,236)">
      <a:srgbClr val="9DE5EC"/>
    </a:custClr>
    <a:custClr name="Brown 300. RGB(215,186,157)">
      <a:srgbClr val="D7BA9D"/>
    </a:custClr>
    <a:custClr name="Clementine 200. RGB(255,187,122)">
      <a:srgbClr val="FFBB7A"/>
    </a:custClr>
    <a:custClr name="Clay 200. RGB(231,179,160)">
      <a:srgbClr val="E7B3A0"/>
    </a:custClr>
    <a:custClr name="Ruby 300. RGB(237,175,195)">
      <a:srgbClr val="EDAFC3"/>
    </a:custClr>
    <a:custClr name="Blue 300. RGB(134,197,250)">
      <a:srgbClr val="86C5FA"/>
    </a:custClr>
    <a:custClr name="Quartz 300. RGB(213,181,231)">
      <a:srgbClr val="D5B5E7"/>
    </a:custClr>
    <a:custClr name="Emerald 300. RGB(126,205,186)">
      <a:srgbClr val="7ECDBA"/>
    </a:custClr>
    <a:custClr name="Map Grey. RGB(221,220,219)">
      <a:srgbClr val="DDDCDB"/>
    </a:custClr>
    <a:custClr name="Ruby 700. RGB(165,0,52)">
      <a:srgbClr val="A50034"/>
    </a:custClr>
    <a:custClr name="Gold 300. RGB(241,180,52)">
      <a:srgbClr val="F1B434"/>
    </a:custClr>
    <a:custClr name="Emerald 500. RGB(53,129,89)">
      <a:srgbClr val="358159"/>
    </a:custClr>
    <a:custClr name="Marble. RGB(245,247,248)">
      <a:srgbClr val="F5F7F8"/>
    </a:custClr>
    <a:custClr name="Limestone. RGB(250,248,242)">
      <a:srgbClr val="FAF8F2"/>
    </a:custClr>
    <a:custClr name="Titanium. RGB(226,228,229)">
      <a:srgbClr val="E2E4E5"/>
    </a:custClr>
    <a:custClr name="Charcoal. RGB(71,76,80)">
      <a:srgbClr val="474C50"/>
    </a:custClr>
    <a:custClr name="Topaz 400. RGB(43,154,179)">
      <a:srgbClr val="2B9AB3"/>
    </a:custClr>
    <a:custClr name="Topaz 700. RGB(0,80,117)">
      <a:srgbClr val="005075"/>
    </a:custClr>
    <a:custClr name="Tan USWM. RGB(205,167,136)">
      <a:srgbClr val="CDA788"/>
    </a:custClr>
  </a:custClrLst>
  <a:extLst>
    <a:ext uri="{05A4C25C-085E-4340-85A3-A5531E510DB2}">
      <thm15:themeFamily xmlns:thm15="http://schemas.microsoft.com/office/thememl/2012/main" name="9d7a4145-cee7-4497-afcc-d234922d0a04.potx" id="{27CC72ED-EAEC-423A-A87C-BC708DF86197}" vid="{310E5122-47D2-471A-8155-F02638820A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Vallourec IR Theme">
    <a:dk1>
      <a:srgbClr val="000000"/>
    </a:dk1>
    <a:lt1>
      <a:srgbClr val="FFFFFF"/>
    </a:lt1>
    <a:dk2>
      <a:srgbClr val="32383E"/>
    </a:dk2>
    <a:lt2>
      <a:srgbClr val="27338B"/>
    </a:lt2>
    <a:accent1>
      <a:srgbClr val="27338B"/>
    </a:accent1>
    <a:accent2>
      <a:srgbClr val="0077C1"/>
    </a:accent2>
    <a:accent3>
      <a:srgbClr val="25ABE6"/>
    </a:accent3>
    <a:accent4>
      <a:srgbClr val="7F7F7F"/>
    </a:accent4>
    <a:accent5>
      <a:srgbClr val="A0CFE0"/>
    </a:accent5>
    <a:accent6>
      <a:srgbClr val="7A8794"/>
    </a:accent6>
    <a:hlink>
      <a:srgbClr val="F2F2F2"/>
    </a:hlink>
    <a:folHlink>
      <a:srgbClr val="DEFAE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Vallourec IR Theme">
    <a:dk1>
      <a:srgbClr val="000000"/>
    </a:dk1>
    <a:lt1>
      <a:srgbClr val="FFFFFF"/>
    </a:lt1>
    <a:dk2>
      <a:srgbClr val="32383E"/>
    </a:dk2>
    <a:lt2>
      <a:srgbClr val="27338B"/>
    </a:lt2>
    <a:accent1>
      <a:srgbClr val="27338B"/>
    </a:accent1>
    <a:accent2>
      <a:srgbClr val="0077C1"/>
    </a:accent2>
    <a:accent3>
      <a:srgbClr val="25ABE6"/>
    </a:accent3>
    <a:accent4>
      <a:srgbClr val="7F7F7F"/>
    </a:accent4>
    <a:accent5>
      <a:srgbClr val="A0CFE0"/>
    </a:accent5>
    <a:accent6>
      <a:srgbClr val="7A8794"/>
    </a:accent6>
    <a:hlink>
      <a:srgbClr val="F2F2F2"/>
    </a:hlink>
    <a:folHlink>
      <a:srgbClr val="DEFAE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Custom 344">
    <a:dk1>
      <a:srgbClr val="000000"/>
    </a:dk1>
    <a:lt1>
      <a:srgbClr val="FFFFFF"/>
    </a:lt1>
    <a:dk2>
      <a:srgbClr val="32383E"/>
    </a:dk2>
    <a:lt2>
      <a:srgbClr val="27338B"/>
    </a:lt2>
    <a:accent1>
      <a:srgbClr val="27338B"/>
    </a:accent1>
    <a:accent2>
      <a:srgbClr val="0077C1"/>
    </a:accent2>
    <a:accent3>
      <a:srgbClr val="25ABE6"/>
    </a:accent3>
    <a:accent4>
      <a:srgbClr val="7F7F7F"/>
    </a:accent4>
    <a:accent5>
      <a:srgbClr val="A0CFE0"/>
    </a:accent5>
    <a:accent6>
      <a:srgbClr val="8EEE99"/>
    </a:accent6>
    <a:hlink>
      <a:srgbClr val="F2F2F2"/>
    </a:hlink>
    <a:folHlink>
      <a:srgbClr val="DEFAE1"/>
    </a:folHlink>
  </a:clrScheme>
  <a:fontScheme name="Pitchbook-US">
    <a:majorFont>
      <a:latin typeface="Arial"/>
      <a:ea typeface="LF_Kai"/>
      <a:cs typeface=""/>
    </a:majorFont>
    <a:minorFont>
      <a:latin typeface="Arial"/>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Vallourec IR Theme">
    <a:dk1>
      <a:srgbClr val="000000"/>
    </a:dk1>
    <a:lt1>
      <a:srgbClr val="FFFFFF"/>
    </a:lt1>
    <a:dk2>
      <a:srgbClr val="32383E"/>
    </a:dk2>
    <a:lt2>
      <a:srgbClr val="27338B"/>
    </a:lt2>
    <a:accent1>
      <a:srgbClr val="27338B"/>
    </a:accent1>
    <a:accent2>
      <a:srgbClr val="0077C1"/>
    </a:accent2>
    <a:accent3>
      <a:srgbClr val="25ABE6"/>
    </a:accent3>
    <a:accent4>
      <a:srgbClr val="7F7F7F"/>
    </a:accent4>
    <a:accent5>
      <a:srgbClr val="A0CFE0"/>
    </a:accent5>
    <a:accent6>
      <a:srgbClr val="7A8794"/>
    </a:accent6>
    <a:hlink>
      <a:srgbClr val="F2F2F2"/>
    </a:hlink>
    <a:folHlink>
      <a:srgbClr val="DEFAE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Vallourec IR Theme">
    <a:dk1>
      <a:srgbClr val="000000"/>
    </a:dk1>
    <a:lt1>
      <a:srgbClr val="FFFFFF"/>
    </a:lt1>
    <a:dk2>
      <a:srgbClr val="32383E"/>
    </a:dk2>
    <a:lt2>
      <a:srgbClr val="27338B"/>
    </a:lt2>
    <a:accent1>
      <a:srgbClr val="27338B"/>
    </a:accent1>
    <a:accent2>
      <a:srgbClr val="0077C1"/>
    </a:accent2>
    <a:accent3>
      <a:srgbClr val="25ABE6"/>
    </a:accent3>
    <a:accent4>
      <a:srgbClr val="7F7F7F"/>
    </a:accent4>
    <a:accent5>
      <a:srgbClr val="A0CFE0"/>
    </a:accent5>
    <a:accent6>
      <a:srgbClr val="7A8794"/>
    </a:accent6>
    <a:hlink>
      <a:srgbClr val="F2F2F2"/>
    </a:hlink>
    <a:folHlink>
      <a:srgbClr val="DEFAE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Vallourec IR Theme">
    <a:dk1>
      <a:srgbClr val="000000"/>
    </a:dk1>
    <a:lt1>
      <a:srgbClr val="FFFFFF"/>
    </a:lt1>
    <a:dk2>
      <a:srgbClr val="32383E"/>
    </a:dk2>
    <a:lt2>
      <a:srgbClr val="27338B"/>
    </a:lt2>
    <a:accent1>
      <a:srgbClr val="27338B"/>
    </a:accent1>
    <a:accent2>
      <a:srgbClr val="0077C1"/>
    </a:accent2>
    <a:accent3>
      <a:srgbClr val="25ABE6"/>
    </a:accent3>
    <a:accent4>
      <a:srgbClr val="7F7F7F"/>
    </a:accent4>
    <a:accent5>
      <a:srgbClr val="A0CFE0"/>
    </a:accent5>
    <a:accent6>
      <a:srgbClr val="7A8794"/>
    </a:accent6>
    <a:hlink>
      <a:srgbClr val="F2F2F2"/>
    </a:hlink>
    <a:folHlink>
      <a:srgbClr val="DEFAE1"/>
    </a:folHlink>
  </a:clrScheme>
  <a:fontScheme name="Pitchbook-US">
    <a:majorFont>
      <a:latin typeface="Arial"/>
      <a:ea typeface="LF_Kai"/>
      <a:cs typeface=""/>
    </a:majorFont>
    <a:minorFont>
      <a:latin typeface="Arial"/>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Vallourec IR Theme">
    <a:dk1>
      <a:srgbClr val="000000"/>
    </a:dk1>
    <a:lt1>
      <a:srgbClr val="FFFFFF"/>
    </a:lt1>
    <a:dk2>
      <a:srgbClr val="32383E"/>
    </a:dk2>
    <a:lt2>
      <a:srgbClr val="27338B"/>
    </a:lt2>
    <a:accent1>
      <a:srgbClr val="27338B"/>
    </a:accent1>
    <a:accent2>
      <a:srgbClr val="0077C1"/>
    </a:accent2>
    <a:accent3>
      <a:srgbClr val="25ABE6"/>
    </a:accent3>
    <a:accent4>
      <a:srgbClr val="7F7F7F"/>
    </a:accent4>
    <a:accent5>
      <a:srgbClr val="A0CFE0"/>
    </a:accent5>
    <a:accent6>
      <a:srgbClr val="7A8794"/>
    </a:accent6>
    <a:hlink>
      <a:srgbClr val="F2F2F2"/>
    </a:hlink>
    <a:folHlink>
      <a:srgbClr val="DEFAE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Vallourec IR Theme">
    <a:dk1>
      <a:srgbClr val="000000"/>
    </a:dk1>
    <a:lt1>
      <a:srgbClr val="FFFFFF"/>
    </a:lt1>
    <a:dk2>
      <a:srgbClr val="32383E"/>
    </a:dk2>
    <a:lt2>
      <a:srgbClr val="27338B"/>
    </a:lt2>
    <a:accent1>
      <a:srgbClr val="27338B"/>
    </a:accent1>
    <a:accent2>
      <a:srgbClr val="0077C1"/>
    </a:accent2>
    <a:accent3>
      <a:srgbClr val="25ABE6"/>
    </a:accent3>
    <a:accent4>
      <a:srgbClr val="7F7F7F"/>
    </a:accent4>
    <a:accent5>
      <a:srgbClr val="A0CFE0"/>
    </a:accent5>
    <a:accent6>
      <a:srgbClr val="7A8794"/>
    </a:accent6>
    <a:hlink>
      <a:srgbClr val="F2F2F2"/>
    </a:hlink>
    <a:folHlink>
      <a:srgbClr val="DEFAE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Vallourec IR Theme">
    <a:dk1>
      <a:srgbClr val="000000"/>
    </a:dk1>
    <a:lt1>
      <a:srgbClr val="FFFFFF"/>
    </a:lt1>
    <a:dk2>
      <a:srgbClr val="32383E"/>
    </a:dk2>
    <a:lt2>
      <a:srgbClr val="27338B"/>
    </a:lt2>
    <a:accent1>
      <a:srgbClr val="27338B"/>
    </a:accent1>
    <a:accent2>
      <a:srgbClr val="0077C1"/>
    </a:accent2>
    <a:accent3>
      <a:srgbClr val="25ABE6"/>
    </a:accent3>
    <a:accent4>
      <a:srgbClr val="7F7F7F"/>
    </a:accent4>
    <a:accent5>
      <a:srgbClr val="A0CFE0"/>
    </a:accent5>
    <a:accent6>
      <a:srgbClr val="7A8794"/>
    </a:accent6>
    <a:hlink>
      <a:srgbClr val="F2F2F2"/>
    </a:hlink>
    <a:folHlink>
      <a:srgbClr val="DEFAE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Vallourec IR Theme">
    <a:dk1>
      <a:srgbClr val="000000"/>
    </a:dk1>
    <a:lt1>
      <a:srgbClr val="FFFFFF"/>
    </a:lt1>
    <a:dk2>
      <a:srgbClr val="32383E"/>
    </a:dk2>
    <a:lt2>
      <a:srgbClr val="27338B"/>
    </a:lt2>
    <a:accent1>
      <a:srgbClr val="27338B"/>
    </a:accent1>
    <a:accent2>
      <a:srgbClr val="0077C1"/>
    </a:accent2>
    <a:accent3>
      <a:srgbClr val="25ABE6"/>
    </a:accent3>
    <a:accent4>
      <a:srgbClr val="7F7F7F"/>
    </a:accent4>
    <a:accent5>
      <a:srgbClr val="A0CFE0"/>
    </a:accent5>
    <a:accent6>
      <a:srgbClr val="7A8794"/>
    </a:accent6>
    <a:hlink>
      <a:srgbClr val="F2F2F2"/>
    </a:hlink>
    <a:folHlink>
      <a:srgbClr val="DEFAE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Vallourec IR Theme">
    <a:dk1>
      <a:srgbClr val="000000"/>
    </a:dk1>
    <a:lt1>
      <a:srgbClr val="FFFFFF"/>
    </a:lt1>
    <a:dk2>
      <a:srgbClr val="32383E"/>
    </a:dk2>
    <a:lt2>
      <a:srgbClr val="27338B"/>
    </a:lt2>
    <a:accent1>
      <a:srgbClr val="27338B"/>
    </a:accent1>
    <a:accent2>
      <a:srgbClr val="0077C1"/>
    </a:accent2>
    <a:accent3>
      <a:srgbClr val="25ABE6"/>
    </a:accent3>
    <a:accent4>
      <a:srgbClr val="7F7F7F"/>
    </a:accent4>
    <a:accent5>
      <a:srgbClr val="A0CFE0"/>
    </a:accent5>
    <a:accent6>
      <a:srgbClr val="7A8794"/>
    </a:accent6>
    <a:hlink>
      <a:srgbClr val="F2F2F2"/>
    </a:hlink>
    <a:folHlink>
      <a:srgbClr val="DEFAE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Vallourec IR Theme">
    <a:dk1>
      <a:srgbClr val="000000"/>
    </a:dk1>
    <a:lt1>
      <a:srgbClr val="FFFFFF"/>
    </a:lt1>
    <a:dk2>
      <a:srgbClr val="32383E"/>
    </a:dk2>
    <a:lt2>
      <a:srgbClr val="27338B"/>
    </a:lt2>
    <a:accent1>
      <a:srgbClr val="27338B"/>
    </a:accent1>
    <a:accent2>
      <a:srgbClr val="0077C1"/>
    </a:accent2>
    <a:accent3>
      <a:srgbClr val="25ABE6"/>
    </a:accent3>
    <a:accent4>
      <a:srgbClr val="7F7F7F"/>
    </a:accent4>
    <a:accent5>
      <a:srgbClr val="A0CFE0"/>
    </a:accent5>
    <a:accent6>
      <a:srgbClr val="7A8794"/>
    </a:accent6>
    <a:hlink>
      <a:srgbClr val="F2F2F2"/>
    </a:hlink>
    <a:folHlink>
      <a:srgbClr val="DEFAE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63195d8-bbc0-408d-868d-60096b5fbb85">
      <Terms xmlns="http://schemas.microsoft.com/office/infopath/2007/PartnerControls"/>
    </lcf76f155ced4ddcb4097134ff3c332f>
    <TaxCatchAll xmlns="3fa8ea56-c10b-450d-807b-0742a6a09293" xsi:nil="true"/>
    <SharedWithUsers xmlns="3fa8ea56-c10b-450d-807b-0742a6a09293">
      <UserInfo>
        <DisplayName>DIB Sarah</DisplayName>
        <AccountId>27</AccountId>
        <AccountType/>
      </UserInfo>
      <UserInfo>
        <DisplayName>CHARDINY Théophile</DisplayName>
        <AccountId>21</AccountId>
        <AccountType/>
      </UserInfo>
      <UserInfo>
        <DisplayName>FRISCHMANN Bertrand</DisplayName>
        <AccountId>36</AccountId>
        <AccountType/>
      </UserInfo>
      <UserInfo>
        <DisplayName>MASSAGLIA Jacky</DisplayName>
        <AccountId>37</AccountId>
        <AccountType/>
      </UserInfo>
      <UserInfo>
        <DisplayName>DUBEDOUT Laurent</DisplayName>
        <AccountId>38</AccountId>
        <AccountType/>
      </UserInfo>
      <UserInfo>
        <DisplayName>WISING Ulrika [ARCHIVED]</DisplayName>
        <AccountId>39</AccountId>
        <AccountType/>
      </UserInfo>
      <UserInfo>
        <DisplayName>GUILLEMOT Philippe</DisplayName>
        <AccountId>33</AccountId>
        <AccountType/>
      </UserInfo>
      <UserInfo>
        <DisplayName>DELAHOUSSE Jacques</DisplayName>
        <AccountId>42</AccountId>
        <AccountType/>
      </UserInfo>
      <UserInfo>
        <DisplayName>ROBERGEAU Pierre</DisplayName>
        <AccountId>43</AccountId>
        <AccountType/>
      </UserInfo>
      <UserInfo>
        <DisplayName>VILHENA Felipe</DisplayName>
        <AccountId>44</AccountId>
        <AccountType/>
      </UserInfo>
      <UserInfo>
        <DisplayName>SALZILLO Fabien (External)</DisplayName>
        <AccountId>6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C5062072C643843AD650AB61B394889" ma:contentTypeVersion="14" ma:contentTypeDescription="Create a new document." ma:contentTypeScope="" ma:versionID="0fa947bd87951ad77aaf3445435d6e66">
  <xsd:schema xmlns:xsd="http://www.w3.org/2001/XMLSchema" xmlns:xs="http://www.w3.org/2001/XMLSchema" xmlns:p="http://schemas.microsoft.com/office/2006/metadata/properties" xmlns:ns2="e63195d8-bbc0-408d-868d-60096b5fbb85" xmlns:ns3="3fa8ea56-c10b-450d-807b-0742a6a09293" targetNamespace="http://schemas.microsoft.com/office/2006/metadata/properties" ma:root="true" ma:fieldsID="1a101bad211ed5d84262f03f1e1ec801" ns2:_="" ns3:_="">
    <xsd:import namespace="e63195d8-bbc0-408d-868d-60096b5fbb85"/>
    <xsd:import namespace="3fa8ea56-c10b-450d-807b-0742a6a0929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bjectDetectorVersions" minOccurs="0"/>
                <xsd:element ref="ns2:MediaServiceLocation" minOccurs="0"/>
                <xsd:element ref="ns2:MediaServiceGenerationTime" minOccurs="0"/>
                <xsd:element ref="ns2:MediaServiceEventHashCode"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3195d8-bbc0-408d-868d-60096b5fbb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13923497-821b-4f1e-804b-c4d79938e8a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fa8ea56-c10b-450d-807b-0742a6a0929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e1c34e84-e00b-4995-9d2b-de258cab5981}" ma:internalName="TaxCatchAll" ma:showField="CatchAllData" ma:web="3fa8ea56-c10b-450d-807b-0742a6a0929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4A14D00-12D0-444E-A045-9E56DAE0A7C7}">
  <ds:schemaRefs>
    <ds:schemaRef ds:uri="http://schemas.microsoft.com/sharepoint/v3/contenttype/forms"/>
  </ds:schemaRefs>
</ds:datastoreItem>
</file>

<file path=customXml/itemProps2.xml><?xml version="1.0" encoding="utf-8"?>
<ds:datastoreItem xmlns:ds="http://schemas.openxmlformats.org/officeDocument/2006/customXml" ds:itemID="{0CF1FA5D-71F8-43D7-ADC0-86B36B9B4E75}">
  <ds:schemaRefs>
    <ds:schemaRef ds:uri="3fa8ea56-c10b-450d-807b-0742a6a09293"/>
    <ds:schemaRef ds:uri="e63195d8-bbc0-408d-868d-60096b5fbb8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272FDE5-4A11-45D0-BD3F-BBBC10708AC0}">
  <ds:schemaRefs>
    <ds:schemaRef ds:uri="3fa8ea56-c10b-450d-807b-0742a6a09293"/>
    <ds:schemaRef ds:uri="e63195d8-bbc0-408d-868d-60096b5fbb8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4a59580-5c45-4a89-879f-8053b78bc6f0}" enabled="1" method="Standard" siteId="{88b720d7-40a1-413d-a965-13a8ef6caca8}" removed="0"/>
</clbl:labelList>
</file>

<file path=docProps/app.xml><?xml version="1.0" encoding="utf-8"?>
<Properties xmlns="http://schemas.openxmlformats.org/officeDocument/2006/extended-properties" xmlns:vt="http://schemas.openxmlformats.org/officeDocument/2006/docPropsVTypes">
  <Template>Default Theme</Template>
  <TotalTime>0</TotalTime>
  <Words>4132</Words>
  <Application>Microsoft Office PowerPoint</Application>
  <PresentationFormat>Affichage à l'écran (16:9)</PresentationFormat>
  <Paragraphs>559</Paragraphs>
  <Slides>34</Slides>
  <Notes>22</Notes>
  <HiddenSlides>0</HiddenSlides>
  <MMClips>0</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1</vt:i4>
      </vt:variant>
      <vt:variant>
        <vt:lpstr>Titres des diapositives</vt:lpstr>
      </vt:variant>
      <vt:variant>
        <vt:i4>34</vt:i4>
      </vt:variant>
    </vt:vector>
  </HeadingPairs>
  <TitlesOfParts>
    <vt:vector size="39" baseType="lpstr">
      <vt:lpstr>Arial</vt:lpstr>
      <vt:lpstr>Calibri</vt:lpstr>
      <vt:lpstr>Symbol</vt:lpstr>
      <vt:lpstr>Vallourec IR Format</vt:lpstr>
      <vt:lpstr>Diapositive think-cell</vt:lpstr>
      <vt:lpstr>Présentation PowerPoint</vt:lpstr>
      <vt:lpstr>Legal Disclaimer</vt:lpstr>
      <vt:lpstr>Présentation PowerPoint</vt:lpstr>
      <vt:lpstr>The Vallourec Investment Case</vt:lpstr>
      <vt:lpstr>The New Vallourec Plan</vt:lpstr>
      <vt:lpstr>Significantly Reshaped Production Footprint</vt:lpstr>
      <vt:lpstr>2022 New Vallourec Plan Fully Executed; More to Come </vt:lpstr>
      <vt:lpstr>A Significant Balance Sheet Transformation</vt:lpstr>
      <vt:lpstr>Holistic Debt Refinancing Executed in April 2024</vt:lpstr>
      <vt:lpstr>Présentation PowerPoint</vt:lpstr>
      <vt:lpstr>Supplier of Mission-Critical Premium Seamless Tubular Solutions</vt:lpstr>
      <vt:lpstr>The Seamless Tube Production Process</vt:lpstr>
      <vt:lpstr>Midcycle Tubes Earnings Power Simulation</vt:lpstr>
      <vt:lpstr>The Mining Process</vt:lpstr>
      <vt:lpstr>Mine Earnings Power and Growth Potential</vt:lpstr>
      <vt:lpstr>Midcycle Cash Flow Simulation: Significant Potential Returns</vt:lpstr>
      <vt:lpstr>2024 Earnings, Cash Flow and Net Debt Outlook</vt:lpstr>
      <vt:lpstr>Présentation PowerPoint</vt:lpstr>
      <vt:lpstr>Key Seamless Tubes Markets</vt:lpstr>
      <vt:lpstr>Limited Set of Premium Seamless Tube Suppliers</vt:lpstr>
      <vt:lpstr>Major Seamless OCTG Markets</vt:lpstr>
      <vt:lpstr>US OCTG Market: Pricing Not Yet Reflecting Market Balance</vt:lpstr>
      <vt:lpstr>International OCTG Market: Demand Remains Robust</vt:lpstr>
      <vt:lpstr>Strong Market Prices Reflecting Tight Supply-Demand, Costs</vt:lpstr>
      <vt:lpstr>Significant Growth Potential in Our New Energies Business</vt:lpstr>
      <vt:lpstr>Présentation PowerPoint</vt:lpstr>
      <vt:lpstr>Summary Income Statement</vt:lpstr>
      <vt:lpstr>Summary Balance Sheet</vt:lpstr>
      <vt:lpstr>Cash Flow Summary</vt:lpstr>
      <vt:lpstr>Segment Data</vt:lpstr>
      <vt:lpstr>Definitions of Non-GAAP Financial Data and Concepts</vt:lpstr>
      <vt:lpstr>Definitions of Non-GAAP Financial Data and Concepts</vt:lpstr>
      <vt:lpstr>Definitions of Non-GAAP Financial Data and Concepts</vt:lpstr>
      <vt:lpstr>Share Information and Financial Calenda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es, Liz Graphics (CIB, GBR)</dc:creator>
  <cp:lastModifiedBy>SAFSAF Karim</cp:lastModifiedBy>
  <cp:revision>1</cp:revision>
  <cp:lastPrinted>2024-04-04T12:03:16Z</cp:lastPrinted>
  <dcterms:created xsi:type="dcterms:W3CDTF">2023-07-04T06:38:28Z</dcterms:created>
  <dcterms:modified xsi:type="dcterms:W3CDTF">2024-05-27T09:0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5062072C643843AD650AB61B394889</vt:lpwstr>
  </property>
  <property fmtid="{D5CDD505-2E9C-101B-9397-08002B2CF9AE}" pid="3" name="MediaServiceImageTags">
    <vt:lpwstr/>
  </property>
</Properties>
</file>